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9.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0.xml" ContentType="application/vnd.openxmlformats-officedocument.presentationml.notesSlide+xml"/>
  <Override PartName="/ppt/comments/comment1.xml" ContentType="application/vnd.openxmlformats-officedocument.presentationml.comment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1.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1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13.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4.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7.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78.xml" ContentType="application/vnd.openxmlformats-officedocument.presentationml.tags+xml"/>
  <Override PartName="/ppt/notesSlides/notesSlide23.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24.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5" r:id="rId3"/>
    <p:sldMasterId id="2147483704" r:id="rId4"/>
  </p:sldMasterIdLst>
  <p:notesMasterIdLst>
    <p:notesMasterId r:id="rId32"/>
  </p:notesMasterIdLst>
  <p:sldIdLst>
    <p:sldId id="283" r:id="rId5"/>
    <p:sldId id="2007578894" r:id="rId6"/>
    <p:sldId id="2007578895" r:id="rId7"/>
    <p:sldId id="2007578879" r:id="rId8"/>
    <p:sldId id="2007578891" r:id="rId9"/>
    <p:sldId id="2007578858" r:id="rId10"/>
    <p:sldId id="2007578890" r:id="rId11"/>
    <p:sldId id="2007578889" r:id="rId12"/>
    <p:sldId id="2007578862" r:id="rId13"/>
    <p:sldId id="2007578886" r:id="rId14"/>
    <p:sldId id="2007578887" r:id="rId15"/>
    <p:sldId id="2007578888" r:id="rId16"/>
    <p:sldId id="2007578867" r:id="rId17"/>
    <p:sldId id="2007578869" r:id="rId18"/>
    <p:sldId id="2007578873" r:id="rId19"/>
    <p:sldId id="2007578865" r:id="rId20"/>
    <p:sldId id="2007578892" r:id="rId21"/>
    <p:sldId id="2007578864" r:id="rId22"/>
    <p:sldId id="2007578866" r:id="rId23"/>
    <p:sldId id="2007578868" r:id="rId24"/>
    <p:sldId id="2007578893" r:id="rId25"/>
    <p:sldId id="2007578856" r:id="rId26"/>
    <p:sldId id="2007578896" r:id="rId27"/>
    <p:sldId id="2007578859" r:id="rId28"/>
    <p:sldId id="2007578860" r:id="rId29"/>
    <p:sldId id="2007578897" r:id="rId30"/>
    <p:sldId id="200757885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0F254966-6FB0-6C40-8231-4938C054E02D}">
          <p14:sldIdLst>
            <p14:sldId id="283"/>
            <p14:sldId id="2007578894"/>
            <p14:sldId id="2007578895"/>
          </p14:sldIdLst>
        </p14:section>
        <p14:section name="New Porfolio Overview" id="{6120CA5A-77B8-7B41-AE3C-FC9B7CC0D644}">
          <p14:sldIdLst>
            <p14:sldId id="2007578879"/>
            <p14:sldId id="2007578891"/>
            <p14:sldId id="2007578858"/>
            <p14:sldId id="2007578890"/>
            <p14:sldId id="2007578889"/>
          </p14:sldIdLst>
        </p14:section>
        <p14:section name="Old Projects Dashboard" id="{56BD4543-8A9E-1246-9DE8-255E289F14D9}">
          <p14:sldIdLst>
            <p14:sldId id="2007578862"/>
            <p14:sldId id="2007578886"/>
            <p14:sldId id="2007578887"/>
            <p14:sldId id="2007578888"/>
            <p14:sldId id="2007578867"/>
            <p14:sldId id="2007578869"/>
            <p14:sldId id="2007578873"/>
          </p14:sldIdLst>
        </p14:section>
        <p14:section name="New Projects Dashboard" id="{5EFEAACF-88A8-064B-91AE-82D265D6D8BA}">
          <p14:sldIdLst>
            <p14:sldId id="2007578865"/>
            <p14:sldId id="2007578892"/>
            <p14:sldId id="2007578864"/>
            <p14:sldId id="2007578866"/>
            <p14:sldId id="2007578868"/>
            <p14:sldId id="2007578893"/>
          </p14:sldIdLst>
        </p14:section>
        <p14:section name="Backup" id="{217FFEC3-80FD-F84F-A129-ED1976E0AB87}">
          <p14:sldIdLst>
            <p14:sldId id="2007578856"/>
            <p14:sldId id="2007578896"/>
            <p14:sldId id="2007578859"/>
            <p14:sldId id="2007578860"/>
            <p14:sldId id="2007578897"/>
            <p14:sldId id="2007578853"/>
          </p14:sldIdLst>
        </p14:section>
      </p14:sectionLst>
    </p:ext>
    <p:ext uri="{EFAFB233-063F-42B5-8137-9DF3F51BA10A}">
      <p15:sldGuideLst xmlns:p15="http://schemas.microsoft.com/office/powerpoint/2012/main">
        <p15:guide id="1" orient="horz" pos="255" userDrawn="1">
          <p15:clr>
            <a:srgbClr val="A4A3A4"/>
          </p15:clr>
        </p15:guide>
        <p15:guide id="2" pos="3182" userDrawn="1">
          <p15:clr>
            <a:srgbClr val="A4A3A4"/>
          </p15:clr>
        </p15:guide>
        <p15:guide id="3" pos="7446" userDrawn="1">
          <p15:clr>
            <a:srgbClr val="A4A3A4"/>
          </p15:clr>
        </p15:guide>
        <p15:guide id="4" pos="5201" userDrawn="1">
          <p15:clr>
            <a:srgbClr val="A4A3A4"/>
          </p15:clr>
        </p15:guide>
        <p15:guide id="5" pos="7355" userDrawn="1">
          <p15:clr>
            <a:srgbClr val="A4A3A4"/>
          </p15:clr>
        </p15:guide>
        <p15:guide id="6" pos="6289" userDrawn="1">
          <p15:clr>
            <a:srgbClr val="A4A3A4"/>
          </p15:clr>
        </p15:guide>
        <p15:guide id="7" orient="horz" pos="4088" userDrawn="1">
          <p15:clr>
            <a:srgbClr val="A4A3A4"/>
          </p15:clr>
        </p15:guide>
        <p15:guide id="8" pos="75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r Jafarzade" initials="AJ" lastIdx="1" clrIdx="0">
    <p:extLst>
      <p:ext uri="{19B8F6BF-5375-455C-9EA6-DF929625EA0E}">
        <p15:presenceInfo xmlns:p15="http://schemas.microsoft.com/office/powerpoint/2012/main" userId="S::ajafarzade@competo.io::658593f7-e440-4291-b2ed-2b4c96af9ac3" providerId="AD"/>
      </p:ext>
    </p:extLst>
  </p:cmAuthor>
  <p:cmAuthor id="2" name="Samir A. Hasanov" initials="SAH" lastIdx="1" clrIdx="1">
    <p:extLst>
      <p:ext uri="{19B8F6BF-5375-455C-9EA6-DF929625EA0E}">
        <p15:presenceInfo xmlns:p15="http://schemas.microsoft.com/office/powerpoint/2012/main" userId="S-1-5-21-1513517394-56702160-1539857752-265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C00000"/>
    <a:srgbClr val="FF4300"/>
    <a:srgbClr val="FF4400"/>
    <a:srgbClr val="FFC100"/>
    <a:srgbClr val="FF851E"/>
    <a:srgbClr val="FF7C1B"/>
    <a:srgbClr val="FF7217"/>
    <a:srgbClr val="FF6812"/>
    <a:srgbClr val="BDBD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48" autoAdjust="0"/>
    <p:restoredTop sz="83049" autoAdjust="0"/>
  </p:normalViewPr>
  <p:slideViewPr>
    <p:cSldViewPr snapToGrid="0">
      <p:cViewPr>
        <p:scale>
          <a:sx n="96" d="100"/>
          <a:sy n="96" d="100"/>
        </p:scale>
        <p:origin x="1112" y="848"/>
      </p:cViewPr>
      <p:guideLst>
        <p:guide orient="horz" pos="255"/>
        <p:guide pos="3182"/>
        <p:guide pos="7446"/>
        <p:guide pos="5201"/>
        <p:guide pos="7355"/>
        <p:guide pos="6289"/>
        <p:guide orient="horz" pos="4088"/>
        <p:guide pos="756"/>
      </p:guideLst>
    </p:cSldViewPr>
  </p:slideViewPr>
  <p:notesTextViewPr>
    <p:cViewPr>
      <p:scale>
        <a:sx n="65" d="100"/>
        <a:sy n="6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11-23T10:21:21.644" idx="1">
    <p:pos x="10" y="10"/>
    <p:text>Samir please change milestones names as well as duration. If there are some information on HR, Budget and Risks please add</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DD60E6-050E-DE43-BFA7-4E98671FCEC8}" type="doc">
      <dgm:prSet loTypeId="urn:microsoft.com/office/officeart/2005/8/layout/hProcess9" loCatId="" qsTypeId="urn:microsoft.com/office/officeart/2005/8/quickstyle/simple1" qsCatId="simple" csTypeId="urn:microsoft.com/office/officeart/2005/8/colors/accent2_2" csCatId="accent2" phldr="1"/>
      <dgm:spPr/>
    </dgm:pt>
    <dgm:pt modelId="{180F9345-F379-3946-9D71-C00CF55C328E}">
      <dgm:prSet phldrT="[Текст]" custT="1"/>
      <dgm:spPr/>
      <dgm:t>
        <a:bodyPr/>
        <a:lstStyle/>
        <a:p>
          <a:r>
            <a:rPr lang="en-US" sz="1800" dirty="0">
              <a:latin typeface="Arial" panose="020B0604020202020204" pitchFamily="34" charset="0"/>
              <a:cs typeface="Arial" panose="020B0604020202020204" pitchFamily="34" charset="0"/>
            </a:rPr>
            <a:t>Governance Principles Design </a:t>
          </a:r>
          <a:endParaRPr lang="ru-RU" sz="1800" dirty="0">
            <a:latin typeface="Arial" panose="020B0604020202020204" pitchFamily="34" charset="0"/>
            <a:cs typeface="Arial" panose="020B0604020202020204" pitchFamily="34" charset="0"/>
          </a:endParaRPr>
        </a:p>
      </dgm:t>
    </dgm:pt>
    <dgm:pt modelId="{2C6FA2AC-4012-244F-95C4-903089DBA7AA}" type="parTrans" cxnId="{47B9B502-1049-B344-919D-1A1C8286F574}">
      <dgm:prSet/>
      <dgm:spPr/>
      <dgm:t>
        <a:bodyPr/>
        <a:lstStyle/>
        <a:p>
          <a:endParaRPr lang="ru-RU" sz="1800">
            <a:latin typeface="Arial" panose="020B0604020202020204" pitchFamily="34" charset="0"/>
            <a:cs typeface="Arial" panose="020B0604020202020204" pitchFamily="34" charset="0"/>
          </a:endParaRPr>
        </a:p>
      </dgm:t>
    </dgm:pt>
    <dgm:pt modelId="{191E674F-A010-F04F-B123-645B435DF3F8}" type="sibTrans" cxnId="{47B9B502-1049-B344-919D-1A1C8286F574}">
      <dgm:prSet/>
      <dgm:spPr/>
      <dgm:t>
        <a:bodyPr/>
        <a:lstStyle/>
        <a:p>
          <a:endParaRPr lang="ru-RU" sz="1800">
            <a:latin typeface="Arial" panose="020B0604020202020204" pitchFamily="34" charset="0"/>
            <a:cs typeface="Arial" panose="020B0604020202020204" pitchFamily="34" charset="0"/>
          </a:endParaRPr>
        </a:p>
      </dgm:t>
    </dgm:pt>
    <dgm:pt modelId="{2704258B-CD7C-1D4F-8A83-C9A38A1C7E98}">
      <dgm:prSet phldrT="[Текст]" custT="1"/>
      <dgm:spPr/>
      <dgm:t>
        <a:bodyPr/>
        <a:lstStyle/>
        <a:p>
          <a:r>
            <a:rPr lang="en-US" sz="1800" dirty="0">
              <a:latin typeface="Arial" panose="020B0604020202020204" pitchFamily="34" charset="0"/>
              <a:cs typeface="Arial" panose="020B0604020202020204" pitchFamily="34" charset="0"/>
            </a:rPr>
            <a:t>Implementing Governance within New Project Portfolio</a:t>
          </a:r>
          <a:endParaRPr lang="ru-RU" sz="1800" dirty="0">
            <a:latin typeface="Arial" panose="020B0604020202020204" pitchFamily="34" charset="0"/>
            <a:cs typeface="Arial" panose="020B0604020202020204" pitchFamily="34" charset="0"/>
          </a:endParaRPr>
        </a:p>
      </dgm:t>
    </dgm:pt>
    <dgm:pt modelId="{B1C89B87-AB9A-7B45-AE56-CB46572894BD}" type="parTrans" cxnId="{C903C4D6-7A9B-E945-9457-43A6E9277EB6}">
      <dgm:prSet/>
      <dgm:spPr/>
      <dgm:t>
        <a:bodyPr/>
        <a:lstStyle/>
        <a:p>
          <a:endParaRPr lang="ru-RU" sz="1800">
            <a:latin typeface="Arial" panose="020B0604020202020204" pitchFamily="34" charset="0"/>
            <a:cs typeface="Arial" panose="020B0604020202020204" pitchFamily="34" charset="0"/>
          </a:endParaRPr>
        </a:p>
      </dgm:t>
    </dgm:pt>
    <dgm:pt modelId="{5188F72C-58BB-4446-B05F-74D4D48B24FF}" type="sibTrans" cxnId="{C903C4D6-7A9B-E945-9457-43A6E9277EB6}">
      <dgm:prSet/>
      <dgm:spPr/>
      <dgm:t>
        <a:bodyPr/>
        <a:lstStyle/>
        <a:p>
          <a:endParaRPr lang="ru-RU" sz="1800">
            <a:latin typeface="Arial" panose="020B0604020202020204" pitchFamily="34" charset="0"/>
            <a:cs typeface="Arial" panose="020B0604020202020204" pitchFamily="34" charset="0"/>
          </a:endParaRPr>
        </a:p>
      </dgm:t>
    </dgm:pt>
    <dgm:pt modelId="{DF200E2A-3907-E54D-9D68-06E19FE55CFC}">
      <dgm:prSet phldrT="[Текст]" custT="1"/>
      <dgm:spPr/>
      <dgm:t>
        <a:bodyPr/>
        <a:lstStyle/>
        <a:p>
          <a:r>
            <a:rPr lang="en-US" sz="1800" dirty="0">
              <a:latin typeface="Arial" panose="020B0604020202020204" pitchFamily="34" charset="0"/>
              <a:cs typeface="Arial" panose="020B0604020202020204" pitchFamily="34" charset="0"/>
            </a:rPr>
            <a:t>Implementing Bank wide Governance</a:t>
          </a:r>
          <a:endParaRPr lang="ru-RU" sz="1800" dirty="0">
            <a:latin typeface="Arial" panose="020B0604020202020204" pitchFamily="34" charset="0"/>
            <a:cs typeface="Arial" panose="020B0604020202020204" pitchFamily="34" charset="0"/>
          </a:endParaRPr>
        </a:p>
      </dgm:t>
    </dgm:pt>
    <dgm:pt modelId="{E0521BF4-8A85-5F46-B1C2-D9186497A443}" type="parTrans" cxnId="{2E794985-B9F4-2B4F-98E3-4B6D41BE8B61}">
      <dgm:prSet/>
      <dgm:spPr/>
      <dgm:t>
        <a:bodyPr/>
        <a:lstStyle/>
        <a:p>
          <a:endParaRPr lang="ru-RU" sz="1800">
            <a:latin typeface="Arial" panose="020B0604020202020204" pitchFamily="34" charset="0"/>
            <a:cs typeface="Arial" panose="020B0604020202020204" pitchFamily="34" charset="0"/>
          </a:endParaRPr>
        </a:p>
      </dgm:t>
    </dgm:pt>
    <dgm:pt modelId="{69552AD1-B46D-874F-83BC-3E66FA6EB44F}" type="sibTrans" cxnId="{2E794985-B9F4-2B4F-98E3-4B6D41BE8B61}">
      <dgm:prSet/>
      <dgm:spPr/>
      <dgm:t>
        <a:bodyPr/>
        <a:lstStyle/>
        <a:p>
          <a:endParaRPr lang="ru-RU" sz="1800">
            <a:latin typeface="Arial" panose="020B0604020202020204" pitchFamily="34" charset="0"/>
            <a:cs typeface="Arial" panose="020B0604020202020204" pitchFamily="34" charset="0"/>
          </a:endParaRPr>
        </a:p>
      </dgm:t>
    </dgm:pt>
    <dgm:pt modelId="{9907806A-E74A-0046-A951-0811C40B73E0}" type="pres">
      <dgm:prSet presAssocID="{42DD60E6-050E-DE43-BFA7-4E98671FCEC8}" presName="CompostProcess" presStyleCnt="0">
        <dgm:presLayoutVars>
          <dgm:dir/>
          <dgm:resizeHandles val="exact"/>
        </dgm:presLayoutVars>
      </dgm:prSet>
      <dgm:spPr/>
    </dgm:pt>
    <dgm:pt modelId="{E77C678C-448C-8249-95ED-D272ADF6345D}" type="pres">
      <dgm:prSet presAssocID="{42DD60E6-050E-DE43-BFA7-4E98671FCEC8}" presName="arrow" presStyleLbl="bgShp" presStyleIdx="0" presStyleCnt="1"/>
      <dgm:spPr/>
    </dgm:pt>
    <dgm:pt modelId="{B70BDD4F-C029-A64D-8490-3CB739309D6F}" type="pres">
      <dgm:prSet presAssocID="{42DD60E6-050E-DE43-BFA7-4E98671FCEC8}" presName="linearProcess" presStyleCnt="0"/>
      <dgm:spPr/>
    </dgm:pt>
    <dgm:pt modelId="{6CA326E3-BE26-2342-B3EB-28064A0DBC3C}" type="pres">
      <dgm:prSet presAssocID="{180F9345-F379-3946-9D71-C00CF55C328E}" presName="textNode" presStyleLbl="node1" presStyleIdx="0" presStyleCnt="3">
        <dgm:presLayoutVars>
          <dgm:bulletEnabled val="1"/>
        </dgm:presLayoutVars>
      </dgm:prSet>
      <dgm:spPr/>
    </dgm:pt>
    <dgm:pt modelId="{CBAFFE71-4B06-374B-9976-8333F6E09457}" type="pres">
      <dgm:prSet presAssocID="{191E674F-A010-F04F-B123-645B435DF3F8}" presName="sibTrans" presStyleCnt="0"/>
      <dgm:spPr/>
    </dgm:pt>
    <dgm:pt modelId="{62AA53FC-2E9C-4C4B-AC0C-D8F4CE78AEE7}" type="pres">
      <dgm:prSet presAssocID="{2704258B-CD7C-1D4F-8A83-C9A38A1C7E98}" presName="textNode" presStyleLbl="node1" presStyleIdx="1" presStyleCnt="3">
        <dgm:presLayoutVars>
          <dgm:bulletEnabled val="1"/>
        </dgm:presLayoutVars>
      </dgm:prSet>
      <dgm:spPr/>
    </dgm:pt>
    <dgm:pt modelId="{6FD1AAF9-EDD1-9442-AB20-1F5F762F9E75}" type="pres">
      <dgm:prSet presAssocID="{5188F72C-58BB-4446-B05F-74D4D48B24FF}" presName="sibTrans" presStyleCnt="0"/>
      <dgm:spPr/>
    </dgm:pt>
    <dgm:pt modelId="{4B0336B8-88D8-1146-9475-45D1F3E17F54}" type="pres">
      <dgm:prSet presAssocID="{DF200E2A-3907-E54D-9D68-06E19FE55CFC}" presName="textNode" presStyleLbl="node1" presStyleIdx="2" presStyleCnt="3">
        <dgm:presLayoutVars>
          <dgm:bulletEnabled val="1"/>
        </dgm:presLayoutVars>
      </dgm:prSet>
      <dgm:spPr/>
    </dgm:pt>
  </dgm:ptLst>
  <dgm:cxnLst>
    <dgm:cxn modelId="{47B9B502-1049-B344-919D-1A1C8286F574}" srcId="{42DD60E6-050E-DE43-BFA7-4E98671FCEC8}" destId="{180F9345-F379-3946-9D71-C00CF55C328E}" srcOrd="0" destOrd="0" parTransId="{2C6FA2AC-4012-244F-95C4-903089DBA7AA}" sibTransId="{191E674F-A010-F04F-B123-645B435DF3F8}"/>
    <dgm:cxn modelId="{A8670735-7A2F-FE42-B18E-F7FB16813412}" type="presOf" srcId="{2704258B-CD7C-1D4F-8A83-C9A38A1C7E98}" destId="{62AA53FC-2E9C-4C4B-AC0C-D8F4CE78AEE7}" srcOrd="0" destOrd="0" presId="urn:microsoft.com/office/officeart/2005/8/layout/hProcess9"/>
    <dgm:cxn modelId="{A72AF770-7D7E-A54B-852C-2FB46A21F133}" type="presOf" srcId="{42DD60E6-050E-DE43-BFA7-4E98671FCEC8}" destId="{9907806A-E74A-0046-A951-0811C40B73E0}" srcOrd="0" destOrd="0" presId="urn:microsoft.com/office/officeart/2005/8/layout/hProcess9"/>
    <dgm:cxn modelId="{2E794985-B9F4-2B4F-98E3-4B6D41BE8B61}" srcId="{42DD60E6-050E-DE43-BFA7-4E98671FCEC8}" destId="{DF200E2A-3907-E54D-9D68-06E19FE55CFC}" srcOrd="2" destOrd="0" parTransId="{E0521BF4-8A85-5F46-B1C2-D9186497A443}" sibTransId="{69552AD1-B46D-874F-83BC-3E66FA6EB44F}"/>
    <dgm:cxn modelId="{C903C4D6-7A9B-E945-9457-43A6E9277EB6}" srcId="{42DD60E6-050E-DE43-BFA7-4E98671FCEC8}" destId="{2704258B-CD7C-1D4F-8A83-C9A38A1C7E98}" srcOrd="1" destOrd="0" parTransId="{B1C89B87-AB9A-7B45-AE56-CB46572894BD}" sibTransId="{5188F72C-58BB-4446-B05F-74D4D48B24FF}"/>
    <dgm:cxn modelId="{3524EAE4-7CA7-A94C-A300-3B260A908F20}" type="presOf" srcId="{180F9345-F379-3946-9D71-C00CF55C328E}" destId="{6CA326E3-BE26-2342-B3EB-28064A0DBC3C}" srcOrd="0" destOrd="0" presId="urn:microsoft.com/office/officeart/2005/8/layout/hProcess9"/>
    <dgm:cxn modelId="{2B977AF0-F320-AE41-8445-10CB36E1D1C5}" type="presOf" srcId="{DF200E2A-3907-E54D-9D68-06E19FE55CFC}" destId="{4B0336B8-88D8-1146-9475-45D1F3E17F54}" srcOrd="0" destOrd="0" presId="urn:microsoft.com/office/officeart/2005/8/layout/hProcess9"/>
    <dgm:cxn modelId="{DD2EF6D7-1FEA-F74F-9068-EFCB5C2608C9}" type="presParOf" srcId="{9907806A-E74A-0046-A951-0811C40B73E0}" destId="{E77C678C-448C-8249-95ED-D272ADF6345D}" srcOrd="0" destOrd="0" presId="urn:microsoft.com/office/officeart/2005/8/layout/hProcess9"/>
    <dgm:cxn modelId="{712D0EBB-1603-6249-81B3-9B0A96BC0EF0}" type="presParOf" srcId="{9907806A-E74A-0046-A951-0811C40B73E0}" destId="{B70BDD4F-C029-A64D-8490-3CB739309D6F}" srcOrd="1" destOrd="0" presId="urn:microsoft.com/office/officeart/2005/8/layout/hProcess9"/>
    <dgm:cxn modelId="{FD1E674F-4965-794A-AA5D-06C12EEB3BA3}" type="presParOf" srcId="{B70BDD4F-C029-A64D-8490-3CB739309D6F}" destId="{6CA326E3-BE26-2342-B3EB-28064A0DBC3C}" srcOrd="0" destOrd="0" presId="urn:microsoft.com/office/officeart/2005/8/layout/hProcess9"/>
    <dgm:cxn modelId="{87F374B4-6B25-E749-920C-A006EE5B9B4E}" type="presParOf" srcId="{B70BDD4F-C029-A64D-8490-3CB739309D6F}" destId="{CBAFFE71-4B06-374B-9976-8333F6E09457}" srcOrd="1" destOrd="0" presId="urn:microsoft.com/office/officeart/2005/8/layout/hProcess9"/>
    <dgm:cxn modelId="{B56FABB6-7C12-D14F-96B3-887721000E73}" type="presParOf" srcId="{B70BDD4F-C029-A64D-8490-3CB739309D6F}" destId="{62AA53FC-2E9C-4C4B-AC0C-D8F4CE78AEE7}" srcOrd="2" destOrd="0" presId="urn:microsoft.com/office/officeart/2005/8/layout/hProcess9"/>
    <dgm:cxn modelId="{F671A5F4-F6E0-B147-AEF4-D6FD1235E007}" type="presParOf" srcId="{B70BDD4F-C029-A64D-8490-3CB739309D6F}" destId="{6FD1AAF9-EDD1-9442-AB20-1F5F762F9E75}" srcOrd="3" destOrd="0" presId="urn:microsoft.com/office/officeart/2005/8/layout/hProcess9"/>
    <dgm:cxn modelId="{3BE4EDFA-4AA1-D746-99E6-6D003455584C}" type="presParOf" srcId="{B70BDD4F-C029-A64D-8490-3CB739309D6F}" destId="{4B0336B8-88D8-1146-9475-45D1F3E17F54}"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7C678C-448C-8249-95ED-D272ADF6345D}">
      <dsp:nvSpPr>
        <dsp:cNvPr id="0" name=""/>
        <dsp:cNvSpPr/>
      </dsp:nvSpPr>
      <dsp:spPr>
        <a:xfrm>
          <a:off x="811172" y="0"/>
          <a:ext cx="9193291" cy="3192314"/>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A326E3-BE26-2342-B3EB-28064A0DBC3C}">
      <dsp:nvSpPr>
        <dsp:cNvPr id="0" name=""/>
        <dsp:cNvSpPr/>
      </dsp:nvSpPr>
      <dsp:spPr>
        <a:xfrm>
          <a:off x="0" y="957694"/>
          <a:ext cx="3244691" cy="12769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Governance Principles Design </a:t>
          </a:r>
          <a:endParaRPr lang="ru-RU" sz="1800" kern="1200" dirty="0">
            <a:latin typeface="Arial" panose="020B0604020202020204" pitchFamily="34" charset="0"/>
            <a:cs typeface="Arial" panose="020B0604020202020204" pitchFamily="34" charset="0"/>
          </a:endParaRPr>
        </a:p>
      </dsp:txBody>
      <dsp:txXfrm>
        <a:off x="62334" y="1020028"/>
        <a:ext cx="3120023" cy="1152257"/>
      </dsp:txXfrm>
    </dsp:sp>
    <dsp:sp modelId="{62AA53FC-2E9C-4C4B-AC0C-D8F4CE78AEE7}">
      <dsp:nvSpPr>
        <dsp:cNvPr id="0" name=""/>
        <dsp:cNvSpPr/>
      </dsp:nvSpPr>
      <dsp:spPr>
        <a:xfrm>
          <a:off x="3785472" y="957694"/>
          <a:ext cx="3244691" cy="12769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Implementing Governance within New Project Portfolio</a:t>
          </a:r>
          <a:endParaRPr lang="ru-RU" sz="1800" kern="1200" dirty="0">
            <a:latin typeface="Arial" panose="020B0604020202020204" pitchFamily="34" charset="0"/>
            <a:cs typeface="Arial" panose="020B0604020202020204" pitchFamily="34" charset="0"/>
          </a:endParaRPr>
        </a:p>
      </dsp:txBody>
      <dsp:txXfrm>
        <a:off x="3847806" y="1020028"/>
        <a:ext cx="3120023" cy="1152257"/>
      </dsp:txXfrm>
    </dsp:sp>
    <dsp:sp modelId="{4B0336B8-88D8-1146-9475-45D1F3E17F54}">
      <dsp:nvSpPr>
        <dsp:cNvPr id="0" name=""/>
        <dsp:cNvSpPr/>
      </dsp:nvSpPr>
      <dsp:spPr>
        <a:xfrm>
          <a:off x="7570945" y="957694"/>
          <a:ext cx="3244691" cy="12769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Implementing Bank wide Governance</a:t>
          </a:r>
          <a:endParaRPr lang="ru-RU" sz="1800" kern="1200" dirty="0">
            <a:latin typeface="Arial" panose="020B0604020202020204" pitchFamily="34" charset="0"/>
            <a:cs typeface="Arial" panose="020B0604020202020204" pitchFamily="34" charset="0"/>
          </a:endParaRPr>
        </a:p>
      </dsp:txBody>
      <dsp:txXfrm>
        <a:off x="7633279" y="1020028"/>
        <a:ext cx="3120023" cy="1152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7A1566-57C4-4979-AB99-F04D1AD3A697}" type="datetimeFigureOut">
              <a:rPr lang="en-US" smtClean="0"/>
              <a:t>11/24/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C3C3A7-D1BE-40DB-B524-41A25908642D}" type="slidenum">
              <a:rPr lang="en-US" smtClean="0"/>
              <a:t>‹#›</a:t>
            </a:fld>
            <a:endParaRPr lang="en-US"/>
          </a:p>
        </p:txBody>
      </p:sp>
    </p:spTree>
    <p:extLst>
      <p:ext uri="{BB962C8B-B14F-4D97-AF65-F5344CB8AC3E}">
        <p14:creationId xmlns:p14="http://schemas.microsoft.com/office/powerpoint/2010/main" val="131054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a:t>
            </a:fld>
            <a:endParaRPr lang="en-US"/>
          </a:p>
        </p:txBody>
      </p:sp>
    </p:spTree>
    <p:extLst>
      <p:ext uri="{BB962C8B-B14F-4D97-AF65-F5344CB8AC3E}">
        <p14:creationId xmlns:p14="http://schemas.microsoft.com/office/powerpoint/2010/main" val="3836785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0</a:t>
            </a:fld>
            <a:endParaRPr lang="en-US"/>
          </a:p>
        </p:txBody>
      </p:sp>
    </p:spTree>
    <p:extLst>
      <p:ext uri="{BB962C8B-B14F-4D97-AF65-F5344CB8AC3E}">
        <p14:creationId xmlns:p14="http://schemas.microsoft.com/office/powerpoint/2010/main" val="2494078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1</a:t>
            </a:fld>
            <a:endParaRPr lang="en-US"/>
          </a:p>
        </p:txBody>
      </p:sp>
    </p:spTree>
    <p:extLst>
      <p:ext uri="{BB962C8B-B14F-4D97-AF65-F5344CB8AC3E}">
        <p14:creationId xmlns:p14="http://schemas.microsoft.com/office/powerpoint/2010/main" val="1444901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2</a:t>
            </a:fld>
            <a:endParaRPr lang="en-US"/>
          </a:p>
        </p:txBody>
      </p:sp>
    </p:spTree>
    <p:extLst>
      <p:ext uri="{BB962C8B-B14F-4D97-AF65-F5344CB8AC3E}">
        <p14:creationId xmlns:p14="http://schemas.microsoft.com/office/powerpoint/2010/main" val="2261187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3</a:t>
            </a:fld>
            <a:endParaRPr lang="en-US"/>
          </a:p>
        </p:txBody>
      </p:sp>
    </p:spTree>
    <p:extLst>
      <p:ext uri="{BB962C8B-B14F-4D97-AF65-F5344CB8AC3E}">
        <p14:creationId xmlns:p14="http://schemas.microsoft.com/office/powerpoint/2010/main" val="24223969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4</a:t>
            </a:fld>
            <a:endParaRPr lang="en-US"/>
          </a:p>
        </p:txBody>
      </p:sp>
    </p:spTree>
    <p:extLst>
      <p:ext uri="{BB962C8B-B14F-4D97-AF65-F5344CB8AC3E}">
        <p14:creationId xmlns:p14="http://schemas.microsoft.com/office/powerpoint/2010/main" val="37997727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5</a:t>
            </a:fld>
            <a:endParaRPr lang="en-US"/>
          </a:p>
        </p:txBody>
      </p:sp>
    </p:spTree>
    <p:extLst>
      <p:ext uri="{BB962C8B-B14F-4D97-AF65-F5344CB8AC3E}">
        <p14:creationId xmlns:p14="http://schemas.microsoft.com/office/powerpoint/2010/main" val="2846184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10C1BA-2E1C-4A08-A375-29A3023B20DC}" type="slidenum">
              <a:rPr lang="en-US" smtClean="0"/>
              <a:t>17</a:t>
            </a:fld>
            <a:endParaRPr lang="en-US"/>
          </a:p>
        </p:txBody>
      </p:sp>
    </p:spTree>
    <p:extLst>
      <p:ext uri="{BB962C8B-B14F-4D97-AF65-F5344CB8AC3E}">
        <p14:creationId xmlns:p14="http://schemas.microsoft.com/office/powerpoint/2010/main" val="2179244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18</a:t>
            </a:fld>
            <a:endParaRPr lang="en-US"/>
          </a:p>
        </p:txBody>
      </p:sp>
    </p:spTree>
    <p:extLst>
      <p:ext uri="{BB962C8B-B14F-4D97-AF65-F5344CB8AC3E}">
        <p14:creationId xmlns:p14="http://schemas.microsoft.com/office/powerpoint/2010/main" val="3217937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20</a:t>
            </a:fld>
            <a:endParaRPr lang="en-US"/>
          </a:p>
        </p:txBody>
      </p:sp>
    </p:spTree>
    <p:extLst>
      <p:ext uri="{BB962C8B-B14F-4D97-AF65-F5344CB8AC3E}">
        <p14:creationId xmlns:p14="http://schemas.microsoft.com/office/powerpoint/2010/main" val="3647206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10C1BA-2E1C-4A08-A375-29A3023B20DC}" type="slidenum">
              <a:rPr lang="en-US" smtClean="0"/>
              <a:t>21</a:t>
            </a:fld>
            <a:endParaRPr lang="en-US"/>
          </a:p>
        </p:txBody>
      </p:sp>
    </p:spTree>
    <p:extLst>
      <p:ext uri="{BB962C8B-B14F-4D97-AF65-F5344CB8AC3E}">
        <p14:creationId xmlns:p14="http://schemas.microsoft.com/office/powerpoint/2010/main" val="869285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a:t>
            </a:fld>
            <a:endParaRPr lang="en-US"/>
          </a:p>
        </p:txBody>
      </p:sp>
    </p:spTree>
    <p:extLst>
      <p:ext uri="{BB962C8B-B14F-4D97-AF65-F5344CB8AC3E}">
        <p14:creationId xmlns:p14="http://schemas.microsoft.com/office/powerpoint/2010/main" val="629474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2</a:t>
            </a:fld>
            <a:endParaRPr lang="en-US"/>
          </a:p>
        </p:txBody>
      </p:sp>
    </p:spTree>
    <p:extLst>
      <p:ext uri="{BB962C8B-B14F-4D97-AF65-F5344CB8AC3E}">
        <p14:creationId xmlns:p14="http://schemas.microsoft.com/office/powerpoint/2010/main" val="3627304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3</a:t>
            </a:fld>
            <a:endParaRPr lang="en-US"/>
          </a:p>
        </p:txBody>
      </p:sp>
    </p:spTree>
    <p:extLst>
      <p:ext uri="{BB962C8B-B14F-4D97-AF65-F5344CB8AC3E}">
        <p14:creationId xmlns:p14="http://schemas.microsoft.com/office/powerpoint/2010/main" val="221255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4</a:t>
            </a:fld>
            <a:endParaRPr lang="en-US"/>
          </a:p>
        </p:txBody>
      </p:sp>
    </p:spTree>
    <p:extLst>
      <p:ext uri="{BB962C8B-B14F-4D97-AF65-F5344CB8AC3E}">
        <p14:creationId xmlns:p14="http://schemas.microsoft.com/office/powerpoint/2010/main" val="123450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5</a:t>
            </a:fld>
            <a:endParaRPr lang="en-US"/>
          </a:p>
        </p:txBody>
      </p:sp>
    </p:spTree>
    <p:extLst>
      <p:ext uri="{BB962C8B-B14F-4D97-AF65-F5344CB8AC3E}">
        <p14:creationId xmlns:p14="http://schemas.microsoft.com/office/powerpoint/2010/main" val="41118370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26</a:t>
            </a:fld>
            <a:endParaRPr lang="en-US"/>
          </a:p>
        </p:txBody>
      </p:sp>
    </p:spTree>
    <p:extLst>
      <p:ext uri="{BB962C8B-B14F-4D97-AF65-F5344CB8AC3E}">
        <p14:creationId xmlns:p14="http://schemas.microsoft.com/office/powerpoint/2010/main" val="994355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568325"/>
            <a:ext cx="6869113" cy="3865563"/>
          </a:xfrm>
        </p:spPr>
      </p:sp>
      <p:sp>
        <p:nvSpPr>
          <p:cNvPr id="3" name="Notes Placeholder 2"/>
          <p:cNvSpPr>
            <a:spLocks noGrp="1"/>
          </p:cNvSpPr>
          <p:nvPr>
            <p:ph type="body" idx="1"/>
          </p:nvPr>
        </p:nvSpPr>
        <p:spPr>
          <a:xfrm>
            <a:off x="600730" y="5684309"/>
            <a:ext cx="6321647" cy="254497"/>
          </a:xfr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base" latinLnBrk="0" hangingPunct="1">
              <a:lnSpc>
                <a:spcPct val="100000"/>
              </a:lnSpc>
              <a:spcBef>
                <a:spcPct val="0"/>
              </a:spcBef>
              <a:spcAft>
                <a:spcPct val="0"/>
              </a:spcAft>
              <a:buClrTx/>
              <a:buSzTx/>
              <a:buFontTx/>
              <a:buNone/>
              <a:tabLst/>
              <a:defRPr/>
            </a:pPr>
            <a:fld id="{AD540C1C-2143-401D-B511-2A8B96E46ABC}"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49478"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86657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AZ" dirty="0"/>
          </a:p>
        </p:txBody>
      </p:sp>
      <p:sp>
        <p:nvSpPr>
          <p:cNvPr id="4" name="Номер слайда 3"/>
          <p:cNvSpPr>
            <a:spLocks noGrp="1"/>
          </p:cNvSpPr>
          <p:nvPr>
            <p:ph type="sldNum" sz="quarter" idx="5"/>
          </p:nvPr>
        </p:nvSpPr>
        <p:spPr/>
        <p:txBody>
          <a:bodyPr/>
          <a:lstStyle/>
          <a:p>
            <a:fld id="{77C3C3A7-D1BE-40DB-B524-41A25908642D}" type="slidenum">
              <a:rPr lang="en-US" smtClean="0"/>
              <a:t>3</a:t>
            </a:fld>
            <a:endParaRPr lang="en-US"/>
          </a:p>
        </p:txBody>
      </p:sp>
    </p:spTree>
    <p:extLst>
      <p:ext uri="{BB962C8B-B14F-4D97-AF65-F5344CB8AC3E}">
        <p14:creationId xmlns:p14="http://schemas.microsoft.com/office/powerpoint/2010/main" val="2842990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4</a:t>
            </a:fld>
            <a:endParaRPr lang="en-US"/>
          </a:p>
        </p:txBody>
      </p:sp>
    </p:spTree>
    <p:extLst>
      <p:ext uri="{BB962C8B-B14F-4D97-AF65-F5344CB8AC3E}">
        <p14:creationId xmlns:p14="http://schemas.microsoft.com/office/powerpoint/2010/main" val="2526158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5</a:t>
            </a:fld>
            <a:endParaRPr lang="en-US"/>
          </a:p>
        </p:txBody>
      </p:sp>
    </p:spTree>
    <p:extLst>
      <p:ext uri="{BB962C8B-B14F-4D97-AF65-F5344CB8AC3E}">
        <p14:creationId xmlns:p14="http://schemas.microsoft.com/office/powerpoint/2010/main" val="4194328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6</a:t>
            </a:fld>
            <a:endParaRPr lang="en-US"/>
          </a:p>
        </p:txBody>
      </p:sp>
    </p:spTree>
    <p:extLst>
      <p:ext uri="{BB962C8B-B14F-4D97-AF65-F5344CB8AC3E}">
        <p14:creationId xmlns:p14="http://schemas.microsoft.com/office/powerpoint/2010/main" val="1137301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7</a:t>
            </a:fld>
            <a:endParaRPr lang="en-US"/>
          </a:p>
        </p:txBody>
      </p:sp>
    </p:spTree>
    <p:extLst>
      <p:ext uri="{BB962C8B-B14F-4D97-AF65-F5344CB8AC3E}">
        <p14:creationId xmlns:p14="http://schemas.microsoft.com/office/powerpoint/2010/main" val="2514897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8</a:t>
            </a:fld>
            <a:endParaRPr lang="en-US"/>
          </a:p>
        </p:txBody>
      </p:sp>
    </p:spTree>
    <p:extLst>
      <p:ext uri="{BB962C8B-B14F-4D97-AF65-F5344CB8AC3E}">
        <p14:creationId xmlns:p14="http://schemas.microsoft.com/office/powerpoint/2010/main" val="787260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x-none" dirty="0"/>
          </a:p>
        </p:txBody>
      </p:sp>
      <p:sp>
        <p:nvSpPr>
          <p:cNvPr id="4" name="Номер слайда 3"/>
          <p:cNvSpPr>
            <a:spLocks noGrp="1"/>
          </p:cNvSpPr>
          <p:nvPr>
            <p:ph type="sldNum" sz="quarter" idx="5"/>
          </p:nvPr>
        </p:nvSpPr>
        <p:spPr/>
        <p:txBody>
          <a:bodyPr/>
          <a:lstStyle/>
          <a:p>
            <a:fld id="{77C3C3A7-D1BE-40DB-B524-41A25908642D}" type="slidenum">
              <a:rPr lang="en-US" smtClean="0"/>
              <a:t>9</a:t>
            </a:fld>
            <a:endParaRPr lang="en-US"/>
          </a:p>
        </p:txBody>
      </p:sp>
    </p:spTree>
    <p:extLst>
      <p:ext uri="{BB962C8B-B14F-4D97-AF65-F5344CB8AC3E}">
        <p14:creationId xmlns:p14="http://schemas.microsoft.com/office/powerpoint/2010/main" val="3723746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wmf"/><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11.jpg"/><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wmf"/><Relationship Id="rId2" Type="http://schemas.openxmlformats.org/officeDocument/2006/relationships/tags" Target="../tags/tag55.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29.vml"/><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35.vml"/><Relationship Id="rId5" Type="http://schemas.openxmlformats.org/officeDocument/2006/relationships/image" Target="../media/image10.emf"/><Relationship Id="rId4" Type="http://schemas.openxmlformats.org/officeDocument/2006/relationships/oleObject" Target="../embeddings/oleObject35.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8.w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8.w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0.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83.xml"/><Relationship Id="rId7" Type="http://schemas.openxmlformats.org/officeDocument/2006/relationships/image" Target="../media/image13.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4.jpg"/><Relationship Id="rId2" Type="http://schemas.openxmlformats.org/officeDocument/2006/relationships/tags" Target="../tags/tag103.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45.vml"/><Relationship Id="rId6" Type="http://schemas.openxmlformats.org/officeDocument/2006/relationships/image" Target="../media/image15.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6940C1C-E499-4EE9-8945-B7F776F886FF}" type="datetimeFigureOut">
              <a:rPr lang="en-US" smtClean="0"/>
              <a:t>11/24/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836577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4/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271770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4/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785928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3"/>
          <a:ext cx="2159" cy="1618"/>
        </p:xfrm>
        <a:graphic>
          <a:graphicData uri="http://schemas.openxmlformats.org/presentationml/2006/ole">
            <mc:AlternateContent xmlns:mc="http://schemas.openxmlformats.org/markup-compatibility/2006">
              <mc:Choice xmlns:v="urn:schemas-microsoft-com:vml" Requires="v">
                <p:oleObj spid="_x0000_s32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3" y="1623"/>
                        <a:ext cx="2159" cy="161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30AD6CB-2910-4F17-A828-CF26B1B7470F}"/>
              </a:ext>
            </a:extLst>
          </p:cNvPr>
          <p:cNvSpPr/>
          <p:nvPr userDrawn="1">
            <p:custDataLst>
              <p:tags r:id="rId3"/>
            </p:custDataLst>
          </p:nvPr>
        </p:nvSpPr>
        <p:spPr>
          <a:xfrm>
            <a:off x="2"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17" name="Picture 16">
            <a:extLst>
              <a:ext uri="{FF2B5EF4-FFF2-40B4-BE49-F238E27FC236}">
                <a16:creationId xmlns:a16="http://schemas.microsoft.com/office/drawing/2014/main" id="{707821E0-F619-4EFA-8A6E-FC877B6601AF}"/>
              </a:ext>
            </a:extLst>
          </p:cNvPr>
          <p:cNvPicPr>
            <a:picLocks/>
          </p:cNvPicPr>
          <p:nvPr userDrawn="1"/>
        </p:nvPicPr>
        <p:blipFill rotWithShape="1">
          <a:blip r:embed="rId7">
            <a:extLst>
              <a:ext uri="{28A0092B-C50C-407E-A947-70E740481C1C}">
                <a14:useLocalDpi xmlns:a14="http://schemas.microsoft.com/office/drawing/2010/main" val="0"/>
              </a:ext>
            </a:extLst>
          </a:blip>
          <a:srcRect t="4" b="4"/>
          <a:stretch/>
        </p:blipFill>
        <p:spPr bwMode="ltGray">
          <a:xfrm>
            <a:off x="730" y="1"/>
            <a:ext cx="12191273" cy="6858000"/>
          </a:xfrm>
          <a:prstGeom prst="rect">
            <a:avLst/>
          </a:prstGeom>
          <a:solidFill>
            <a:schemeClr val="accent4"/>
          </a:solidFill>
          <a:effectLst/>
        </p:spPr>
      </p:pic>
      <p:sp>
        <p:nvSpPr>
          <p:cNvPr id="5" name="doc id"/>
          <p:cNvSpPr txBox="1">
            <a:spLocks noChangeArrowheads="1"/>
          </p:cNvSpPr>
          <p:nvPr userDrawn="1"/>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088" baseline="0" noProof="0" dirty="0">
              <a:solidFill>
                <a:schemeClr val="bg1"/>
              </a:solidFill>
              <a:latin typeface="+mn-lt"/>
            </a:endParaRPr>
          </a:p>
        </p:txBody>
      </p:sp>
      <p:sp>
        <p:nvSpPr>
          <p:cNvPr id="37" name="TitleRectangle"/>
          <p:cNvSpPr>
            <a:spLocks/>
          </p:cNvSpPr>
          <p:nvPr userDrawn="1"/>
        </p:nvSpPr>
        <p:spPr bwMode="ltGray">
          <a:xfrm>
            <a:off x="2836216" y="-1"/>
            <a:ext cx="9355784" cy="4048478"/>
          </a:xfrm>
          <a:prstGeom prst="rect">
            <a:avLst/>
          </a:prstGeom>
          <a:solidFill>
            <a:schemeClr val="tx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chemeClr val="tx1"/>
              </a:solidFill>
              <a:latin typeface="+mn-lt"/>
            </a:endParaRPr>
          </a:p>
        </p:txBody>
      </p:sp>
      <p:sp>
        <p:nvSpPr>
          <p:cNvPr id="13314" name="Title"/>
          <p:cNvSpPr>
            <a:spLocks noGrp="1" noChangeArrowheads="1"/>
          </p:cNvSpPr>
          <p:nvPr userDrawn="1">
            <p:ph type="ctrTitle"/>
          </p:nvPr>
        </p:nvSpPr>
        <p:spPr bwMode="auto">
          <a:xfrm>
            <a:off x="3085967" y="1463558"/>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grpSp>
        <p:nvGrpSpPr>
          <p:cNvPr id="14" name="LogoImage">
            <a:extLst>
              <a:ext uri="{FF2B5EF4-FFF2-40B4-BE49-F238E27FC236}">
                <a16:creationId xmlns:a16="http://schemas.microsoft.com/office/drawing/2014/main" id="{CF9EF921-9FC5-42B8-99C2-7B63BCC217DA}"/>
              </a:ext>
            </a:extLst>
          </p:cNvPr>
          <p:cNvGrpSpPr/>
          <p:nvPr userDrawn="1"/>
        </p:nvGrpSpPr>
        <p:grpSpPr bwMode="ltGray">
          <a:xfrm>
            <a:off x="3090575" y="263462"/>
            <a:ext cx="1741648" cy="553873"/>
            <a:chOff x="3029003" y="258214"/>
            <a:chExt cx="1706951" cy="542847"/>
          </a:xfrm>
        </p:grpSpPr>
        <p:sp>
          <p:nvSpPr>
            <p:cNvPr id="15" name="AutoShape 3">
              <a:extLst>
                <a:ext uri="{FF2B5EF4-FFF2-40B4-BE49-F238E27FC236}">
                  <a16:creationId xmlns:a16="http://schemas.microsoft.com/office/drawing/2014/main" id="{377E2CCF-9E6E-4948-A3F9-B6082FE76F38}"/>
                </a:ext>
              </a:extLst>
            </p:cNvPr>
            <p:cNvSpPr>
              <a:spLocks noChangeAspect="1" noChangeArrowheads="1" noTextEdit="1"/>
            </p:cNvSpPr>
            <p:nvPr userDrawn="1"/>
          </p:nvSpPr>
          <p:spPr bwMode="ltGray">
            <a:xfrm>
              <a:off x="3029003" y="258214"/>
              <a:ext cx="1706951" cy="542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a:latin typeface="Theinhardt Pan Light" panose="020B0404020101020102" pitchFamily="34" charset="0"/>
              </a:endParaRPr>
            </a:p>
          </p:txBody>
        </p:sp>
        <p:sp>
          <p:nvSpPr>
            <p:cNvPr id="16" name="Freeform 5">
              <a:extLst>
                <a:ext uri="{FF2B5EF4-FFF2-40B4-BE49-F238E27FC236}">
                  <a16:creationId xmlns:a16="http://schemas.microsoft.com/office/drawing/2014/main" id="{94AB1F65-4117-46AA-A186-DB407AF01B39}"/>
                </a:ext>
              </a:extLst>
            </p:cNvPr>
            <p:cNvSpPr>
              <a:spLocks noEditPoints="1"/>
            </p:cNvSpPr>
            <p:nvPr userDrawn="1"/>
          </p:nvSpPr>
          <p:spPr bwMode="ltGray">
            <a:xfrm>
              <a:off x="3029003" y="258443"/>
              <a:ext cx="1706951" cy="542618"/>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a:latin typeface="Theinhardt Pan Light" panose="020B0404020101020102" pitchFamily="34" charset="0"/>
              </a:endParaRPr>
            </a:p>
          </p:txBody>
        </p:sp>
      </p:grpSp>
      <p:pic>
        <p:nvPicPr>
          <p:cNvPr id="19" name="Graphic 18">
            <a:extLst>
              <a:ext uri="{FF2B5EF4-FFF2-40B4-BE49-F238E27FC236}">
                <a16:creationId xmlns:a16="http://schemas.microsoft.com/office/drawing/2014/main" id="{C4B202EB-7428-45BA-ABD8-F3396FC02F00}"/>
              </a:ext>
            </a:extLst>
          </p:cNvPr>
          <p:cNvPicPr>
            <a:picLocks noChangeAspect="1"/>
          </p:cNvPicPr>
          <p:nvPr userDrawn="1"/>
        </p:nvPicPr>
        <p:blipFill>
          <a:blip/>
          <a:stretch>
            <a:fillRect/>
          </a:stretch>
        </p:blipFill>
        <p:spPr>
          <a:xfrm>
            <a:off x="3085969" y="3403472"/>
            <a:ext cx="1836819" cy="430852"/>
          </a:xfrm>
          <a:prstGeom prst="rect">
            <a:avLst/>
          </a:prstGeom>
        </p:spPr>
      </p:pic>
      <p:sp>
        <p:nvSpPr>
          <p:cNvPr id="57" name="Document type" hidden="1"/>
          <p:cNvSpPr txBox="1">
            <a:spLocks noChangeArrowheads="1"/>
          </p:cNvSpPr>
          <p:nvPr userDrawn="1"/>
        </p:nvSpPr>
        <p:spPr bwMode="gray">
          <a:xfrm>
            <a:off x="3085967" y="3074975"/>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noProof="0" dirty="0">
                <a:solidFill>
                  <a:schemeClr val="bg1"/>
                </a:solidFill>
                <a:latin typeface="+mn-lt"/>
              </a:rPr>
              <a:t>Document type | Date</a:t>
            </a:r>
          </a:p>
        </p:txBody>
      </p:sp>
      <p:sp>
        <p:nvSpPr>
          <p:cNvPr id="13315" name="Subtitle"/>
          <p:cNvSpPr>
            <a:spLocks noGrp="1" noChangeArrowheads="1"/>
          </p:cNvSpPr>
          <p:nvPr userDrawn="1">
            <p:ph type="subTitle" idx="1"/>
          </p:nvPr>
        </p:nvSpPr>
        <p:spPr bwMode="auto">
          <a:xfrm>
            <a:off x="3085967" y="2412819"/>
            <a:ext cx="8478152"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n-US" noProof="0"/>
              <a:t>Click to edit Master subtitle style</a:t>
            </a:r>
            <a:endParaRPr lang="en-US" noProof="0" dirty="0"/>
          </a:p>
        </p:txBody>
      </p:sp>
    </p:spTree>
    <p:extLst>
      <p:ext uri="{BB962C8B-B14F-4D97-AF65-F5344CB8AC3E}">
        <p14:creationId xmlns:p14="http://schemas.microsoft.com/office/powerpoint/2010/main" val="4005352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42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110" baseline="0" noProof="0" dirty="0">
              <a:solidFill>
                <a:srgbClr val="482A06"/>
              </a:solidFill>
              <a:latin typeface="+mn-lt"/>
            </a:endParaRPr>
          </a:p>
        </p:txBody>
      </p:sp>
      <p:sp>
        <p:nvSpPr>
          <p:cNvPr id="4" name="Working Draft Text"/>
          <p:cNvSpPr txBox="1">
            <a:spLocks noChangeArrowheads="1"/>
          </p:cNvSpPr>
          <p:nvPr userDrawn="1"/>
        </p:nvSpPr>
        <p:spPr bwMode="black">
          <a:xfrm>
            <a:off x="883575" y="541314"/>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833" b="1" baseline="0" noProof="0" dirty="0">
                <a:solidFill>
                  <a:schemeClr val="tx1"/>
                </a:solidFill>
                <a:latin typeface="+mn-lt"/>
              </a:rPr>
              <a:t>WORKING DRAFT</a:t>
            </a:r>
          </a:p>
        </p:txBody>
      </p:sp>
      <p:sp>
        <p:nvSpPr>
          <p:cNvPr id="6" name="Working Draft"/>
          <p:cNvSpPr txBox="1">
            <a:spLocks noChangeArrowheads="1"/>
          </p:cNvSpPr>
          <p:nvPr userDrawn="1"/>
        </p:nvSpPr>
        <p:spPr bwMode="black">
          <a:xfrm>
            <a:off x="883577" y="666925"/>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833" baseline="0" noProof="0">
                <a:solidFill>
                  <a:schemeClr val="tx1"/>
                </a:solidFill>
                <a:latin typeface="+mn-lt"/>
              </a:rPr>
              <a:t>Last Modified 28.01.2020 13:17 Azerbaijan Standard Time</a:t>
            </a:r>
            <a:endParaRPr lang="x-none" sz="833" baseline="0" noProof="0" dirty="0">
              <a:solidFill>
                <a:schemeClr val="tx1"/>
              </a:solidFill>
              <a:latin typeface="+mn-lt"/>
            </a:endParaRPr>
          </a:p>
        </p:txBody>
      </p:sp>
      <p:sp>
        <p:nvSpPr>
          <p:cNvPr id="7" name="Printed"/>
          <p:cNvSpPr txBox="1">
            <a:spLocks noChangeArrowheads="1"/>
          </p:cNvSpPr>
          <p:nvPr userDrawn="1"/>
        </p:nvSpPr>
        <p:spPr bwMode="black">
          <a:xfrm>
            <a:off x="883575" y="792538"/>
            <a:ext cx="3618996" cy="130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833" baseline="0" noProof="0" dirty="0">
                <a:solidFill>
                  <a:schemeClr val="tx1"/>
                </a:solidFill>
                <a:latin typeface="+mn-lt"/>
              </a:rPr>
              <a:t>Printed</a:t>
            </a:r>
          </a:p>
        </p:txBody>
      </p:sp>
      <p:sp>
        <p:nvSpPr>
          <p:cNvPr id="13314" name="Title"/>
          <p:cNvSpPr>
            <a:spLocks noGrp="1" noChangeArrowheads="1"/>
          </p:cNvSpPr>
          <p:nvPr userDrawn="1">
            <p:ph type="ctrTitle"/>
          </p:nvPr>
        </p:nvSpPr>
        <p:spPr bwMode="gray">
          <a:xfrm>
            <a:off x="883573" y="1507463"/>
            <a:ext cx="8478152" cy="502445"/>
          </a:xfrm>
          <a:prstGeom prst="rect">
            <a:avLst/>
          </a:prstGeom>
        </p:spPr>
        <p:txBody>
          <a:bodyPr/>
          <a:lstStyle>
            <a:lvl1pPr>
              <a:defRPr lang="x-none" sz="3265" b="0" baseline="0">
                <a:solidFill>
                  <a:schemeClr val="tx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883573" y="3382086"/>
            <a:ext cx="8478152" cy="251222"/>
          </a:xfrm>
          <a:prstGeom prst="rect">
            <a:avLst/>
          </a:prstGeom>
        </p:spPr>
        <p:txBody>
          <a:bodyPr wrap="square">
            <a:spAutoFit/>
          </a:bodyPr>
          <a:lstStyle>
            <a:lvl1pPr>
              <a:defRPr lang="x-none" sz="1632" cap="none" baseline="0">
                <a:solidFill>
                  <a:schemeClr val="accent6"/>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883573" y="4937643"/>
            <a:ext cx="8478152"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32" baseline="0" noProof="0" dirty="0">
                <a:solidFill>
                  <a:schemeClr val="accent6"/>
                </a:solidFill>
                <a:latin typeface="+mn-lt"/>
              </a:rPr>
              <a:t>Document type | Date</a:t>
            </a:r>
          </a:p>
        </p:txBody>
      </p:sp>
    </p:spTree>
    <p:extLst>
      <p:ext uri="{BB962C8B-B14F-4D97-AF65-F5344CB8AC3E}">
        <p14:creationId xmlns:p14="http://schemas.microsoft.com/office/powerpoint/2010/main" val="2045834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5298"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5" y="51838"/>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752"/>
            <a:endParaRPr lang="x-none" sz="624" baseline="0" noProof="0" dirty="0">
              <a:solidFill>
                <a:schemeClr val="accent6"/>
              </a:solidFill>
              <a:latin typeface="+mn-lt"/>
              <a:ea typeface="+mn-ea"/>
            </a:endParaRPr>
          </a:p>
        </p:txBody>
      </p:sp>
    </p:spTree>
    <p:extLst>
      <p:ext uri="{BB962C8B-B14F-4D97-AF65-F5344CB8AC3E}">
        <p14:creationId xmlns:p14="http://schemas.microsoft.com/office/powerpoint/2010/main" val="415478354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7">
          <p15:clr>
            <a:srgbClr val="F26B43"/>
          </p15:clr>
        </p15:guide>
        <p15:guide id="4" orient="horz" pos="3912">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9FB04-F6E0-48DD-A4F2-E98E5B564A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57A350-F1C0-4313-A915-2109EA5C9EF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4675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6FB904-095B-4EC2-803B-5EFB298C6E2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3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B6FB904-095B-4EC2-803B-5EFB298C6E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D9504D-1A39-4CF1-A1C5-CD1206606A11}"/>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dirty="0"/>
              <a:t>Click to edit Master </a:t>
            </a:r>
            <a:r>
              <a:rPr lang="en-US"/>
              <a:t>title style</a:t>
            </a:r>
            <a:endParaRPr lang="en-US"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a:t>
            </a:r>
            <a:r>
              <a:rPr lang="en-US"/>
              <a:t>subtitle style</a:t>
            </a:r>
            <a:endParaRPr lang="en-US" dirty="0"/>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10867183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68472-A3CE-4EAD-8B59-100888DCFE1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6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2BE68472-A3CE-4EAD-8B59-100888DCFE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7156697-1144-4C33-9692-90F3A15559A9}"/>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a:xfrm>
            <a:off x="609601" y="1425600"/>
            <a:ext cx="10972800"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Tree>
    <p:extLst>
      <p:ext uri="{BB962C8B-B14F-4D97-AF65-F5344CB8AC3E}">
        <p14:creationId xmlns:p14="http://schemas.microsoft.com/office/powerpoint/2010/main" val="21044918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D4331A-AE89-4415-B95B-61F4A2F721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7"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6BD4331A-AE89-4415-B95B-61F4A2F721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0E1B30-61F5-42FB-992D-BABD74F5BBAA}"/>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273012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9FF9AA-9C97-4E25-BC80-618AF0DF76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139FF9AA-9C97-4E25-BC80-618AF0DF76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2AA7313-9480-47B2-9B81-53BD9FDD372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idx="1" hasCustomPrompt="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9003958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940C1C-E499-4EE9-8945-B7F776F886FF}" type="datetimeFigureOut">
              <a:rPr lang="en-US" smtClean="0"/>
              <a:t>11/24/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2156149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F43FF4-112C-42F4-96DF-F1DDB8C6DCD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35"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18F43FF4-112C-42F4-96DF-F1DDB8C6DC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4620BEF-2E81-48BC-98DF-A7615DA5FF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5203160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54C696-614F-4DCA-8654-BED0F308CB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59"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8154C696-614F-4DCA-8654-BED0F308C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48B99C-DE02-41FE-8A34-158AA94E115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282985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3EDB27-3293-4373-80BC-EE478E4B75C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83"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B3EDB27-3293-4373-80BC-EE478E4B7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1DF8CD7-D310-4FB1-8BEE-5416A3E05EC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3" name="Content Placeholder 2"/>
          <p:cNvSpPr>
            <a:spLocks noGrp="1"/>
          </p:cNvSpPr>
          <p:nvPr>
            <p:ph sz="half" idx="1" hasCustomPrompt="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p:cNvSpPr>
            <a:spLocks noGrp="1"/>
          </p:cNvSpPr>
          <p:nvPr>
            <p:ph sz="half" idx="2" hasCustomPrompt="1"/>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7584991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1D9C34-6771-49F8-8EB0-193399C1F7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7"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0A1D9C34-6771-49F8-8EB0-193399C1F7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B3C944-7ED9-4472-AA3C-EC4B1545A3A2}"/>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p:cNvSpPr>
            <a:spLocks noGrp="1"/>
          </p:cNvSpPr>
          <p:nvPr>
            <p:ph sz="half" idx="1" hasCustomPrompt="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p:cNvSpPr>
            <a:spLocks noGrp="1"/>
          </p:cNvSpPr>
          <p:nvPr>
            <p:ph sz="half" idx="2" hasCustomPrompt="1"/>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10" name="Text Placeholder 9"/>
          <p:cNvSpPr>
            <a:spLocks noGrp="1"/>
          </p:cNvSpPr>
          <p:nvPr>
            <p:ph type="body" sz="quarter" idx="12" hasCustomPrompt="1"/>
          </p:nvPr>
        </p:nvSpPr>
        <p:spPr>
          <a:xfrm>
            <a:off x="612329" y="1427144"/>
            <a:ext cx="5390400" cy="640800"/>
          </a:xfrm>
        </p:spPr>
        <p:txBody>
          <a:bodyPr anchor="t" anchorCtr="0"/>
          <a:lstStyle>
            <a:lvl1pPr>
              <a:buNone/>
              <a:defRPr b="1"/>
            </a:lvl1pPr>
          </a:lstStyle>
          <a:p>
            <a:pPr lvl="0"/>
            <a:r>
              <a:rPr lang="en-US" dirty="0"/>
              <a:t>Click to edit Master text styles</a:t>
            </a:r>
          </a:p>
        </p:txBody>
      </p:sp>
      <p:sp>
        <p:nvSpPr>
          <p:cNvPr id="11" name="Text Placeholder 9"/>
          <p:cNvSpPr>
            <a:spLocks noGrp="1"/>
          </p:cNvSpPr>
          <p:nvPr>
            <p:ph type="body" sz="quarter" idx="13" hasCustomPrompt="1"/>
          </p:nvPr>
        </p:nvSpPr>
        <p:spPr>
          <a:xfrm>
            <a:off x="6196405" y="1427144"/>
            <a:ext cx="5390400" cy="640800"/>
          </a:xfrm>
        </p:spPr>
        <p:txBody>
          <a:bodyPr anchor="t" anchorCtr="0"/>
          <a:lstStyle>
            <a:lvl1pPr>
              <a:buNone/>
              <a:defRPr b="1"/>
            </a:lvl1pPr>
          </a:lstStyle>
          <a:p>
            <a:pPr lvl="0"/>
            <a:r>
              <a:rPr lang="en-US" dirty="0"/>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69183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FCDF23-524B-43AC-A001-5C3A5DCE0C3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31"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6FFCDF23-524B-43AC-A001-5C3A5DCE0C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2802855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10E0A4-2C8A-44B8-A689-20488308E95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3010E0A4-2C8A-44B8-A689-20488308E9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DEDED1-EC03-4609-99E7-B7EE642E2105}"/>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US" sz="1799" dirty="0">
              <a:solidFill>
                <a:srgbClr val="646464"/>
              </a:solidFill>
            </a:endParaRPr>
          </a:p>
        </p:txBody>
      </p:sp>
    </p:spTree>
    <p:extLst>
      <p:ext uri="{BB962C8B-B14F-4D97-AF65-F5344CB8AC3E}">
        <p14:creationId xmlns:p14="http://schemas.microsoft.com/office/powerpoint/2010/main" val="3182444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EC9AA-F3FC-4A76-9777-AC7DB1B5E12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7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AE8EC9AA-F3FC-4A76-9777-AC7DB1B5E1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5A33F2-A7B0-4904-AE38-7AA5F8BF4597}"/>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US" sz="1799" dirty="0">
              <a:solidFill>
                <a:srgbClr val="646464"/>
              </a:solidFill>
            </a:endParaRPr>
          </a:p>
        </p:txBody>
      </p:sp>
    </p:spTree>
    <p:extLst>
      <p:ext uri="{BB962C8B-B14F-4D97-AF65-F5344CB8AC3E}">
        <p14:creationId xmlns:p14="http://schemas.microsoft.com/office/powerpoint/2010/main" val="2571735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A65F20-7ADF-4D27-B537-A5E24A95953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3"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ADA65F20-7ADF-4D27-B537-A5E24A9595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Tree>
    <p:extLst>
      <p:ext uri="{BB962C8B-B14F-4D97-AF65-F5344CB8AC3E}">
        <p14:creationId xmlns:p14="http://schemas.microsoft.com/office/powerpoint/2010/main" val="25426769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B39C45-C3BA-41CD-8139-043C3F80803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27"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A5B39C45-C3BA-41CD-8139-043C3F808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p:cNvSpPr>
            <a:spLocks noGrp="1"/>
          </p:cNvSpPr>
          <p:nvPr>
            <p:ph idx="1" hasCustomPrompt="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26907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2844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6940C1C-E499-4EE9-8945-B7F776F886FF}" type="datetimeFigureOut">
              <a:rPr lang="en-US" smtClean="0"/>
              <a:t>11/24/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7856946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24751"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8675784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577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3447398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679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5942601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78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186953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8847"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8B75B4F-C13E-4124-A2A9-0B8CC605761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182" b="935"/>
          <a:stretch/>
        </p:blipFill>
        <p:spPr>
          <a:xfrm>
            <a:off x="-1" y="-1"/>
            <a:ext cx="12636347" cy="7028761"/>
          </a:xfrm>
          <a:prstGeom prst="rect">
            <a:avLst/>
          </a:prstGeom>
        </p:spPr>
      </p:pic>
      <p:sp>
        <p:nvSpPr>
          <p:cNvPr id="11" name="Freeform 6">
            <a:extLst>
              <a:ext uri="{FF2B5EF4-FFF2-40B4-BE49-F238E27FC236}">
                <a16:creationId xmlns:a16="http://schemas.microsoft.com/office/drawing/2014/main" id="{4089B8C1-BCFC-4FA3-816D-290A84DBB113}"/>
              </a:ext>
            </a:extLst>
          </p:cNvPr>
          <p:cNvSpPr>
            <a:spLocks/>
          </p:cNvSpPr>
          <p:nvPr userDrawn="1"/>
        </p:nvSpPr>
        <p:spPr bwMode="auto">
          <a:xfrm>
            <a:off x="387411" y="484963"/>
            <a:ext cx="5163157" cy="3700118"/>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1213" dirty="0"/>
          </a:p>
        </p:txBody>
      </p:sp>
    </p:spTree>
    <p:extLst>
      <p:ext uri="{BB962C8B-B14F-4D97-AF65-F5344CB8AC3E}">
        <p14:creationId xmlns:p14="http://schemas.microsoft.com/office/powerpoint/2010/main" val="27644756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ub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224" y="1223"/>
          <a:ext cx="1221" cy="1221"/>
        </p:xfrm>
        <a:graphic>
          <a:graphicData uri="http://schemas.openxmlformats.org/presentationml/2006/ole">
            <mc:AlternateContent xmlns:mc="http://schemas.openxmlformats.org/markup-compatibility/2006">
              <mc:Choice xmlns:v="urn:schemas-microsoft-com:vml" Requires="v">
                <p:oleObj spid="_x0000_s298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224" y="1223"/>
                        <a:ext cx="1221" cy="1221"/>
                      </a:xfrm>
                      <a:prstGeom prst="rect">
                        <a:avLst/>
                      </a:prstGeom>
                    </p:spPr>
                  </p:pic>
                </p:oleObj>
              </mc:Fallback>
            </mc:AlternateContent>
          </a:graphicData>
        </a:graphic>
      </p:graphicFrame>
      <p:sp>
        <p:nvSpPr>
          <p:cNvPr id="2" name="Holder 2"/>
          <p:cNvSpPr>
            <a:spLocks noGrp="1"/>
          </p:cNvSpPr>
          <p:nvPr>
            <p:ph type="ctrTitle"/>
          </p:nvPr>
        </p:nvSpPr>
        <p:spPr>
          <a:xfrm>
            <a:off x="218945" y="1046769"/>
            <a:ext cx="1903454" cy="1478866"/>
          </a:xfrm>
          <a:prstGeom prst="rect">
            <a:avLst/>
          </a:prstGeom>
        </p:spPr>
        <p:txBody>
          <a:bodyPr wrap="square" lIns="0" tIns="0" rIns="0" bIns="0">
            <a:noAutofit/>
          </a:bodyPr>
          <a:lstStyle>
            <a:lvl1pPr algn="l" eaLnBrk="1">
              <a:lnSpc>
                <a:spcPct val="90000"/>
              </a:lnSpc>
              <a:defRPr sz="2460" b="1">
                <a:solidFill>
                  <a:schemeClr val="bg1"/>
                </a:solidFill>
                <a:latin typeface="+mj-lt"/>
                <a:cs typeface="EYInterstate Light"/>
              </a:defRPr>
            </a:lvl1pPr>
          </a:lstStyle>
          <a:p>
            <a:endParaRPr lang="en-US" dirty="0"/>
          </a:p>
        </p:txBody>
      </p:sp>
    </p:spTree>
    <p:extLst>
      <p:ext uri="{BB962C8B-B14F-4D97-AF65-F5344CB8AC3E}">
        <p14:creationId xmlns:p14="http://schemas.microsoft.com/office/powerpoint/2010/main" val="4009398245"/>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3089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rgbClr val="FFFFFF"/>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1275243" y="2491219"/>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1133168" y="1733065"/>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922310" y="1368240"/>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title style</a:t>
            </a:r>
          </a:p>
        </p:txBody>
      </p:sp>
      <p:sp>
        <p:nvSpPr>
          <p:cNvPr id="13" name="Subtitle 2"/>
          <p:cNvSpPr>
            <a:spLocks noGrp="1"/>
          </p:cNvSpPr>
          <p:nvPr>
            <p:ph type="subTitle" idx="1"/>
          </p:nvPr>
        </p:nvSpPr>
        <p:spPr>
          <a:xfrm>
            <a:off x="2046186" y="2094833"/>
            <a:ext cx="7220000" cy="276999"/>
          </a:xfrm>
        </p:spPr>
        <p:txBody>
          <a:bodyPr>
            <a:spAutoFit/>
          </a:bodyPr>
          <a:lstStyle>
            <a:lvl1pPr marL="0" indent="0">
              <a:buNone/>
              <a:defRPr lang="en-GB" sz="1799" dirty="0">
                <a:solidFill>
                  <a:schemeClr val="tx1"/>
                </a:solidFill>
              </a:defRPr>
            </a:lvl1pPr>
          </a:lstStyle>
          <a:p>
            <a:pPr marL="0" lvl="0"/>
            <a:r>
              <a:rPr lang="en-US" dirty="0"/>
              <a:t>Click to edit Master subtitle style</a:t>
            </a:r>
          </a:p>
        </p:txBody>
      </p:sp>
    </p:spTree>
    <p:extLst>
      <p:ext uri="{BB962C8B-B14F-4D97-AF65-F5344CB8AC3E}">
        <p14:creationId xmlns:p14="http://schemas.microsoft.com/office/powerpoint/2010/main" val="28706081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31919" name="think-cell Slide" r:id="rId5" imgW="395" imgH="394" progId="TCLayout.ActiveDocument.1">
                  <p:embed/>
                </p:oleObj>
              </mc:Choice>
              <mc:Fallback>
                <p:oleObj name="think-cell Slide" r:id="rId5" imgW="395" imgH="394" progId="TCLayout.ActiveDocument.1">
                  <p:embed/>
                  <p:pic>
                    <p:nvPicPr>
                      <p:cNvPr id="5" name="Objekt 4"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2" name="Rektangel 1"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1494739" y="6519672"/>
            <a:ext cx="1370886" cy="201168"/>
          </a:xfrm>
          <a:prstGeom prst="rect">
            <a:avLst/>
          </a:prstGeom>
        </p:spPr>
        <p:txBody>
          <a:bodyPr/>
          <a:lstStyle/>
          <a:p>
            <a:r>
              <a:rPr lang="en-US" dirty="0">
                <a:solidFill>
                  <a:srgbClr val="FFFFFF"/>
                </a:solidFill>
              </a:rPr>
              <a:t>February 2018</a:t>
            </a:r>
          </a:p>
        </p:txBody>
      </p:sp>
      <p:sp>
        <p:nvSpPr>
          <p:cNvPr id="4" name="Footer Placeholder 3"/>
          <p:cNvSpPr>
            <a:spLocks noGrp="1"/>
          </p:cNvSpPr>
          <p:nvPr>
            <p:ph type="ftr" sz="quarter" idx="11"/>
          </p:nvPr>
        </p:nvSpPr>
        <p:spPr>
          <a:xfrm>
            <a:off x="3451201" y="6519672"/>
            <a:ext cx="4579200" cy="201168"/>
          </a:xfrm>
          <a:prstGeom prst="rect">
            <a:avLst/>
          </a:prstGeom>
        </p:spPr>
        <p:txBody>
          <a:bodyPr/>
          <a:lstStyle/>
          <a:p>
            <a:r>
              <a:rPr lang="en-US" dirty="0">
                <a:solidFill>
                  <a:srgbClr val="FFFFFF"/>
                </a:solidFill>
              </a:rPr>
              <a:t>Agile organization design</a:t>
            </a:r>
          </a:p>
        </p:txBody>
      </p:sp>
      <p:sp>
        <p:nvSpPr>
          <p:cNvPr id="11" name="Line 11"/>
          <p:cNvSpPr>
            <a:spLocks noChangeShapeType="1"/>
          </p:cNvSpPr>
          <p:nvPr userDrawn="1"/>
        </p:nvSpPr>
        <p:spPr bwMode="auto">
          <a:xfrm>
            <a:off x="0" y="6242400"/>
            <a:ext cx="12192000" cy="0"/>
          </a:xfrm>
          <a:prstGeom prst="line">
            <a:avLst/>
          </a:prstGeom>
          <a:noFill/>
          <a:ln w="3175">
            <a:solidFill>
              <a:schemeClr val="accent1">
                <a:lumMod val="50000"/>
              </a:schemeClr>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15" name="Title Placeholder 1"/>
          <p:cNvSpPr>
            <a:spLocks noGrp="1"/>
          </p:cNvSpPr>
          <p:nvPr>
            <p:ph type="title"/>
          </p:nvPr>
        </p:nvSpPr>
        <p:spPr>
          <a:xfrm>
            <a:off x="457200" y="229119"/>
            <a:ext cx="11277600" cy="619566"/>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0893713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3294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501743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39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ktangel 3"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784986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6940C1C-E499-4EE9-8945-B7F776F886FF}" type="datetimeFigureOut">
              <a:rPr lang="en-US" smtClean="0"/>
              <a:t>11/24/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839399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499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297182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60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lvl1pPr eaLnBrk="1">
              <a:defRPr/>
            </a:lvl1p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lvl1pPr eaLnBrk="1">
              <a:defRPr/>
            </a:lvl1pPr>
          </a:lstStyle>
          <a:p>
            <a:endParaRPr lang="en-US" dirty="0">
              <a:solidFill>
                <a:srgbClr val="FFFFFF"/>
              </a:solidFill>
            </a:endParaRPr>
          </a:p>
        </p:txBody>
      </p:sp>
    </p:spTree>
    <p:extLst>
      <p:ext uri="{BB962C8B-B14F-4D97-AF65-F5344CB8AC3E}">
        <p14:creationId xmlns:p14="http://schemas.microsoft.com/office/powerpoint/2010/main" val="23636641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7039"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Tree>
    <p:extLst>
      <p:ext uri="{BB962C8B-B14F-4D97-AF65-F5344CB8AC3E}">
        <p14:creationId xmlns:p14="http://schemas.microsoft.com/office/powerpoint/2010/main" val="37849941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3806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lvl1pPr eaLnBrk="1">
              <a:defRPr/>
            </a:lvl1p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lvl1pPr eaLnBrk="1">
              <a:defRPr/>
            </a:lvl1pPr>
          </a:lstStyle>
          <a:p>
            <a:endParaRPr lang="en-US" dirty="0">
              <a:solidFill>
                <a:srgbClr val="000000"/>
              </a:solidFill>
            </a:endParaRPr>
          </a:p>
        </p:txBody>
      </p:sp>
    </p:spTree>
    <p:extLst>
      <p:ext uri="{BB962C8B-B14F-4D97-AF65-F5344CB8AC3E}">
        <p14:creationId xmlns:p14="http://schemas.microsoft.com/office/powerpoint/2010/main" val="20308625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90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267761-9EC6-453E-8B3C-C7C67C6583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35520474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011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 Placeholder 2"/>
          <p:cNvSpPr>
            <a:spLocks noGrp="1"/>
          </p:cNvSpPr>
          <p:nvPr>
            <p:ph type="body" sz="quarter" idx="11" hasCustomPrompt="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a:xfrm>
            <a:off x="1494739" y="6519672"/>
            <a:ext cx="1370886" cy="201168"/>
          </a:xfrm>
          <a:prstGeom prst="rect">
            <a:avLst/>
          </a:prstGeom>
        </p:spPr>
        <p:txBody>
          <a:bodyPr/>
          <a:lstStyle/>
          <a:p>
            <a:endParaRPr lang="en-US" dirty="0">
              <a:solidFill>
                <a:srgbClr val="FFFFFF"/>
              </a:solidFill>
            </a:endParaRPr>
          </a:p>
        </p:txBody>
      </p:sp>
      <p:sp>
        <p:nvSpPr>
          <p:cNvPr id="7" name="Footer Placeholder 6"/>
          <p:cNvSpPr>
            <a:spLocks noGrp="1"/>
          </p:cNvSpPr>
          <p:nvPr>
            <p:ph type="ftr" sz="quarter" idx="13"/>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21622134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11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3556756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5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421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50CBA7-2C3E-4817-8102-F033D71E1CA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406120" y="3638700"/>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264045" y="2441273"/>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053187" y="2076448"/>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a:t>
            </a:r>
            <a:r>
              <a:rPr lang="en-US"/>
              <a:t>title style</a:t>
            </a:r>
            <a:endParaRPr lang="en-US" dirty="0"/>
          </a:p>
        </p:txBody>
      </p:sp>
      <p:sp>
        <p:nvSpPr>
          <p:cNvPr id="13" name="Subtitle 2"/>
          <p:cNvSpPr>
            <a:spLocks noGrp="1"/>
          </p:cNvSpPr>
          <p:nvPr>
            <p:ph type="subTitle" idx="1"/>
          </p:nvPr>
        </p:nvSpPr>
        <p:spPr>
          <a:xfrm>
            <a:off x="1177063" y="3242314"/>
            <a:ext cx="7220000" cy="276999"/>
          </a:xfrm>
        </p:spPr>
        <p:txBody>
          <a:bodyPr>
            <a:spAutoFit/>
          </a:bodyPr>
          <a:lstStyle>
            <a:lvl1pPr marL="0" indent="0">
              <a:buNone/>
              <a:defRPr lang="en-GB" sz="1799" dirty="0">
                <a:solidFill>
                  <a:schemeClr val="tx1"/>
                </a:solidFill>
              </a:defRPr>
            </a:lvl1pPr>
          </a:lstStyle>
          <a:p>
            <a:pPr marL="0" lvl="0"/>
            <a:r>
              <a:rPr lang="en-US" dirty="0"/>
              <a:t>Click to edit Master </a:t>
            </a:r>
            <a:r>
              <a:rPr lang="en-US"/>
              <a:t>subtitle style</a:t>
            </a:r>
            <a:endParaRPr lang="en-US" dirty="0"/>
          </a:p>
        </p:txBody>
      </p:sp>
    </p:spTree>
    <p:extLst>
      <p:ext uri="{BB962C8B-B14F-4D97-AF65-F5344CB8AC3E}">
        <p14:creationId xmlns:p14="http://schemas.microsoft.com/office/powerpoint/2010/main" val="313901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431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1"/>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85FFDF-0319-4578-A10F-826E30F1EB7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3198" b="1"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16" name="Group 15"/>
          <p:cNvGrpSpPr>
            <a:grpSpLocks noChangeAspect="1"/>
          </p:cNvGrpSpPr>
          <p:nvPr userDrawn="1"/>
        </p:nvGrpSpPr>
        <p:grpSpPr>
          <a:xfrm>
            <a:off x="10518952" y="5359402"/>
            <a:ext cx="1448794" cy="1358839"/>
            <a:chOff x="11046411" y="5848715"/>
            <a:chExt cx="927568" cy="869523"/>
          </a:xfrm>
        </p:grpSpPr>
        <p:sp>
          <p:nvSpPr>
            <p:cNvPr id="17" name="Oval 16"/>
            <p:cNvSpPr/>
            <p:nvPr userDrawn="1"/>
          </p:nvSpPr>
          <p:spPr>
            <a:xfrm>
              <a:off x="11450444" y="5848715"/>
              <a:ext cx="523535" cy="52353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sp>
          <p:nvSpPr>
            <p:cNvPr id="19" name="Oval 18"/>
            <p:cNvSpPr>
              <a:spLocks noChangeAspect="1"/>
            </p:cNvSpPr>
            <p:nvPr userDrawn="1"/>
          </p:nvSpPr>
          <p:spPr>
            <a:xfrm>
              <a:off x="11046411" y="5993832"/>
              <a:ext cx="724407" cy="724406"/>
            </a:xfrm>
            <a:prstGeom prst="ellips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rgbClr val="000000"/>
                </a:solidFill>
              </a:endParaRPr>
            </a:p>
          </p:txBody>
        </p:sp>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248663" y="6142842"/>
              <a:ext cx="363951" cy="426387"/>
            </a:xfrm>
            <a:prstGeom prst="rect">
              <a:avLst/>
            </a:prstGeom>
          </p:spPr>
        </p:pic>
      </p:grpSp>
      <p:cxnSp>
        <p:nvCxnSpPr>
          <p:cNvPr id="21" name="Straight Connector 20"/>
          <p:cNvCxnSpPr/>
          <p:nvPr userDrawn="1"/>
        </p:nvCxnSpPr>
        <p:spPr>
          <a:xfrm>
            <a:off x="1275243" y="2491219"/>
            <a:ext cx="5433170" cy="0"/>
          </a:xfrm>
          <a:prstGeom prst="line">
            <a:avLst/>
          </a:prstGeom>
          <a:ln w="381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22" name="Flowchart: Manual Input 21"/>
          <p:cNvSpPr>
            <a:spLocks noChangeAspect="1"/>
          </p:cNvSpPr>
          <p:nvPr userDrawn="1"/>
        </p:nvSpPr>
        <p:spPr>
          <a:xfrm rot="16200000" flipV="1">
            <a:off x="1133168" y="1733065"/>
            <a:ext cx="900228" cy="616080"/>
          </a:xfrm>
          <a:prstGeom prst="flowChartManualInpu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endParaRPr lang="en-US" sz="1998" b="1" dirty="0">
              <a:solidFill>
                <a:srgbClr val="FFFFFF"/>
              </a:solidFill>
            </a:endParaRPr>
          </a:p>
        </p:txBody>
      </p:sp>
      <p:sp>
        <p:nvSpPr>
          <p:cNvPr id="23" name="Title Placeholder 1"/>
          <p:cNvSpPr>
            <a:spLocks noGrp="1"/>
          </p:cNvSpPr>
          <p:nvPr>
            <p:ph type="title"/>
          </p:nvPr>
        </p:nvSpPr>
        <p:spPr>
          <a:xfrm>
            <a:off x="1922310" y="1368240"/>
            <a:ext cx="6083049" cy="957322"/>
          </a:xfrm>
          <a:prstGeom prst="rect">
            <a:avLst/>
          </a:prstGeom>
          <a:noFill/>
          <a:ln w="9525">
            <a:noFill/>
          </a:ln>
        </p:spPr>
        <p:style>
          <a:lnRef idx="2">
            <a:schemeClr val="accent1">
              <a:shade val="50000"/>
            </a:schemeClr>
          </a:lnRef>
          <a:fillRef idx="1">
            <a:schemeClr val="accent1"/>
          </a:fillRef>
          <a:effectRef idx="0">
            <a:schemeClr val="accent1"/>
          </a:effectRef>
          <a:fontRef idx="minor"/>
        </p:style>
        <p:txBody>
          <a:bodyPr vert="horz" lIns="90000" tIns="0" rIns="90000" bIns="36000" rtlCol="0" anchor="ctr" anchorCtr="0">
            <a:noAutofit/>
          </a:bodyPr>
          <a:lstStyle>
            <a:lvl1pPr>
              <a:defRPr sz="3198">
                <a:solidFill>
                  <a:schemeClr val="bg1"/>
                </a:solidFill>
              </a:defRPr>
            </a:lvl1pPr>
          </a:lstStyle>
          <a:p>
            <a:pPr marL="0" lvl="0"/>
            <a:r>
              <a:rPr lang="en-US" dirty="0"/>
              <a:t>Click to edit Master </a:t>
            </a:r>
            <a:r>
              <a:rPr lang="en-US"/>
              <a:t>title style</a:t>
            </a:r>
            <a:endParaRPr lang="en-US" dirty="0"/>
          </a:p>
        </p:txBody>
      </p:sp>
      <p:sp>
        <p:nvSpPr>
          <p:cNvPr id="13" name="Subtitle 2"/>
          <p:cNvSpPr>
            <a:spLocks noGrp="1"/>
          </p:cNvSpPr>
          <p:nvPr>
            <p:ph type="subTitle" idx="1"/>
          </p:nvPr>
        </p:nvSpPr>
        <p:spPr>
          <a:xfrm>
            <a:off x="2046186" y="2094833"/>
            <a:ext cx="7220000" cy="276999"/>
          </a:xfrm>
        </p:spPr>
        <p:txBody>
          <a:bodyPr>
            <a:spAutoFit/>
          </a:bodyPr>
          <a:lstStyle>
            <a:lvl1pPr marL="0" indent="0">
              <a:buNone/>
              <a:defRPr lang="en-GB" sz="1799" dirty="0">
                <a:solidFill>
                  <a:schemeClr val="tx1"/>
                </a:solidFill>
              </a:defRPr>
            </a:lvl1pPr>
          </a:lstStyle>
          <a:p>
            <a:pPr marL="0" lvl="0"/>
            <a:r>
              <a:rPr lang="en-US" dirty="0"/>
              <a:t>Click to edit Master </a:t>
            </a:r>
            <a:r>
              <a:rPr lang="en-US"/>
              <a:t>subtitle style</a:t>
            </a:r>
            <a:endParaRPr lang="en-US" dirty="0"/>
          </a:p>
        </p:txBody>
      </p:sp>
    </p:spTree>
    <p:extLst>
      <p:ext uri="{BB962C8B-B14F-4D97-AF65-F5344CB8AC3E}">
        <p14:creationId xmlns:p14="http://schemas.microsoft.com/office/powerpoint/2010/main" val="25347508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4207"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697624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6940C1C-E499-4EE9-8945-B7F776F886FF}" type="datetimeFigureOut">
              <a:rPr lang="en-US" smtClean="0"/>
              <a:t>11/24/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1922153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5231"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999"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a:avLst/>
          </a:prstGeom>
        </p:spPr>
        <p:txBody>
          <a:bodyPr/>
          <a:lstStyle/>
          <a:p>
            <a:r>
              <a:rPr lang="en-US" dirty="0"/>
              <a:t>Click to edit Master title style</a:t>
            </a:r>
          </a:p>
        </p:txBody>
      </p:sp>
      <p:sp>
        <p:nvSpPr>
          <p:cNvPr id="2" name="Date Placeholder 1"/>
          <p:cNvSpPr>
            <a:spLocks noGrp="1"/>
          </p:cNvSpPr>
          <p:nvPr>
            <p:ph type="dt" sz="half" idx="10"/>
          </p:nvPr>
        </p:nvSpPr>
        <p:spPr>
          <a:xfrm>
            <a:off x="1623723" y="6496184"/>
            <a:ext cx="1584960" cy="201168"/>
          </a:xfrm>
          <a:prstGeom prst="rect">
            <a:avLst/>
          </a:prstGeom>
        </p:spPr>
        <p:txBody>
          <a:bodyPr/>
          <a:lstStyle/>
          <a:p>
            <a:endParaRPr lang="en-US" dirty="0">
              <a:solidFill>
                <a:srgbClr val="000000"/>
              </a:solidFill>
            </a:endParaRP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2445390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only, no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62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65D5591-3089-485C-88E6-5C9449930741}"/>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a:t>
            </a:r>
            <a:r>
              <a:rPr lang="en-US"/>
              <a:t>title style</a:t>
            </a:r>
            <a:endParaRPr lang="en-US"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a:xfrm>
            <a:off x="1494739" y="6519672"/>
            <a:ext cx="1370886" cy="201168"/>
          </a:xfrm>
          <a:prstGeom prst="rect">
            <a:avLst/>
          </a:prstGeom>
        </p:spPr>
        <p:txBody>
          <a:bodyPr/>
          <a:lstStyle/>
          <a:p>
            <a:endParaRPr lang="en-US" dirty="0">
              <a:solidFill>
                <a:srgbClr val="FFFFFF"/>
              </a:solidFill>
            </a:endParaRPr>
          </a:p>
        </p:txBody>
      </p:sp>
      <p:sp>
        <p:nvSpPr>
          <p:cNvPr id="9" name="Footer Placeholder 8"/>
          <p:cNvSpPr>
            <a:spLocks noGrp="1"/>
          </p:cNvSpPr>
          <p:nvPr>
            <p:ph type="ftr" sz="quarter" idx="11"/>
          </p:nvPr>
        </p:nvSpPr>
        <p:spPr>
          <a:xfrm>
            <a:off x="3451201" y="6519672"/>
            <a:ext cx="4579200" cy="201168"/>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2914070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ov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E1FD04-28C6-41B6-9007-49DB44FBA6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7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BEE1FD04-28C6-41B6-9007-49DB44FBA6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21FD6C-DAD5-43E5-86E7-08AFA4A5BF5A}"/>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rot="4574938">
            <a:off x="-1503275" y="57909"/>
            <a:ext cx="8213995" cy="6717043"/>
          </a:xfrm>
          <a:prstGeom prst="rect">
            <a:avLst/>
          </a:prstGeom>
          <a:noFill/>
          <a:ln>
            <a:noFill/>
          </a:ln>
        </p:spPr>
      </p:pic>
      <p:sp>
        <p:nvSpPr>
          <p:cNvPr id="8" name="Title 1"/>
          <p:cNvSpPr>
            <a:spLocks noGrp="1"/>
          </p:cNvSpPr>
          <p:nvPr>
            <p:ph type="ctrTitle" hasCustomPrompt="1"/>
          </p:nvPr>
        </p:nvSpPr>
        <p:spPr>
          <a:xfrm>
            <a:off x="4149215" y="2240280"/>
            <a:ext cx="7220000" cy="860400"/>
          </a:xfr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a:t>
            </a:r>
            <a:r>
              <a:rPr lang="en-US"/>
              <a:t>TITLE STYLE</a:t>
            </a:r>
            <a:endParaRPr lang="en-US" dirty="0"/>
          </a:p>
        </p:txBody>
      </p:sp>
      <p:sp>
        <p:nvSpPr>
          <p:cNvPr id="10" name="Subtitle 2"/>
          <p:cNvSpPr>
            <a:spLocks noGrp="1"/>
          </p:cNvSpPr>
          <p:nvPr>
            <p:ph type="subTitle" idx="1" hasCustomPrompt="1"/>
          </p:nvPr>
        </p:nvSpPr>
        <p:spPr>
          <a:xfrm>
            <a:off x="4149215" y="3218688"/>
            <a:ext cx="7220000" cy="645742"/>
          </a:xfrm>
        </p:spPr>
        <p:txBody>
          <a:bodyPr/>
          <a:lstStyle>
            <a:lvl1pPr marL="0" indent="0" algn="l">
              <a:buNone/>
              <a:defRPr sz="1999">
                <a:solidFill>
                  <a:srgbClr val="404040"/>
                </a:solidFill>
                <a:latin typeface="EYInterstate Light" panose="0200050600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a:t>
            </a:r>
            <a:r>
              <a:rPr lang="en-US"/>
              <a:t>SUBTITLE STYLE</a:t>
            </a:r>
            <a:endParaRPr lang="en-US" dirty="0"/>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20908511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8444B6-3185-4956-918D-DBE48709B7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0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18444B6-3185-4956-918D-DBE48709B7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F3813C-2F4B-47DB-AA9E-899A51DF3C0B}"/>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924355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595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E5C5C16-57CB-40A6-8369-29D55253B1DC}"/>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2" name="background"/>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5" baseline="0" dirty="0">
              <a:solidFill>
                <a:schemeClr val="tx1"/>
              </a:solidFill>
              <a:latin typeface="+mn-lt"/>
            </a:endParaRPr>
          </a:p>
        </p:txBody>
      </p:sp>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7/16/2020 11:38 AM Turkey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grpSp>
        <p:nvGrpSpPr>
          <p:cNvPr id="15" name="LogoImage">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65">
                <a:latin typeface="+mn-lt"/>
              </a:endParaRPr>
            </a:p>
          </p:txBody>
        </p:sp>
        <p:sp>
          <p:nvSpPr>
            <p:cNvPr id="17" name="Freeform 5">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65">
                <a:latin typeface="+mn-lt"/>
              </a:endParaRPr>
            </a:p>
          </p:txBody>
        </p:sp>
      </p:grpSp>
    </p:spTree>
    <p:extLst>
      <p:ext uri="{BB962C8B-B14F-4D97-AF65-F5344CB8AC3E}">
        <p14:creationId xmlns:p14="http://schemas.microsoft.com/office/powerpoint/2010/main" val="345274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298039109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0585"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3075815405"/>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E2750-7CA8-4E3A-B636-A3293004D0B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A3C2BD6-2565-4CF6-88CC-AF8DC5DE4D6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252131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C2B43-D9DF-4B40-9CF4-DA99A9F3E3B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2876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6940C1C-E499-4EE9-8945-B7F776F886FF}" type="datetimeFigureOut">
              <a:rPr lang="en-US" smtClean="0"/>
              <a:t>11/24/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769042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940C1C-E499-4EE9-8945-B7F776F886FF}" type="datetimeFigureOut">
              <a:rPr lang="en-US" smtClean="0"/>
              <a:t>11/24/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34992040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940C1C-E499-4EE9-8945-B7F776F886FF}" type="datetimeFigureOut">
              <a:rPr lang="en-US" smtClean="0"/>
              <a:t>11/24/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4256832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6940C1C-E499-4EE9-8945-B7F776F886FF}" type="datetimeFigureOut">
              <a:rPr lang="en-US" smtClean="0"/>
              <a:t>11/24/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DEC6CD-E9F6-467B-9C1C-A14B91179A95}" type="slidenum">
              <a:rPr lang="en-US" smtClean="0"/>
              <a:t>‹#›</a:t>
            </a:fld>
            <a:endParaRPr lang="en-US"/>
          </a:p>
        </p:txBody>
      </p:sp>
    </p:spTree>
    <p:extLst>
      <p:ext uri="{BB962C8B-B14F-4D97-AF65-F5344CB8AC3E}">
        <p14:creationId xmlns:p14="http://schemas.microsoft.com/office/powerpoint/2010/main" val="1720796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3.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tags" Target="../tags/tag23.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vmlDrawing" Target="../drawings/vmlDrawing5.vml"/><Relationship Id="rId45" Type="http://schemas.openxmlformats.org/officeDocument/2006/relationships/image" Target="../media/image6.w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4" Type="http://schemas.openxmlformats.org/officeDocument/2006/relationships/image" Target="../media/image5.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oleObject" Target="../embeddings/oleObject5.bin"/><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20" Type="http://schemas.openxmlformats.org/officeDocument/2006/relationships/slideLayout" Target="../slideLayouts/slideLayout35.xml"/><Relationship Id="rId41" Type="http://schemas.openxmlformats.org/officeDocument/2006/relationships/tags" Target="../tags/tag2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1.emf"/><Relationship Id="rId3" Type="http://schemas.openxmlformats.org/officeDocument/2006/relationships/slideLayout" Target="../slideLayouts/slideLayout56.xml"/><Relationship Id="rId21" Type="http://schemas.openxmlformats.org/officeDocument/2006/relationships/tags" Target="../tags/tag99.xml"/><Relationship Id="rId7" Type="http://schemas.openxmlformats.org/officeDocument/2006/relationships/vmlDrawing" Target="../drawings/vmlDrawing43.v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oleObject" Target="../embeddings/oleObject43.bin"/><Relationship Id="rId2" Type="http://schemas.openxmlformats.org/officeDocument/2006/relationships/slideLayout" Target="../slideLayouts/slideLayout55.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slideLayout" Target="../slideLayouts/slideLayout54.xml"/><Relationship Id="rId6" Type="http://schemas.openxmlformats.org/officeDocument/2006/relationships/theme" Target="../theme/theme4.xml"/><Relationship Id="rId11" Type="http://schemas.openxmlformats.org/officeDocument/2006/relationships/tags" Target="../tags/tag89.xml"/><Relationship Id="rId24" Type="http://schemas.openxmlformats.org/officeDocument/2006/relationships/tags" Target="../tags/tag102.xml"/><Relationship Id="rId5" Type="http://schemas.openxmlformats.org/officeDocument/2006/relationships/slideLayout" Target="../slideLayouts/slideLayout58.xml"/><Relationship Id="rId15" Type="http://schemas.openxmlformats.org/officeDocument/2006/relationships/tags" Target="../tags/tag93.xml"/><Relationship Id="rId23" Type="http://schemas.openxmlformats.org/officeDocument/2006/relationships/tags" Target="../tags/tag101.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slideLayout" Target="../slideLayouts/slideLayout57.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940C1C-E499-4EE9-8945-B7F776F886FF}" type="datetimeFigureOut">
              <a:rPr lang="en-US" smtClean="0"/>
              <a:t>11/24/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6DEC6CD-E9F6-467B-9C1C-A14B91179A95}" type="slidenum">
              <a:rPr lang="en-US" smtClean="0"/>
              <a:t>‹#›</a:t>
            </a:fld>
            <a:endParaRPr lang="en-US"/>
          </a:p>
        </p:txBody>
      </p:sp>
    </p:spTree>
    <p:extLst>
      <p:ext uri="{BB962C8B-B14F-4D97-AF65-F5344CB8AC3E}">
        <p14:creationId xmlns:p14="http://schemas.microsoft.com/office/powerpoint/2010/main" val="37583418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 y="2"/>
          <a:ext cx="215979" cy="161974"/>
        </p:xfrm>
        <a:graphic>
          <a:graphicData uri="http://schemas.openxmlformats.org/presentationml/2006/ole">
            <mc:AlternateContent xmlns:mc="http://schemas.openxmlformats.org/markup-compatibility/2006">
              <mc:Choice xmlns:v="urn:schemas-microsoft-com:vml" Requires="v">
                <p:oleObj spid="_x0000_s22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2"/>
                        <a:ext cx="215979" cy="161974"/>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1" y="2"/>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220"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p:cNvSpPr>
            <a:spLocks noChangeArrowheads="1"/>
          </p:cNvSpPr>
          <p:nvPr/>
        </p:nvSpPr>
        <p:spPr bwMode="gray">
          <a:xfrm flipH="1">
            <a:off x="10658005" y="51838"/>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752"/>
            <a:endParaRPr lang="x-none" sz="624"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055822" y="1979088"/>
            <a:ext cx="2082301"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24" baseline="0" noProof="0">
                <a:solidFill>
                  <a:schemeClr val="accent6"/>
                </a:solidFill>
                <a:latin typeface="+mn-lt"/>
                <a:ea typeface="+mn-ea"/>
              </a:rPr>
              <a:t>Last Modified 28.01.2020 13:17 Azerbaijan Standard Time</a:t>
            </a:r>
            <a:endParaRPr lang="x-none" sz="624"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69529" y="4197071"/>
            <a:ext cx="254878"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624"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9" y="23486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gray">
          <a:xfrm>
            <a:off x="161987" y="77305"/>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9" y="556170"/>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61988" y="6432383"/>
            <a:ext cx="11630453" cy="333665"/>
            <a:chOff x="75" y="3935"/>
            <a:chExt cx="5385" cy="206"/>
          </a:xfrm>
        </p:grpSpPr>
        <p:sp>
          <p:nvSpPr>
            <p:cNvPr id="13" name="4. Footnote"/>
            <p:cNvSpPr txBox="1">
              <a:spLocks noChangeArrowheads="1"/>
            </p:cNvSpPr>
            <p:nvPr/>
          </p:nvSpPr>
          <p:spPr bwMode="gray">
            <a:xfrm>
              <a:off x="75" y="3935"/>
              <a:ext cx="5385" cy="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46" indent="-85846">
                <a:defRPr lang="x-none"/>
              </a:pPr>
              <a:r>
                <a:rPr lang="x-none" sz="816"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2"/>
              <a:ext cx="5152" cy="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29651" indent="-529651" defTabSz="1242752">
                <a:tabLst/>
              </a:pPr>
              <a:r>
                <a:rPr lang="x-none" sz="816" baseline="0" noProof="0" dirty="0">
                  <a:solidFill>
                    <a:schemeClr val="accent6"/>
                  </a:solidFill>
                  <a:latin typeface="+mn-lt"/>
                  <a:ea typeface="+mn-ea"/>
                </a:rPr>
                <a:t>SOURCE : Source</a:t>
              </a:r>
              <a:endParaRPr lang="en-US" sz="816" baseline="0" noProof="0" dirty="0">
                <a:solidFill>
                  <a:schemeClr val="accent6"/>
                </a:solidFill>
                <a:latin typeface="+mn-lt"/>
                <a:ea typeface="+mn-ea"/>
              </a:endParaRPr>
            </a:p>
          </p:txBody>
        </p:sp>
      </p:grpSp>
      <p:sp>
        <p:nvSpPr>
          <p:cNvPr id="3" name="Text Placeholder 2"/>
          <p:cNvSpPr>
            <a:spLocks noGrp="1"/>
          </p:cNvSpPr>
          <p:nvPr>
            <p:ph type="body" idx="1"/>
          </p:nvPr>
        </p:nvSpPr>
        <p:spPr bwMode="gray">
          <a:xfrm>
            <a:off x="2371626" y="2615195"/>
            <a:ext cx="5801188" cy="1256112"/>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2371623" y="1894525"/>
            <a:ext cx="5801188" cy="531278"/>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noProof="0" dirty="0">
                  <a:latin typeface="+mn-lt"/>
                  <a:ea typeface="+mn-ea"/>
                </a:rPr>
                <a:t>Title</a:t>
              </a:r>
            </a:p>
            <a:p>
              <a:r>
                <a:rPr lang="x-none" sz="1632" baseline="0" noProof="0" dirty="0">
                  <a:solidFill>
                    <a:schemeClr val="accent6"/>
                  </a:solidFill>
                  <a:latin typeface="+mn-lt"/>
                  <a:ea typeface="+mn-ea"/>
                </a:rPr>
                <a:t>Unit of measure</a:t>
              </a:r>
            </a:p>
          </p:txBody>
        </p:sp>
      </p:grpSp>
      <p:sp>
        <p:nvSpPr>
          <p:cNvPr id="61" name="Slide Number"/>
          <p:cNvSpPr txBox="1">
            <a:spLocks/>
          </p:cNvSpPr>
          <p:nvPr userDrawn="1"/>
        </p:nvSpPr>
        <p:spPr bwMode="gray">
          <a:xfrm>
            <a:off x="11759232" y="6640503"/>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16" baseline="0" smtClean="0">
                <a:solidFill>
                  <a:schemeClr val="accent6"/>
                </a:solidFill>
              </a:rPr>
              <a:pPr lvl="0" algn="r"/>
              <a:t>‹#›</a:t>
            </a:fld>
            <a:endParaRPr lang="x-none" sz="816" baseline="0" dirty="0">
              <a:solidFill>
                <a:schemeClr val="accent6"/>
              </a:solidFill>
            </a:endParaRPr>
          </a:p>
        </p:txBody>
      </p:sp>
      <p:grpSp>
        <p:nvGrpSpPr>
          <p:cNvPr id="59" name="LegendBoxes" hidden="1"/>
          <p:cNvGrpSpPr>
            <a:grpSpLocks/>
          </p:cNvGrpSpPr>
          <p:nvPr userDrawn="1"/>
        </p:nvGrpSpPr>
        <p:grpSpPr bwMode="auto">
          <a:xfrm>
            <a:off x="11123880" y="269957"/>
            <a:ext cx="773113" cy="1001714"/>
            <a:chOff x="4936" y="176"/>
            <a:chExt cx="487" cy="631"/>
          </a:xfrm>
        </p:grpSpPr>
        <p:sp>
          <p:nvSpPr>
            <p:cNvPr id="102"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4"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6"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08"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10" name="LegendLines" hidden="1"/>
          <p:cNvGrpSpPr>
            <a:grpSpLocks/>
          </p:cNvGrpSpPr>
          <p:nvPr userDrawn="1"/>
        </p:nvGrpSpPr>
        <p:grpSpPr bwMode="auto">
          <a:xfrm>
            <a:off x="10815913" y="269956"/>
            <a:ext cx="1081088" cy="735014"/>
            <a:chOff x="4750" y="176"/>
            <a:chExt cx="681" cy="463"/>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latin typeface="+mn-lt"/>
              </a:endParaRPr>
            </a:p>
          </p:txBody>
        </p:sp>
        <p:sp>
          <p:nvSpPr>
            <p:cNvPr id="114"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15"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16"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grpSp>
      <p:grpSp>
        <p:nvGrpSpPr>
          <p:cNvPr id="117" name="McKSticker" hidden="1"/>
          <p:cNvGrpSpPr/>
          <p:nvPr userDrawn="1"/>
        </p:nvGrpSpPr>
        <p:grpSpPr bwMode="auto">
          <a:xfrm>
            <a:off x="11149641" y="269957"/>
            <a:ext cx="737830" cy="153247"/>
            <a:chOff x="8002946" y="285750"/>
            <a:chExt cx="737829" cy="153246"/>
          </a:xfrm>
        </p:grpSpPr>
        <p:sp>
          <p:nvSpPr>
            <p:cNvPr id="118" name="StickerRectangle"/>
            <p:cNvSpPr>
              <a:spLocks noChangeArrowheads="1"/>
            </p:cNvSpPr>
            <p:nvPr/>
          </p:nvSpPr>
          <p:spPr bwMode="auto">
            <a:xfrm>
              <a:off x="8002946" y="285750"/>
              <a:ext cx="737829" cy="15324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816"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02946" y="285750"/>
              <a:ext cx="0" cy="15324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02946" y="438996"/>
              <a:ext cx="73782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55" y="269956"/>
            <a:ext cx="840049" cy="1306516"/>
            <a:chOff x="6655594" y="273840"/>
            <a:chExt cx="840047" cy="1306516"/>
          </a:xfrm>
        </p:grpSpPr>
        <p:grpSp>
          <p:nvGrpSpPr>
            <p:cNvPr id="122" name="MoonLegend1"/>
            <p:cNvGrpSpPr>
              <a:grpSpLocks noChangeAspect="1"/>
            </p:cNvGrpSpPr>
            <p:nvPr>
              <p:custDataLst>
                <p:tags r:id="rId9"/>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41"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3" name="MoonLegend2"/>
            <p:cNvGrpSpPr>
              <a:grpSpLocks noChangeAspect="1"/>
            </p:cNvGrpSpPr>
            <p:nvPr>
              <p:custDataLst>
                <p:tags r:id="rId10"/>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4"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7"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nvGrpSpPr>
            <p:cNvPr id="125"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5"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sp>
          <p:nvSpPr>
            <p:cNvPr id="126" name="Legend1"/>
            <p:cNvSpPr>
              <a:spLocks noChangeArrowheads="1"/>
            </p:cNvSpPr>
            <p:nvPr/>
          </p:nvSpPr>
          <p:spPr bwMode="auto">
            <a:xfrm>
              <a:off x="6976269" y="286540"/>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7" name="Legend2"/>
            <p:cNvSpPr>
              <a:spLocks noChangeArrowheads="1"/>
            </p:cNvSpPr>
            <p:nvPr/>
          </p:nvSpPr>
          <p:spPr bwMode="auto">
            <a:xfrm>
              <a:off x="6976269" y="561178"/>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8" name="Legend3"/>
            <p:cNvSpPr>
              <a:spLocks noChangeArrowheads="1"/>
            </p:cNvSpPr>
            <p:nvPr/>
          </p:nvSpPr>
          <p:spPr bwMode="auto">
            <a:xfrm>
              <a:off x="6976269" y="835817"/>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sp>
          <p:nvSpPr>
            <p:cNvPr id="129" name="Legend4"/>
            <p:cNvSpPr>
              <a:spLocks noChangeArrowheads="1"/>
            </p:cNvSpPr>
            <p:nvPr/>
          </p:nvSpPr>
          <p:spPr bwMode="auto">
            <a:xfrm>
              <a:off x="6976269" y="1107280"/>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a:latin typeface="+mn-lt"/>
                </a:rPr>
                <a:t>Legend</a:t>
              </a:r>
            </a:p>
          </p:txBody>
        </p:sp>
        <p:sp>
          <p:nvSpPr>
            <p:cNvPr id="130" name="Legend5"/>
            <p:cNvSpPr>
              <a:spLocks noChangeArrowheads="1"/>
            </p:cNvSpPr>
            <p:nvPr/>
          </p:nvSpPr>
          <p:spPr bwMode="auto">
            <a:xfrm>
              <a:off x="6976269" y="1383505"/>
              <a:ext cx="51937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dirty="0">
                  <a:latin typeface="+mn-lt"/>
                </a:rPr>
                <a:t>Legend</a:t>
              </a:r>
            </a:p>
          </p:txBody>
        </p:sp>
        <p:grpSp>
          <p:nvGrpSpPr>
            <p:cNvPr id="131" name="MoonLegend3"/>
            <p:cNvGrpSpPr>
              <a:grpSpLocks noChangeAspect="1"/>
            </p:cNvGrpSpPr>
            <p:nvPr>
              <p:custDataLst>
                <p:tags r:id="rId13"/>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sp>
            <p:nvSpPr>
              <p:cNvPr id="133"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latin typeface="+mn-lt"/>
                </a:endParaRPr>
              </a:p>
            </p:txBody>
          </p:sp>
        </p:grpSp>
      </p:grpSp>
    </p:spTree>
    <p:extLst>
      <p:ext uri="{BB962C8B-B14F-4D97-AF65-F5344CB8AC3E}">
        <p14:creationId xmlns:p14="http://schemas.microsoft.com/office/powerpoint/2010/main" val="11340111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p:titleStyle>
    <p:bodyStyle>
      <a:lvl1pPr marL="0" indent="0" algn="l" defTabSz="1242752"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5922" indent="-195922" algn="l" defTabSz="1242752"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81" indent="-270559" algn="l" defTabSz="1242752"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5085" indent="-158604" algn="l" defTabSz="1242752"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5029" indent="-130615" algn="l" defTabSz="124275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6pPr>
      <a:lvl7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7pPr>
      <a:lvl8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8pPr>
      <a:lvl9pPr marL="1040737" indent="-180684" algn="l" defTabSz="1242752"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9pPr>
    </p:bodyStyle>
    <p:otherStyle>
      <a:defPPr>
        <a:defRPr lang="x-none"/>
      </a:defPPr>
      <a:lvl1pPr marL="0" algn="l" defTabSz="1269193" rtl="0" eaLnBrk="1" latinLnBrk="0" hangingPunct="1">
        <a:defRPr lang="x-none" sz="2498" kern="1200">
          <a:solidFill>
            <a:schemeClr val="tx1"/>
          </a:solidFill>
          <a:latin typeface="+mn-lt"/>
          <a:ea typeface="+mn-ea"/>
          <a:cs typeface="+mn-cs"/>
        </a:defRPr>
      </a:lvl1pPr>
      <a:lvl2pPr marL="634596" algn="l" defTabSz="1269193" rtl="0" eaLnBrk="1" latinLnBrk="0" hangingPunct="1">
        <a:defRPr lang="x-none" sz="2498" kern="1200">
          <a:solidFill>
            <a:schemeClr val="tx1"/>
          </a:solidFill>
          <a:latin typeface="+mn-lt"/>
          <a:ea typeface="+mn-ea"/>
          <a:cs typeface="+mn-cs"/>
        </a:defRPr>
      </a:lvl2pPr>
      <a:lvl3pPr marL="1269193" algn="l" defTabSz="1269193" rtl="0" eaLnBrk="1" latinLnBrk="0" hangingPunct="1">
        <a:defRPr lang="x-none" sz="2498" kern="1200">
          <a:solidFill>
            <a:schemeClr val="tx1"/>
          </a:solidFill>
          <a:latin typeface="+mn-lt"/>
          <a:ea typeface="+mn-ea"/>
          <a:cs typeface="+mn-cs"/>
        </a:defRPr>
      </a:lvl3pPr>
      <a:lvl4pPr marL="1903787" algn="l" defTabSz="1269193" rtl="0" eaLnBrk="1" latinLnBrk="0" hangingPunct="1">
        <a:defRPr lang="x-none" sz="2498" kern="1200">
          <a:solidFill>
            <a:schemeClr val="tx1"/>
          </a:solidFill>
          <a:latin typeface="+mn-lt"/>
          <a:ea typeface="+mn-ea"/>
          <a:cs typeface="+mn-cs"/>
        </a:defRPr>
      </a:lvl4pPr>
      <a:lvl5pPr marL="2538384" algn="l" defTabSz="1269193" rtl="0" eaLnBrk="1" latinLnBrk="0" hangingPunct="1">
        <a:defRPr lang="x-none" sz="2498" kern="1200">
          <a:solidFill>
            <a:schemeClr val="tx1"/>
          </a:solidFill>
          <a:latin typeface="+mn-lt"/>
          <a:ea typeface="+mn-ea"/>
          <a:cs typeface="+mn-cs"/>
        </a:defRPr>
      </a:lvl5pPr>
      <a:lvl6pPr marL="3172980" algn="l" defTabSz="1269193" rtl="0" eaLnBrk="1" latinLnBrk="0" hangingPunct="1">
        <a:defRPr lang="x-none" sz="2498" kern="1200">
          <a:solidFill>
            <a:schemeClr val="tx1"/>
          </a:solidFill>
          <a:latin typeface="+mn-lt"/>
          <a:ea typeface="+mn-ea"/>
          <a:cs typeface="+mn-cs"/>
        </a:defRPr>
      </a:lvl6pPr>
      <a:lvl7pPr marL="3807577" algn="l" defTabSz="1269193" rtl="0" eaLnBrk="1" latinLnBrk="0" hangingPunct="1">
        <a:defRPr lang="x-none" sz="2498" kern="1200">
          <a:solidFill>
            <a:schemeClr val="tx1"/>
          </a:solidFill>
          <a:latin typeface="+mn-lt"/>
          <a:ea typeface="+mn-ea"/>
          <a:cs typeface="+mn-cs"/>
        </a:defRPr>
      </a:lvl7pPr>
      <a:lvl8pPr marL="4442172" algn="l" defTabSz="1269193" rtl="0" eaLnBrk="1" latinLnBrk="0" hangingPunct="1">
        <a:defRPr lang="x-none" sz="2498" kern="1200">
          <a:solidFill>
            <a:schemeClr val="tx1"/>
          </a:solidFill>
          <a:latin typeface="+mn-lt"/>
          <a:ea typeface="+mn-ea"/>
          <a:cs typeface="+mn-cs"/>
        </a:defRPr>
      </a:lvl8pPr>
      <a:lvl9pPr marL="5076769" algn="l" defTabSz="1269193" rtl="0" eaLnBrk="1" latinLnBrk="0" hangingPunct="1">
        <a:defRPr lang="x-none" sz="24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5F6C00-E8B7-4B38-BE48-F538C4771C53}"/>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5" name="think-cell Slide" r:id="rId43" imgW="493" imgH="493" progId="TCLayout.ActiveDocument.1">
                  <p:embed/>
                </p:oleObj>
              </mc:Choice>
              <mc:Fallback>
                <p:oleObj name="think-cell Slide" r:id="rId43" imgW="493" imgH="493" progId="TCLayout.ActiveDocument.1">
                  <p:embed/>
                  <p:pic>
                    <p:nvPicPr>
                      <p:cNvPr id="5" name="Object 4" hidden="1">
                        <a:extLst>
                          <a:ext uri="{FF2B5EF4-FFF2-40B4-BE49-F238E27FC236}">
                            <a16:creationId xmlns:a16="http://schemas.microsoft.com/office/drawing/2014/main" id="{A55F6C00-E8B7-4B38-BE48-F538C4771C5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396A2F-983D-4132-A314-CB47E3D6FCE6}"/>
              </a:ext>
            </a:extLst>
          </p:cNvPr>
          <p:cNvSpPr/>
          <p:nvPr userDrawn="1">
            <p:custDataLst>
              <p:tags r:id="rId4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99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dirty="0"/>
              <a:t>Click to edit Master </a:t>
            </a:r>
            <a:r>
              <a:rPr lang="en-US"/>
              <a:t>title style</a:t>
            </a:r>
            <a:endParaRPr lang="en-US"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US" sz="1099" dirty="0">
                <a:solidFill>
                  <a:srgbClr val="646464"/>
                </a:solidFill>
              </a:rPr>
              <a:t>Page </a:t>
            </a:r>
            <a:fld id="{9AE4D82F-B047-469B-AC52-A46321747EAF}" type="slidenum">
              <a:rPr lang="en-US" sz="1099" smtClean="0">
                <a:solidFill>
                  <a:srgbClr val="646464"/>
                </a:solidFill>
              </a:rPr>
              <a:pPr/>
              <a:t>‹#›</a:t>
            </a:fld>
            <a:endParaRPr lang="en-US" sz="1099" dirty="0">
              <a:solidFill>
                <a:srgbClr val="646464"/>
              </a:solidFill>
            </a:endParaRPr>
          </a:p>
        </p:txBody>
      </p:sp>
      <p:pic>
        <p:nvPicPr>
          <p:cNvPr id="12" name="Picture 11"/>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Tree>
    <p:extLst>
      <p:ext uri="{BB962C8B-B14F-4D97-AF65-F5344CB8AC3E}">
        <p14:creationId xmlns:p14="http://schemas.microsoft.com/office/powerpoint/2010/main" val="93471216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8537"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00704" y="1980017"/>
            <a:ext cx="199253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7/16/2020 11:38 AM Turkey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65"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10"/>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1" name="MoonLegend2"/>
            <p:cNvGrpSpPr>
              <a:grpSpLocks noChangeAspect="1"/>
            </p:cNvGrpSpPr>
            <p:nvPr>
              <p:custDataLst>
                <p:tags r:id="rId11"/>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7" name="Arc 42"/>
              <p:cNvSpPr>
                <a:spLocks noChangeAspect="1"/>
              </p:cNvSpPr>
              <p:nvPr>
                <p:custDataLst>
                  <p:tags r:id="rId22"/>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grpSp>
          <p:nvGrpSpPr>
            <p:cNvPr id="44" name="MoonLegend3"/>
            <p:cNvGrpSpPr>
              <a:grpSpLocks noChangeAspect="1"/>
            </p:cNvGrpSpPr>
            <p:nvPr>
              <p:custDataLst>
                <p:tags r:id="rId14"/>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sp>
            <p:nvSpPr>
              <p:cNvPr id="5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5"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5"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48721709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comments" Target="../comments/comment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notesSlide" Target="../notesSlides/notesSlide10.xml"/><Relationship Id="rId5" Type="http://schemas.openxmlformats.org/officeDocument/2006/relationships/tags" Target="../tags/tag189.xml"/><Relationship Id="rId10" Type="http://schemas.openxmlformats.org/officeDocument/2006/relationships/slideLayout" Target="../slideLayouts/slideLayout2.xml"/><Relationship Id="rId4" Type="http://schemas.openxmlformats.org/officeDocument/2006/relationships/tags" Target="../tags/tag188.xml"/><Relationship Id="rId9" Type="http://schemas.openxmlformats.org/officeDocument/2006/relationships/tags" Target="../tags/tag193.xml"/></Relationships>
</file>

<file path=ppt/slides/_rels/slide11.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notesSlide" Target="../notesSlides/notesSlide11.xml"/><Relationship Id="rId5" Type="http://schemas.openxmlformats.org/officeDocument/2006/relationships/tags" Target="../tags/tag198.xml"/><Relationship Id="rId10" Type="http://schemas.openxmlformats.org/officeDocument/2006/relationships/slideLayout" Target="../slideLayouts/slideLayout2.xml"/><Relationship Id="rId4" Type="http://schemas.openxmlformats.org/officeDocument/2006/relationships/tags" Target="../tags/tag197.xml"/><Relationship Id="rId9" Type="http://schemas.openxmlformats.org/officeDocument/2006/relationships/tags" Target="../tags/tag202.xml"/></Relationships>
</file>

<file path=ppt/slides/_rels/slide12.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notesSlide" Target="../notesSlides/notesSlide12.xml"/><Relationship Id="rId5" Type="http://schemas.openxmlformats.org/officeDocument/2006/relationships/tags" Target="../tags/tag207.xml"/><Relationship Id="rId10" Type="http://schemas.openxmlformats.org/officeDocument/2006/relationships/slideLayout" Target="../slideLayouts/slideLayout2.xml"/><Relationship Id="rId4" Type="http://schemas.openxmlformats.org/officeDocument/2006/relationships/tags" Target="../tags/tag206.xml"/><Relationship Id="rId9" Type="http://schemas.openxmlformats.org/officeDocument/2006/relationships/tags" Target="../tags/tag211.xml"/></Relationships>
</file>

<file path=ppt/slides/_rels/slide13.xml.rels><?xml version="1.0" encoding="UTF-8" standalone="yes"?>
<Relationships xmlns="http://schemas.openxmlformats.org/package/2006/relationships"><Relationship Id="rId8" Type="http://schemas.openxmlformats.org/officeDocument/2006/relationships/tags" Target="../tags/tag219.xml"/><Relationship Id="rId3" Type="http://schemas.openxmlformats.org/officeDocument/2006/relationships/tags" Target="../tags/tag214.xml"/><Relationship Id="rId7" Type="http://schemas.openxmlformats.org/officeDocument/2006/relationships/tags" Target="../tags/tag21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notesSlide" Target="../notesSlides/notesSlide13.xml"/><Relationship Id="rId5" Type="http://schemas.openxmlformats.org/officeDocument/2006/relationships/tags" Target="../tags/tag216.xml"/><Relationship Id="rId10" Type="http://schemas.openxmlformats.org/officeDocument/2006/relationships/slideLayout" Target="../slideLayouts/slideLayout2.xml"/><Relationship Id="rId4" Type="http://schemas.openxmlformats.org/officeDocument/2006/relationships/tags" Target="../tags/tag215.xml"/><Relationship Id="rId9" Type="http://schemas.openxmlformats.org/officeDocument/2006/relationships/tags" Target="../tags/tag220.xml"/></Relationships>
</file>

<file path=ppt/slides/_rels/slide14.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notesSlide" Target="../notesSlides/notesSlide14.xml"/><Relationship Id="rId5" Type="http://schemas.openxmlformats.org/officeDocument/2006/relationships/tags" Target="../tags/tag225.xml"/><Relationship Id="rId10" Type="http://schemas.openxmlformats.org/officeDocument/2006/relationships/slideLayout" Target="../slideLayouts/slideLayout2.xml"/><Relationship Id="rId4" Type="http://schemas.openxmlformats.org/officeDocument/2006/relationships/tags" Target="../tags/tag224.xml"/><Relationship Id="rId9" Type="http://schemas.openxmlformats.org/officeDocument/2006/relationships/tags" Target="../tags/tag229.xml"/></Relationships>
</file>

<file path=ppt/slides/_rels/slide15.xml.rels><?xml version="1.0" encoding="UTF-8" standalone="yes"?>
<Relationships xmlns="http://schemas.openxmlformats.org/package/2006/relationships"><Relationship Id="rId8" Type="http://schemas.openxmlformats.org/officeDocument/2006/relationships/tags" Target="../tags/tag237.xml"/><Relationship Id="rId3" Type="http://schemas.openxmlformats.org/officeDocument/2006/relationships/tags" Target="../tags/tag232.xml"/><Relationship Id="rId7" Type="http://schemas.openxmlformats.org/officeDocument/2006/relationships/tags" Target="../tags/tag236.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notesSlide" Target="../notesSlides/notesSlide15.xml"/><Relationship Id="rId5" Type="http://schemas.openxmlformats.org/officeDocument/2006/relationships/tags" Target="../tags/tag234.xml"/><Relationship Id="rId10" Type="http://schemas.openxmlformats.org/officeDocument/2006/relationships/slideLayout" Target="../slideLayouts/slideLayout2.xml"/><Relationship Id="rId4" Type="http://schemas.openxmlformats.org/officeDocument/2006/relationships/tags" Target="../tags/tag233.xml"/><Relationship Id="rId9" Type="http://schemas.openxmlformats.org/officeDocument/2006/relationships/tags" Target="../tags/tag2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image" Target="../media/image33.svg"/><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image" Target="../media/image35.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notesSlide" Target="../notesSlides/notesSlide17.xml"/><Relationship Id="rId5" Type="http://schemas.openxmlformats.org/officeDocument/2006/relationships/tags" Target="../tags/tag243.xml"/><Relationship Id="rId10" Type="http://schemas.openxmlformats.org/officeDocument/2006/relationships/slideLayout" Target="../slideLayouts/slideLayout2.xml"/><Relationship Id="rId4" Type="http://schemas.openxmlformats.org/officeDocument/2006/relationships/tags" Target="../tags/tag242.xml"/><Relationship Id="rId9" Type="http://schemas.openxmlformats.org/officeDocument/2006/relationships/tags" Target="../tags/tag2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3.svg"/></Relationships>
</file>

<file path=ppt/slides/_rels/slide20.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image" Target="../media/image33.svg"/><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image" Target="../media/image35.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notesSlide" Target="../notesSlides/notesSlide18.xml"/><Relationship Id="rId5" Type="http://schemas.openxmlformats.org/officeDocument/2006/relationships/tags" Target="../tags/tag252.xml"/><Relationship Id="rId10" Type="http://schemas.openxmlformats.org/officeDocument/2006/relationships/slideLayout" Target="../slideLayouts/slideLayout2.xml"/><Relationship Id="rId4" Type="http://schemas.openxmlformats.org/officeDocument/2006/relationships/tags" Target="../tags/tag251.xml"/><Relationship Id="rId9" Type="http://schemas.openxmlformats.org/officeDocument/2006/relationships/tags" Target="../tags/tag25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13" Type="http://schemas.openxmlformats.org/officeDocument/2006/relationships/tags" Target="../tags/tag269.xml"/><Relationship Id="rId18" Type="http://schemas.openxmlformats.org/officeDocument/2006/relationships/tags" Target="../tags/tag274.xml"/><Relationship Id="rId26" Type="http://schemas.openxmlformats.org/officeDocument/2006/relationships/image" Target="../media/image26.png"/><Relationship Id="rId3" Type="http://schemas.openxmlformats.org/officeDocument/2006/relationships/tags" Target="../tags/tag259.xml"/><Relationship Id="rId21" Type="http://schemas.openxmlformats.org/officeDocument/2006/relationships/tags" Target="../tags/tag277.xml"/><Relationship Id="rId34" Type="http://schemas.openxmlformats.org/officeDocument/2006/relationships/image" Target="../media/image40.png"/><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tags" Target="../tags/tag273.xml"/><Relationship Id="rId25" Type="http://schemas.openxmlformats.org/officeDocument/2006/relationships/image" Target="../media/image25.svg"/><Relationship Id="rId33" Type="http://schemas.openxmlformats.org/officeDocument/2006/relationships/image" Target="../media/image33.svg"/><Relationship Id="rId2" Type="http://schemas.openxmlformats.org/officeDocument/2006/relationships/tags" Target="../tags/tag258.xml"/><Relationship Id="rId16" Type="http://schemas.openxmlformats.org/officeDocument/2006/relationships/tags" Target="../tags/tag272.xml"/><Relationship Id="rId20" Type="http://schemas.openxmlformats.org/officeDocument/2006/relationships/tags" Target="../tags/tag276.xml"/><Relationship Id="rId29" Type="http://schemas.openxmlformats.org/officeDocument/2006/relationships/image" Target="../media/image29.svg"/><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tags" Target="../tags/tag267.xml"/><Relationship Id="rId24" Type="http://schemas.openxmlformats.org/officeDocument/2006/relationships/image" Target="../media/image24.png"/><Relationship Id="rId32" Type="http://schemas.openxmlformats.org/officeDocument/2006/relationships/image" Target="../media/image39.png"/><Relationship Id="rId5" Type="http://schemas.openxmlformats.org/officeDocument/2006/relationships/tags" Target="../tags/tag261.xml"/><Relationship Id="rId15" Type="http://schemas.openxmlformats.org/officeDocument/2006/relationships/tags" Target="../tags/tag271.xml"/><Relationship Id="rId23" Type="http://schemas.openxmlformats.org/officeDocument/2006/relationships/notesSlide" Target="../notesSlides/notesSlide21.xml"/><Relationship Id="rId28" Type="http://schemas.openxmlformats.org/officeDocument/2006/relationships/image" Target="../media/image28.png"/><Relationship Id="rId10" Type="http://schemas.openxmlformats.org/officeDocument/2006/relationships/tags" Target="../tags/tag266.xml"/><Relationship Id="rId19" Type="http://schemas.openxmlformats.org/officeDocument/2006/relationships/tags" Target="../tags/tag275.xml"/><Relationship Id="rId31" Type="http://schemas.openxmlformats.org/officeDocument/2006/relationships/image" Target="../media/image31.svg"/><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 Id="rId22" Type="http://schemas.openxmlformats.org/officeDocument/2006/relationships/slideLayout" Target="../slideLayouts/slideLayout2.xml"/><Relationship Id="rId27" Type="http://schemas.openxmlformats.org/officeDocument/2006/relationships/image" Target="../media/image27.svg"/><Relationship Id="rId30" Type="http://schemas.openxmlformats.org/officeDocument/2006/relationships/image" Target="../media/image38.png"/><Relationship Id="rId8" Type="http://schemas.openxmlformats.org/officeDocument/2006/relationships/tags" Target="../tags/tag264.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78.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image" Target="../media/image31.svg"/><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38.png"/><Relationship Id="rId2" Type="http://schemas.openxmlformats.org/officeDocument/2006/relationships/tags" Target="../tags/tag280.xml"/><Relationship Id="rId16" Type="http://schemas.openxmlformats.org/officeDocument/2006/relationships/image" Target="../media/image40.png"/><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notesSlide" Target="../notesSlides/notesSlide24.xml"/><Relationship Id="rId5" Type="http://schemas.openxmlformats.org/officeDocument/2006/relationships/tags" Target="../tags/tag283.xml"/><Relationship Id="rId15" Type="http://schemas.openxmlformats.org/officeDocument/2006/relationships/image" Target="../media/image33.svg"/><Relationship Id="rId10" Type="http://schemas.openxmlformats.org/officeDocument/2006/relationships/slideLayout" Target="../slideLayouts/slideLayout2.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image" Target="../media/image39.png"/></Relationships>
</file>

<file path=ppt/slides/_rels/slide27.xml.rels><?xml version="1.0" encoding="UTF-8" standalone="yes"?>
<Relationships xmlns="http://schemas.openxmlformats.org/package/2006/relationships"><Relationship Id="rId26" Type="http://schemas.openxmlformats.org/officeDocument/2006/relationships/tags" Target="../tags/tag312.xml"/><Relationship Id="rId21" Type="http://schemas.openxmlformats.org/officeDocument/2006/relationships/tags" Target="../tags/tag307.xml"/><Relationship Id="rId34" Type="http://schemas.openxmlformats.org/officeDocument/2006/relationships/tags" Target="../tags/tag320.xml"/><Relationship Id="rId42" Type="http://schemas.openxmlformats.org/officeDocument/2006/relationships/tags" Target="../tags/tag328.xml"/><Relationship Id="rId47" Type="http://schemas.openxmlformats.org/officeDocument/2006/relationships/tags" Target="../tags/tag333.xml"/><Relationship Id="rId50" Type="http://schemas.openxmlformats.org/officeDocument/2006/relationships/tags" Target="../tags/tag336.xml"/><Relationship Id="rId55" Type="http://schemas.openxmlformats.org/officeDocument/2006/relationships/notesSlide" Target="../notesSlides/notesSlide25.xml"/><Relationship Id="rId63" Type="http://schemas.openxmlformats.org/officeDocument/2006/relationships/image" Target="../media/image47.svg"/><Relationship Id="rId7" Type="http://schemas.openxmlformats.org/officeDocument/2006/relationships/tags" Target="../tags/tag293.xml"/><Relationship Id="rId2" Type="http://schemas.openxmlformats.org/officeDocument/2006/relationships/tags" Target="../tags/tag288.xml"/><Relationship Id="rId16" Type="http://schemas.openxmlformats.org/officeDocument/2006/relationships/tags" Target="../tags/tag302.xml"/><Relationship Id="rId29" Type="http://schemas.openxmlformats.org/officeDocument/2006/relationships/tags" Target="../tags/tag315.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tags" Target="../tags/tag323.xml"/><Relationship Id="rId40" Type="http://schemas.openxmlformats.org/officeDocument/2006/relationships/tags" Target="../tags/tag326.xml"/><Relationship Id="rId45" Type="http://schemas.openxmlformats.org/officeDocument/2006/relationships/tags" Target="../tags/tag331.xml"/><Relationship Id="rId53" Type="http://schemas.openxmlformats.org/officeDocument/2006/relationships/tags" Target="../tags/tag339.xml"/><Relationship Id="rId58" Type="http://schemas.openxmlformats.org/officeDocument/2006/relationships/image" Target="../media/image42.png"/><Relationship Id="rId66" Type="http://schemas.openxmlformats.org/officeDocument/2006/relationships/image" Target="../media/image40.png"/><Relationship Id="rId5" Type="http://schemas.openxmlformats.org/officeDocument/2006/relationships/tags" Target="../tags/tag291.xml"/><Relationship Id="rId61" Type="http://schemas.openxmlformats.org/officeDocument/2006/relationships/image" Target="../media/image45.svg"/><Relationship Id="rId19" Type="http://schemas.openxmlformats.org/officeDocument/2006/relationships/tags" Target="../tags/tag30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tags" Target="../tags/tag321.xml"/><Relationship Id="rId43" Type="http://schemas.openxmlformats.org/officeDocument/2006/relationships/tags" Target="../tags/tag329.xml"/><Relationship Id="rId48" Type="http://schemas.openxmlformats.org/officeDocument/2006/relationships/tags" Target="../tags/tag334.xml"/><Relationship Id="rId56" Type="http://schemas.openxmlformats.org/officeDocument/2006/relationships/oleObject" Target="../embeddings/oleObject46.bin"/><Relationship Id="rId64" Type="http://schemas.openxmlformats.org/officeDocument/2006/relationships/image" Target="../media/image48.png"/><Relationship Id="rId8" Type="http://schemas.openxmlformats.org/officeDocument/2006/relationships/tags" Target="../tags/tag294.xml"/><Relationship Id="rId51" Type="http://schemas.openxmlformats.org/officeDocument/2006/relationships/tags" Target="../tags/tag337.xml"/><Relationship Id="rId3" Type="http://schemas.openxmlformats.org/officeDocument/2006/relationships/tags" Target="../tags/tag289.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tags" Target="../tags/tag319.xml"/><Relationship Id="rId38" Type="http://schemas.openxmlformats.org/officeDocument/2006/relationships/tags" Target="../tags/tag324.xml"/><Relationship Id="rId46" Type="http://schemas.openxmlformats.org/officeDocument/2006/relationships/tags" Target="../tags/tag332.xml"/><Relationship Id="rId59" Type="http://schemas.openxmlformats.org/officeDocument/2006/relationships/image" Target="../media/image43.svg"/><Relationship Id="rId20" Type="http://schemas.openxmlformats.org/officeDocument/2006/relationships/tags" Target="../tags/tag306.xml"/><Relationship Id="rId41" Type="http://schemas.openxmlformats.org/officeDocument/2006/relationships/tags" Target="../tags/tag327.xml"/><Relationship Id="rId54" Type="http://schemas.openxmlformats.org/officeDocument/2006/relationships/slideLayout" Target="../slideLayouts/slideLayout14.xml"/><Relationship Id="rId62" Type="http://schemas.openxmlformats.org/officeDocument/2006/relationships/image" Target="../media/image46.png"/><Relationship Id="rId1" Type="http://schemas.openxmlformats.org/officeDocument/2006/relationships/vmlDrawing" Target="../drawings/vmlDrawing46.vml"/><Relationship Id="rId6" Type="http://schemas.openxmlformats.org/officeDocument/2006/relationships/tags" Target="../tags/tag292.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tags" Target="../tags/tag322.xml"/><Relationship Id="rId49" Type="http://schemas.openxmlformats.org/officeDocument/2006/relationships/tags" Target="../tags/tag335.xml"/><Relationship Id="rId57" Type="http://schemas.openxmlformats.org/officeDocument/2006/relationships/image" Target="../media/image41.emf"/><Relationship Id="rId10" Type="http://schemas.openxmlformats.org/officeDocument/2006/relationships/tags" Target="../tags/tag296.xml"/><Relationship Id="rId31" Type="http://schemas.openxmlformats.org/officeDocument/2006/relationships/tags" Target="../tags/tag317.xml"/><Relationship Id="rId44" Type="http://schemas.openxmlformats.org/officeDocument/2006/relationships/tags" Target="../tags/tag330.xml"/><Relationship Id="rId52" Type="http://schemas.openxmlformats.org/officeDocument/2006/relationships/tags" Target="../tags/tag338.xml"/><Relationship Id="rId60" Type="http://schemas.openxmlformats.org/officeDocument/2006/relationships/image" Target="../media/image44.png"/><Relationship Id="rId65" Type="http://schemas.openxmlformats.org/officeDocument/2006/relationships/image" Target="../media/image49.svg"/><Relationship Id="rId4" Type="http://schemas.openxmlformats.org/officeDocument/2006/relationships/tags" Target="../tags/tag290.xml"/><Relationship Id="rId9" Type="http://schemas.openxmlformats.org/officeDocument/2006/relationships/tags" Target="../tags/tag295.xml"/><Relationship Id="rId13" Type="http://schemas.openxmlformats.org/officeDocument/2006/relationships/tags" Target="../tags/tag299.xml"/><Relationship Id="rId18" Type="http://schemas.openxmlformats.org/officeDocument/2006/relationships/tags" Target="../tags/tag304.xml"/><Relationship Id="rId39" Type="http://schemas.openxmlformats.org/officeDocument/2006/relationships/tags" Target="../tags/tag32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image" Target="../media/image24.png"/><Relationship Id="rId3" Type="http://schemas.openxmlformats.org/officeDocument/2006/relationships/tags" Target="../tags/tag110.xml"/><Relationship Id="rId21" Type="http://schemas.openxmlformats.org/officeDocument/2006/relationships/tags" Target="../tags/tag128.xml"/><Relationship Id="rId34" Type="http://schemas.openxmlformats.org/officeDocument/2006/relationships/image" Target="../media/image32.png"/><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notesSlide" Target="../notesSlides/notesSlide4.xml"/><Relationship Id="rId33" Type="http://schemas.openxmlformats.org/officeDocument/2006/relationships/image" Target="../media/image31.svg"/><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image" Target="../media/image27.sv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slideLayout" Target="../slideLayouts/slideLayout2.xml"/><Relationship Id="rId32" Type="http://schemas.openxmlformats.org/officeDocument/2006/relationships/image" Target="../media/image30.png"/><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image" Target="../media/image26.png"/><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image" Target="../media/image29.sv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image" Target="../media/image25.svg"/><Relationship Id="rId30" Type="http://schemas.openxmlformats.org/officeDocument/2006/relationships/image" Target="../media/image28.png"/><Relationship Id="rId35" Type="http://schemas.openxmlformats.org/officeDocument/2006/relationships/image" Target="../media/image33.svg"/><Relationship Id="rId8" Type="http://schemas.openxmlformats.org/officeDocument/2006/relationships/tags" Target="../tags/tag115.xml"/></Relationships>
</file>

<file path=ppt/slides/_rels/slide5.xml.rels><?xml version="1.0" encoding="UTF-8" standalone="yes"?>
<Relationships xmlns="http://schemas.openxmlformats.org/package/2006/relationships"><Relationship Id="rId13" Type="http://schemas.openxmlformats.org/officeDocument/2006/relationships/tags" Target="../tags/tag143.xml"/><Relationship Id="rId18" Type="http://schemas.openxmlformats.org/officeDocument/2006/relationships/tags" Target="../tags/tag148.xml"/><Relationship Id="rId26" Type="http://schemas.openxmlformats.org/officeDocument/2006/relationships/image" Target="../media/image25.svg"/><Relationship Id="rId3" Type="http://schemas.openxmlformats.org/officeDocument/2006/relationships/tags" Target="../tags/tag133.xml"/><Relationship Id="rId21" Type="http://schemas.openxmlformats.org/officeDocument/2006/relationships/tags" Target="../tags/tag151.xml"/><Relationship Id="rId34" Type="http://schemas.openxmlformats.org/officeDocument/2006/relationships/image" Target="../media/image33.svg"/><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image" Target="../media/image24.png"/><Relationship Id="rId33" Type="http://schemas.openxmlformats.org/officeDocument/2006/relationships/image" Target="../media/image32.png"/><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tags" Target="../tags/tag150.xml"/><Relationship Id="rId29" Type="http://schemas.openxmlformats.org/officeDocument/2006/relationships/image" Target="../media/image28.png"/><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notesSlide" Target="../notesSlides/notesSlide5.xml"/><Relationship Id="rId32" Type="http://schemas.openxmlformats.org/officeDocument/2006/relationships/image" Target="../media/image31.svg"/><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slideLayout" Target="../slideLayouts/slideLayout2.xml"/><Relationship Id="rId28" Type="http://schemas.openxmlformats.org/officeDocument/2006/relationships/image" Target="../media/image27.svg"/><Relationship Id="rId10" Type="http://schemas.openxmlformats.org/officeDocument/2006/relationships/tags" Target="../tags/tag140.xml"/><Relationship Id="rId19" Type="http://schemas.openxmlformats.org/officeDocument/2006/relationships/tags" Target="../tags/tag149.xml"/><Relationship Id="rId31" Type="http://schemas.openxmlformats.org/officeDocument/2006/relationships/image" Target="../media/image30.png"/><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image" Target="../media/image26.png"/><Relationship Id="rId30" Type="http://schemas.openxmlformats.org/officeDocument/2006/relationships/image" Target="../media/image29.svg"/><Relationship Id="rId8" Type="http://schemas.openxmlformats.org/officeDocument/2006/relationships/tags" Target="../tags/tag138.xml"/></Relationships>
</file>

<file path=ppt/slides/_rels/slide6.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image" Target="../media/image24.png"/><Relationship Id="rId3" Type="http://schemas.openxmlformats.org/officeDocument/2006/relationships/tags" Target="../tags/tag155.xml"/><Relationship Id="rId21" Type="http://schemas.openxmlformats.org/officeDocument/2006/relationships/tags" Target="../tags/tag173.xml"/><Relationship Id="rId34" Type="http://schemas.openxmlformats.org/officeDocument/2006/relationships/image" Target="../media/image32.png"/><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notesSlide" Target="../notesSlides/notesSlide6.xml"/><Relationship Id="rId33" Type="http://schemas.openxmlformats.org/officeDocument/2006/relationships/image" Target="../media/image31.svg"/><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image" Target="../media/image27.svg"/><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slideLayout" Target="../slideLayouts/slideLayout2.xml"/><Relationship Id="rId32" Type="http://schemas.openxmlformats.org/officeDocument/2006/relationships/image" Target="../media/image34.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image" Target="../media/image26.png"/><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image" Target="../media/image29.svg"/><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image" Target="../media/image25.svg"/><Relationship Id="rId30" Type="http://schemas.openxmlformats.org/officeDocument/2006/relationships/image" Target="../media/image28.png"/><Relationship Id="rId35" Type="http://schemas.openxmlformats.org/officeDocument/2006/relationships/image" Target="../media/image33.svg"/><Relationship Id="rId8" Type="http://schemas.openxmlformats.org/officeDocument/2006/relationships/tags" Target="../tags/tag16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notesSlide" Target="../notesSlides/notesSlide9.xml"/><Relationship Id="rId5" Type="http://schemas.openxmlformats.org/officeDocument/2006/relationships/tags" Target="../tags/tag180.xml"/><Relationship Id="rId10" Type="http://schemas.openxmlformats.org/officeDocument/2006/relationships/slideLayout" Target="../slideLayouts/slideLayout2.xml"/><Relationship Id="rId4" Type="http://schemas.openxmlformats.org/officeDocument/2006/relationships/tags" Target="../tags/tag179.xml"/><Relationship Id="rId9" Type="http://schemas.openxmlformats.org/officeDocument/2006/relationships/tags" Target="../tags/tag1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arıncı qalstuklar və yarırəsmi stil - «UNİBANK»DA NECƏ GEYİNİRLƏR - STYLE  - FED.az">
            <a:extLst>
              <a:ext uri="{FF2B5EF4-FFF2-40B4-BE49-F238E27FC236}">
                <a16:creationId xmlns:a16="http://schemas.microsoft.com/office/drawing/2014/main" id="{3023C419-4DBF-5049-9958-9942AC7CC0D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693" r="8922"/>
          <a:stretch/>
        </p:blipFill>
        <p:spPr bwMode="auto">
          <a:xfrm>
            <a:off x="0" y="-84019"/>
            <a:ext cx="12192000" cy="705678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05">
            <a:extLst>
              <a:ext uri="{FF2B5EF4-FFF2-40B4-BE49-F238E27FC236}">
                <a16:creationId xmlns:a16="http://schemas.microsoft.com/office/drawing/2014/main" id="{97B33C8A-11AB-934E-B81D-5C0BC768D7A4}"/>
              </a:ext>
            </a:extLst>
          </p:cNvPr>
          <p:cNvSpPr>
            <a:spLocks/>
          </p:cNvSpPr>
          <p:nvPr/>
        </p:nvSpPr>
        <p:spPr>
          <a:xfrm>
            <a:off x="-14288" y="-91730"/>
            <a:ext cx="12206288" cy="7056782"/>
          </a:xfrm>
          <a:prstGeom prst="rect">
            <a:avLst/>
          </a:prstGeom>
          <a:solidFill>
            <a:srgbClr val="FF6011">
              <a:alpha val="81000"/>
            </a:srgbClr>
          </a:solidFill>
          <a:ln w="9525" cap="flat" cmpd="sng" algn="ctr">
            <a:noFill/>
            <a:prstDash val="soli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20" normalizeH="0" baseline="0" noProof="0" dirty="0">
              <a:ln>
                <a:noFill/>
              </a:ln>
              <a:solidFill>
                <a:srgbClr val="002960"/>
              </a:solidFill>
              <a:effectLst/>
              <a:uLnTx/>
              <a:uFillTx/>
              <a:latin typeface="Arial"/>
              <a:ea typeface="+mn-ea"/>
              <a:cs typeface="+mn-cs"/>
            </a:endParaRPr>
          </a:p>
        </p:txBody>
      </p:sp>
      <p:sp>
        <p:nvSpPr>
          <p:cNvPr id="10" name="Заголовок 1">
            <a:extLst>
              <a:ext uri="{FF2B5EF4-FFF2-40B4-BE49-F238E27FC236}">
                <a16:creationId xmlns:a16="http://schemas.microsoft.com/office/drawing/2014/main" id="{F6F1E9E7-4457-3145-B9DA-3257C261E832}"/>
              </a:ext>
            </a:extLst>
          </p:cNvPr>
          <p:cNvSpPr>
            <a:spLocks noGrp="1"/>
          </p:cNvSpPr>
          <p:nvPr>
            <p:ph type="ctrTitle"/>
          </p:nvPr>
        </p:nvSpPr>
        <p:spPr>
          <a:xfrm>
            <a:off x="1524000" y="1122363"/>
            <a:ext cx="9144000" cy="2387600"/>
          </a:xfrm>
        </p:spPr>
        <p:txBody>
          <a:bodyPr/>
          <a:lstStyle/>
          <a:p>
            <a:r>
              <a:rPr lang="en-US" dirty="0">
                <a:solidFill>
                  <a:schemeClr val="bg1"/>
                </a:solidFill>
                <a:latin typeface="Arial" panose="020B0604020202020204" pitchFamily="34" charset="0"/>
                <a:cs typeface="Arial" panose="020B0604020202020204" pitchFamily="34" charset="0"/>
              </a:rPr>
              <a:t>Project Dashboard</a:t>
            </a:r>
            <a:endParaRPr lang="x-none" dirty="0">
              <a:solidFill>
                <a:schemeClr val="bg1"/>
              </a:solidFill>
              <a:latin typeface="Arial" panose="020B0604020202020204" pitchFamily="34" charset="0"/>
              <a:cs typeface="Arial" panose="020B0604020202020204" pitchFamily="34" charset="0"/>
            </a:endParaRPr>
          </a:p>
        </p:txBody>
      </p:sp>
      <p:sp>
        <p:nvSpPr>
          <p:cNvPr id="11" name="Подзаголовок 2">
            <a:extLst>
              <a:ext uri="{FF2B5EF4-FFF2-40B4-BE49-F238E27FC236}">
                <a16:creationId xmlns:a16="http://schemas.microsoft.com/office/drawing/2014/main" id="{DF961E36-8E26-0348-869D-9B786C9E3DCE}"/>
              </a:ext>
            </a:extLst>
          </p:cNvPr>
          <p:cNvSpPr>
            <a:spLocks noGrp="1"/>
          </p:cNvSpPr>
          <p:nvPr>
            <p:ph type="subTitle" idx="1"/>
          </p:nvPr>
        </p:nvSpPr>
        <p:spPr>
          <a:xfrm>
            <a:off x="1524000" y="3602038"/>
            <a:ext cx="9144000" cy="1655762"/>
          </a:xfrm>
        </p:spPr>
        <p:txBody>
          <a:bodyPr/>
          <a:lstStyle/>
          <a:p>
            <a:r>
              <a:rPr lang="en-US" dirty="0">
                <a:solidFill>
                  <a:schemeClr val="bg1"/>
                </a:solidFill>
                <a:latin typeface="Arial" panose="020B0604020202020204" pitchFamily="34" charset="0"/>
                <a:cs typeface="Arial" panose="020B0604020202020204" pitchFamily="34" charset="0"/>
              </a:rPr>
              <a:t>Status Report</a:t>
            </a:r>
            <a:endParaRPr lang="x-none"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1655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a:solidFill>
                  <a:srgbClr val="000000">
                    <a:lumMod val="95000"/>
                    <a:lumOff val="5000"/>
                  </a:srgbClr>
                </a:solidFill>
                <a:latin typeface="Arial"/>
              </a:rPr>
              <a:t>Unibank Processing Center</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286637" y="5191491"/>
            <a:ext cx="1876528" cy="1370018"/>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1400" dirty="0">
              <a:solidFill>
                <a:schemeClr val="tx1">
                  <a:lumMod val="65000"/>
                  <a:lumOff val="35000"/>
                </a:schemeClr>
              </a:solidFill>
              <a:latin typeface="Calibri Light"/>
              <a:ea typeface="Times New Roman"/>
              <a:cs typeface="Times New Roman"/>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11610" y="5187421"/>
            <a:ext cx="1840057"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862292"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Sevda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99685"/>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542294" y="2185335"/>
            <a:ext cx="3278231" cy="4304366"/>
          </a:xfrm>
          <a:prstGeom prst="rect">
            <a:avLst/>
          </a:prstGeom>
          <a:solidFill>
            <a:srgbClr val="FFFFFF">
              <a:lumMod val="95000"/>
            </a:srgbClr>
          </a:solidFill>
          <a:ln w="19050" cap="flat" cmpd="sng" algn="ctr">
            <a:noFill/>
            <a:prstDash val="solid"/>
          </a:ln>
          <a:effectLst/>
        </p:spPr>
        <p:txBody>
          <a:bodyPr lIns="93271" tIns="46635" rIns="93271" bIns="46635" rtlCol="0" anchor="t"/>
          <a:lstStyle/>
          <a:p>
            <a:pPr marL="171450" lvl="0" indent="-171450" fontAlgn="base">
              <a:spcBef>
                <a:spcPct val="0"/>
              </a:spcBef>
              <a:spcAft>
                <a:spcPct val="0"/>
              </a:spcAft>
              <a:buFont typeface="Arial" panose="020B0604020202020204" pitchFamily="34" charset="0"/>
              <a:buChar char="•"/>
              <a:defRPr/>
            </a:pPr>
            <a:endParaRPr lang="en-US" sz="1100" kern="0" dirty="0">
              <a:solidFill>
                <a:srgbClr val="000000"/>
              </a:solidFill>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a:solidFill>
                  <a:srgbClr val="000000"/>
                </a:solidFill>
                <a:latin typeface="Arial"/>
                <a:sym typeface="+mn-lt"/>
              </a:rPr>
              <a:t>Planning to migrate to new Processing TX at 15.01.2021</a:t>
            </a: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549194" y="1916832"/>
            <a:ext cx="327133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cxnSp>
        <p:nvCxnSpPr>
          <p:cNvPr id="253" name="Straight Connector 91">
            <a:extLst>
              <a:ext uri="{FF2B5EF4-FFF2-40B4-BE49-F238E27FC236}">
                <a16:creationId xmlns:a16="http://schemas.microsoft.com/office/drawing/2014/main" id="{7CCDFE0D-C8B3-D147-B6E6-C785DA6CD0C7}"/>
              </a:ext>
            </a:extLst>
          </p:cNvPr>
          <p:cNvCxnSpPr/>
          <p:nvPr/>
        </p:nvCxnSpPr>
        <p:spPr>
          <a:xfrm>
            <a:off x="7124937"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7394802"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7637836"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7934531"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8204395"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11611" y="1765049"/>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299803" y="2217724"/>
            <a:ext cx="1236389" cy="49161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11611" y="2022083"/>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02064" y="2754833"/>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Development</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299803" y="3099010"/>
            <a:ext cx="1236389"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est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286636" y="3443089"/>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Environment Preparatio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299802" y="3935845"/>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Launch MVP (one ATM, POS)</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D7D1BDE4-E611-9245-B77A-04A16CF0C215}"/>
              </a:ext>
            </a:extLst>
          </p:cNvPr>
          <p:cNvSpPr txBox="1">
            <a:spLocks/>
          </p:cNvSpPr>
          <p:nvPr/>
        </p:nvSpPr>
        <p:spPr>
          <a:xfrm>
            <a:off x="299802" y="4712269"/>
            <a:ext cx="1236389"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Trainings</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5193948"/>
            <a:ext cx="3929396" cy="131294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96197" y="5193949"/>
            <a:ext cx="392939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5171264"/>
            <a:ext cx="1791689" cy="132749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5187421"/>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17278" y="588901"/>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cxnSp>
        <p:nvCxnSpPr>
          <p:cNvPr id="186" name="Straight Connector 77">
            <a:extLst>
              <a:ext uri="{FF2B5EF4-FFF2-40B4-BE49-F238E27FC236}">
                <a16:creationId xmlns:a16="http://schemas.microsoft.com/office/drawing/2014/main" id="{E85C9EE5-8DBF-BC40-86CE-1BAAB13EA5B5}"/>
              </a:ext>
            </a:extLst>
          </p:cNvPr>
          <p:cNvCxnSpPr>
            <a:cxnSpLocks/>
          </p:cNvCxnSpPr>
          <p:nvPr/>
        </p:nvCxnSpPr>
        <p:spPr>
          <a:xfrm>
            <a:off x="3308610" y="2284965"/>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7" name="Straight Connector 78">
            <a:extLst>
              <a:ext uri="{FF2B5EF4-FFF2-40B4-BE49-F238E27FC236}">
                <a16:creationId xmlns:a16="http://schemas.microsoft.com/office/drawing/2014/main" id="{A33FC6CB-453A-8248-A82B-93F5FEF98B8A}"/>
              </a:ext>
            </a:extLst>
          </p:cNvPr>
          <p:cNvCxnSpPr/>
          <p:nvPr/>
        </p:nvCxnSpPr>
        <p:spPr>
          <a:xfrm>
            <a:off x="3578475"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8" name="Straight Connector 79">
            <a:extLst>
              <a:ext uri="{FF2B5EF4-FFF2-40B4-BE49-F238E27FC236}">
                <a16:creationId xmlns:a16="http://schemas.microsoft.com/office/drawing/2014/main" id="{CAEC2648-83C4-4048-A0C0-D19872390BAC}"/>
              </a:ext>
            </a:extLst>
          </p:cNvPr>
          <p:cNvCxnSpPr/>
          <p:nvPr/>
        </p:nvCxnSpPr>
        <p:spPr>
          <a:xfrm>
            <a:off x="3848340"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9" name="Straight Connector 80">
            <a:extLst>
              <a:ext uri="{FF2B5EF4-FFF2-40B4-BE49-F238E27FC236}">
                <a16:creationId xmlns:a16="http://schemas.microsoft.com/office/drawing/2014/main" id="{FAB0DC73-7F34-3E44-BBE1-0C0F6DC3033D}"/>
              </a:ext>
            </a:extLst>
          </p:cNvPr>
          <p:cNvCxnSpPr/>
          <p:nvPr/>
        </p:nvCxnSpPr>
        <p:spPr>
          <a:xfrm>
            <a:off x="4088426" y="227775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0" name="Straight Connector 81">
            <a:extLst>
              <a:ext uri="{FF2B5EF4-FFF2-40B4-BE49-F238E27FC236}">
                <a16:creationId xmlns:a16="http://schemas.microsoft.com/office/drawing/2014/main" id="{2A3EADE0-168C-0643-9D1A-CDA6A7C21AE4}"/>
              </a:ext>
            </a:extLst>
          </p:cNvPr>
          <p:cNvCxnSpPr/>
          <p:nvPr/>
        </p:nvCxnSpPr>
        <p:spPr>
          <a:xfrm>
            <a:off x="439784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1" name="Straight Connector 82">
            <a:extLst>
              <a:ext uri="{FF2B5EF4-FFF2-40B4-BE49-F238E27FC236}">
                <a16:creationId xmlns:a16="http://schemas.microsoft.com/office/drawing/2014/main" id="{8C617091-C6EE-C34A-809F-CADACAA1C79E}"/>
              </a:ext>
            </a:extLst>
          </p:cNvPr>
          <p:cNvCxnSpPr/>
          <p:nvPr/>
        </p:nvCxnSpPr>
        <p:spPr>
          <a:xfrm>
            <a:off x="465793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2" name="Straight Connector 83">
            <a:extLst>
              <a:ext uri="{FF2B5EF4-FFF2-40B4-BE49-F238E27FC236}">
                <a16:creationId xmlns:a16="http://schemas.microsoft.com/office/drawing/2014/main" id="{DC9D493F-3371-BF47-A4E2-CE294583640A}"/>
              </a:ext>
            </a:extLst>
          </p:cNvPr>
          <p:cNvCxnSpPr/>
          <p:nvPr/>
        </p:nvCxnSpPr>
        <p:spPr>
          <a:xfrm>
            <a:off x="4927799"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3" name="Straight Connector 84">
            <a:extLst>
              <a:ext uri="{FF2B5EF4-FFF2-40B4-BE49-F238E27FC236}">
                <a16:creationId xmlns:a16="http://schemas.microsoft.com/office/drawing/2014/main" id="{DD3E9446-E525-CE42-8474-D50AE2B6467D}"/>
              </a:ext>
            </a:extLst>
          </p:cNvPr>
          <p:cNvCxnSpPr/>
          <p:nvPr/>
        </p:nvCxnSpPr>
        <p:spPr>
          <a:xfrm>
            <a:off x="519766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4" name="Straight Connector 85">
            <a:extLst>
              <a:ext uri="{FF2B5EF4-FFF2-40B4-BE49-F238E27FC236}">
                <a16:creationId xmlns:a16="http://schemas.microsoft.com/office/drawing/2014/main" id="{43586165-24B2-5748-8CA2-BCAFA8ADB720}"/>
              </a:ext>
            </a:extLst>
          </p:cNvPr>
          <p:cNvCxnSpPr/>
          <p:nvPr/>
        </p:nvCxnSpPr>
        <p:spPr>
          <a:xfrm>
            <a:off x="546752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5" name="Straight Connector 86">
            <a:extLst>
              <a:ext uri="{FF2B5EF4-FFF2-40B4-BE49-F238E27FC236}">
                <a16:creationId xmlns:a16="http://schemas.microsoft.com/office/drawing/2014/main" id="{01983D16-5A93-3241-9754-ECF0D4D7C907}"/>
              </a:ext>
            </a:extLst>
          </p:cNvPr>
          <p:cNvCxnSpPr/>
          <p:nvPr/>
        </p:nvCxnSpPr>
        <p:spPr>
          <a:xfrm>
            <a:off x="5737393"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6" name="Straight Connector 87">
            <a:extLst>
              <a:ext uri="{FF2B5EF4-FFF2-40B4-BE49-F238E27FC236}">
                <a16:creationId xmlns:a16="http://schemas.microsoft.com/office/drawing/2014/main" id="{EE1919D1-F675-9F4A-A9EC-C1BAB3A989C8}"/>
              </a:ext>
            </a:extLst>
          </p:cNvPr>
          <p:cNvCxnSpPr/>
          <p:nvPr/>
        </p:nvCxnSpPr>
        <p:spPr>
          <a:xfrm>
            <a:off x="600725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7" name="Straight Connector 88">
            <a:extLst>
              <a:ext uri="{FF2B5EF4-FFF2-40B4-BE49-F238E27FC236}">
                <a16:creationId xmlns:a16="http://schemas.microsoft.com/office/drawing/2014/main" id="{E1745B9A-9BCB-794C-B4A9-1CC8F5688041}"/>
              </a:ext>
            </a:extLst>
          </p:cNvPr>
          <p:cNvCxnSpPr/>
          <p:nvPr/>
        </p:nvCxnSpPr>
        <p:spPr>
          <a:xfrm>
            <a:off x="6277123"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8" name="Straight Connector 89">
            <a:extLst>
              <a:ext uri="{FF2B5EF4-FFF2-40B4-BE49-F238E27FC236}">
                <a16:creationId xmlns:a16="http://schemas.microsoft.com/office/drawing/2014/main" id="{485FD8D7-6282-7E42-AC4D-243C860E2743}"/>
              </a:ext>
            </a:extLst>
          </p:cNvPr>
          <p:cNvCxnSpPr/>
          <p:nvPr/>
        </p:nvCxnSpPr>
        <p:spPr>
          <a:xfrm>
            <a:off x="654698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9" name="Straight Connector 90">
            <a:extLst>
              <a:ext uri="{FF2B5EF4-FFF2-40B4-BE49-F238E27FC236}">
                <a16:creationId xmlns:a16="http://schemas.microsoft.com/office/drawing/2014/main" id="{4BD5A780-E0BB-6B4B-A4D3-5316E66CC8F6}"/>
              </a:ext>
            </a:extLst>
          </p:cNvPr>
          <p:cNvCxnSpPr/>
          <p:nvPr/>
        </p:nvCxnSpPr>
        <p:spPr>
          <a:xfrm>
            <a:off x="6816852"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6" name="Straight Connector 77">
            <a:extLst>
              <a:ext uri="{FF2B5EF4-FFF2-40B4-BE49-F238E27FC236}">
                <a16:creationId xmlns:a16="http://schemas.microsoft.com/office/drawing/2014/main" id="{E85C9EE5-8DBF-BC40-86CE-1BAAB13EA5B5}"/>
              </a:ext>
            </a:extLst>
          </p:cNvPr>
          <p:cNvCxnSpPr>
            <a:cxnSpLocks/>
          </p:cNvCxnSpPr>
          <p:nvPr/>
        </p:nvCxnSpPr>
        <p:spPr>
          <a:xfrm>
            <a:off x="1660816" y="2282607"/>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7" name="Straight Connector 78">
            <a:extLst>
              <a:ext uri="{FF2B5EF4-FFF2-40B4-BE49-F238E27FC236}">
                <a16:creationId xmlns:a16="http://schemas.microsoft.com/office/drawing/2014/main" id="{A33FC6CB-453A-8248-A82B-93F5FEF98B8A}"/>
              </a:ext>
            </a:extLst>
          </p:cNvPr>
          <p:cNvCxnSpPr/>
          <p:nvPr/>
        </p:nvCxnSpPr>
        <p:spPr>
          <a:xfrm>
            <a:off x="1930681"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8" name="Straight Connector 79">
            <a:extLst>
              <a:ext uri="{FF2B5EF4-FFF2-40B4-BE49-F238E27FC236}">
                <a16:creationId xmlns:a16="http://schemas.microsoft.com/office/drawing/2014/main" id="{CAEC2648-83C4-4048-A0C0-D19872390BAC}"/>
              </a:ext>
            </a:extLst>
          </p:cNvPr>
          <p:cNvCxnSpPr/>
          <p:nvPr/>
        </p:nvCxnSpPr>
        <p:spPr>
          <a:xfrm>
            <a:off x="2200546"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1" name="Straight Connector 80">
            <a:extLst>
              <a:ext uri="{FF2B5EF4-FFF2-40B4-BE49-F238E27FC236}">
                <a16:creationId xmlns:a16="http://schemas.microsoft.com/office/drawing/2014/main" id="{FAB0DC73-7F34-3E44-BBE1-0C0F6DC3033D}"/>
              </a:ext>
            </a:extLst>
          </p:cNvPr>
          <p:cNvCxnSpPr/>
          <p:nvPr/>
        </p:nvCxnSpPr>
        <p:spPr>
          <a:xfrm>
            <a:off x="2440632" y="2275392"/>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9" name="Straight Connector 81">
            <a:extLst>
              <a:ext uri="{FF2B5EF4-FFF2-40B4-BE49-F238E27FC236}">
                <a16:creationId xmlns:a16="http://schemas.microsoft.com/office/drawing/2014/main" id="{2A3EADE0-168C-0643-9D1A-CDA6A7C21AE4}"/>
              </a:ext>
            </a:extLst>
          </p:cNvPr>
          <p:cNvCxnSpPr/>
          <p:nvPr/>
        </p:nvCxnSpPr>
        <p:spPr>
          <a:xfrm>
            <a:off x="2750050"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0" name="Straight Connector 82">
            <a:extLst>
              <a:ext uri="{FF2B5EF4-FFF2-40B4-BE49-F238E27FC236}">
                <a16:creationId xmlns:a16="http://schemas.microsoft.com/office/drawing/2014/main" id="{8C617091-C6EE-C34A-809F-CADACAA1C79E}"/>
              </a:ext>
            </a:extLst>
          </p:cNvPr>
          <p:cNvCxnSpPr/>
          <p:nvPr/>
        </p:nvCxnSpPr>
        <p:spPr>
          <a:xfrm>
            <a:off x="2983310"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660816" y="1787798"/>
            <a:ext cx="6557953" cy="476986"/>
            <a:chOff x="1660816" y="1787798"/>
            <a:chExt cx="6557953" cy="476986"/>
          </a:xfrm>
        </p:grpSpPr>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6881903"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6881903"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7151768"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7151768"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7421632"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7421632"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7691497"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7691497"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7961362"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7961362"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0" name="Rectangle 10">
              <a:extLst>
                <a:ext uri="{FF2B5EF4-FFF2-40B4-BE49-F238E27FC236}">
                  <a16:creationId xmlns:a16="http://schemas.microsoft.com/office/drawing/2014/main" id="{9ACCD167-1137-514E-8CE4-CB28E293AC7E}"/>
                </a:ext>
              </a:extLst>
            </p:cNvPr>
            <p:cNvSpPr txBox="1">
              <a:spLocks/>
            </p:cNvSpPr>
            <p:nvPr/>
          </p:nvSpPr>
          <p:spPr>
            <a:xfrm>
              <a:off x="1695665" y="1808776"/>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19</a:t>
              </a:r>
            </a:p>
          </p:txBody>
        </p:sp>
        <p:cxnSp>
          <p:nvCxnSpPr>
            <p:cNvPr id="201" name="Straight Connector 15">
              <a:extLst>
                <a:ext uri="{FF2B5EF4-FFF2-40B4-BE49-F238E27FC236}">
                  <a16:creationId xmlns:a16="http://schemas.microsoft.com/office/drawing/2014/main" id="{2E02F606-5C4C-2A47-94F3-AC9931BA7A6D}"/>
                </a:ext>
              </a:extLst>
            </p:cNvPr>
            <p:cNvCxnSpPr>
              <a:cxnSpLocks/>
            </p:cNvCxnSpPr>
            <p:nvPr/>
          </p:nvCxnSpPr>
          <p:spPr>
            <a:xfrm flipH="1">
              <a:off x="1660816" y="2022083"/>
              <a:ext cx="32188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2" name="Rectangle 10">
              <a:extLst>
                <a:ext uri="{FF2B5EF4-FFF2-40B4-BE49-F238E27FC236}">
                  <a16:creationId xmlns:a16="http://schemas.microsoft.com/office/drawing/2014/main" id="{82BB2C53-33B7-0143-804D-3D7AB3191121}"/>
                </a:ext>
              </a:extLst>
            </p:cNvPr>
            <p:cNvSpPr txBox="1">
              <a:spLocks/>
            </p:cNvSpPr>
            <p:nvPr/>
          </p:nvSpPr>
          <p:spPr>
            <a:xfrm>
              <a:off x="358403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03" name="Straight Connector 21">
              <a:extLst>
                <a:ext uri="{FF2B5EF4-FFF2-40B4-BE49-F238E27FC236}">
                  <a16:creationId xmlns:a16="http://schemas.microsoft.com/office/drawing/2014/main" id="{DD67C0CC-EC72-4E4F-99C3-7378A1D8E045}"/>
                </a:ext>
              </a:extLst>
            </p:cNvPr>
            <p:cNvCxnSpPr>
              <a:cxnSpLocks/>
            </p:cNvCxnSpPr>
            <p:nvPr/>
          </p:nvCxnSpPr>
          <p:spPr>
            <a:xfrm flipH="1">
              <a:off x="360530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4" name="Rectangle 10">
              <a:extLst>
                <a:ext uri="{FF2B5EF4-FFF2-40B4-BE49-F238E27FC236}">
                  <a16:creationId xmlns:a16="http://schemas.microsoft.com/office/drawing/2014/main" id="{5E31B7D6-49E1-A54B-AEC1-0B354D540DFB}"/>
                </a:ext>
              </a:extLst>
            </p:cNvPr>
            <p:cNvSpPr txBox="1">
              <a:spLocks/>
            </p:cNvSpPr>
            <p:nvPr/>
          </p:nvSpPr>
          <p:spPr>
            <a:xfrm>
              <a:off x="385389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05" name="Straight Connector 24">
              <a:extLst>
                <a:ext uri="{FF2B5EF4-FFF2-40B4-BE49-F238E27FC236}">
                  <a16:creationId xmlns:a16="http://schemas.microsoft.com/office/drawing/2014/main" id="{51BEF95C-CD90-0D40-BCEF-65D74D5EFB90}"/>
                </a:ext>
              </a:extLst>
            </p:cNvPr>
            <p:cNvCxnSpPr>
              <a:cxnSpLocks/>
            </p:cNvCxnSpPr>
            <p:nvPr/>
          </p:nvCxnSpPr>
          <p:spPr>
            <a:xfrm flipH="1">
              <a:off x="387517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6" name="Rectangle 10">
              <a:extLst>
                <a:ext uri="{FF2B5EF4-FFF2-40B4-BE49-F238E27FC236}">
                  <a16:creationId xmlns:a16="http://schemas.microsoft.com/office/drawing/2014/main" id="{A6AA6391-ED00-9A40-A80C-0AC5DCDD2604}"/>
                </a:ext>
              </a:extLst>
            </p:cNvPr>
            <p:cNvSpPr txBox="1">
              <a:spLocks/>
            </p:cNvSpPr>
            <p:nvPr/>
          </p:nvSpPr>
          <p:spPr>
            <a:xfrm>
              <a:off x="412376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07" name="Straight Connector 27">
              <a:extLst>
                <a:ext uri="{FF2B5EF4-FFF2-40B4-BE49-F238E27FC236}">
                  <a16:creationId xmlns:a16="http://schemas.microsoft.com/office/drawing/2014/main" id="{046CD086-1DB2-D340-93A7-ACFB2B37AADF}"/>
                </a:ext>
              </a:extLst>
            </p:cNvPr>
            <p:cNvCxnSpPr>
              <a:cxnSpLocks/>
            </p:cNvCxnSpPr>
            <p:nvPr/>
          </p:nvCxnSpPr>
          <p:spPr>
            <a:xfrm flipH="1">
              <a:off x="414503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8" name="Rectangle 10">
              <a:extLst>
                <a:ext uri="{FF2B5EF4-FFF2-40B4-BE49-F238E27FC236}">
                  <a16:creationId xmlns:a16="http://schemas.microsoft.com/office/drawing/2014/main" id="{E4166D6E-6E90-C043-B753-8168D2E5B1A3}"/>
                </a:ext>
              </a:extLst>
            </p:cNvPr>
            <p:cNvSpPr txBox="1">
              <a:spLocks/>
            </p:cNvSpPr>
            <p:nvPr/>
          </p:nvSpPr>
          <p:spPr>
            <a:xfrm>
              <a:off x="439362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09" name="Straight Connector 30">
              <a:extLst>
                <a:ext uri="{FF2B5EF4-FFF2-40B4-BE49-F238E27FC236}">
                  <a16:creationId xmlns:a16="http://schemas.microsoft.com/office/drawing/2014/main" id="{B73D408D-75C5-5043-8DBC-DA61FB7D2024}"/>
                </a:ext>
              </a:extLst>
            </p:cNvPr>
            <p:cNvCxnSpPr>
              <a:cxnSpLocks/>
            </p:cNvCxnSpPr>
            <p:nvPr/>
          </p:nvCxnSpPr>
          <p:spPr>
            <a:xfrm flipH="1">
              <a:off x="441490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10" name="Rectangle 10">
              <a:extLst>
                <a:ext uri="{FF2B5EF4-FFF2-40B4-BE49-F238E27FC236}">
                  <a16:creationId xmlns:a16="http://schemas.microsoft.com/office/drawing/2014/main" id="{8D4E3ACD-61DE-834E-B92E-EDD38EB1A41C}"/>
                </a:ext>
              </a:extLst>
            </p:cNvPr>
            <p:cNvSpPr txBox="1">
              <a:spLocks/>
            </p:cNvSpPr>
            <p:nvPr/>
          </p:nvSpPr>
          <p:spPr>
            <a:xfrm>
              <a:off x="331416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11" name="Straight Connector 18">
              <a:extLst>
                <a:ext uri="{FF2B5EF4-FFF2-40B4-BE49-F238E27FC236}">
                  <a16:creationId xmlns:a16="http://schemas.microsoft.com/office/drawing/2014/main" id="{BF6E1AB6-0B1B-2642-875F-63B6DE66D04D}"/>
                </a:ext>
              </a:extLst>
            </p:cNvPr>
            <p:cNvCxnSpPr>
              <a:cxnSpLocks/>
            </p:cNvCxnSpPr>
            <p:nvPr/>
          </p:nvCxnSpPr>
          <p:spPr>
            <a:xfrm flipH="1">
              <a:off x="333544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12" name="Rectangle 10">
              <a:extLst>
                <a:ext uri="{FF2B5EF4-FFF2-40B4-BE49-F238E27FC236}">
                  <a16:creationId xmlns:a16="http://schemas.microsoft.com/office/drawing/2014/main" id="{35F96DF5-54EA-4642-B30D-75A364EEC3F2}"/>
                </a:ext>
              </a:extLst>
            </p:cNvPr>
            <p:cNvSpPr txBox="1">
              <a:spLocks/>
            </p:cNvSpPr>
            <p:nvPr/>
          </p:nvSpPr>
          <p:spPr>
            <a:xfrm>
              <a:off x="466349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13" name="Straight Connector 33">
              <a:extLst>
                <a:ext uri="{FF2B5EF4-FFF2-40B4-BE49-F238E27FC236}">
                  <a16:creationId xmlns:a16="http://schemas.microsoft.com/office/drawing/2014/main" id="{ECD4E9C9-571F-2744-9369-DBA40C67AB29}"/>
                </a:ext>
              </a:extLst>
            </p:cNvPr>
            <p:cNvCxnSpPr>
              <a:cxnSpLocks/>
            </p:cNvCxnSpPr>
            <p:nvPr/>
          </p:nvCxnSpPr>
          <p:spPr>
            <a:xfrm flipH="1">
              <a:off x="468476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14" name="Rectangle 10">
              <a:extLst>
                <a:ext uri="{FF2B5EF4-FFF2-40B4-BE49-F238E27FC236}">
                  <a16:creationId xmlns:a16="http://schemas.microsoft.com/office/drawing/2014/main" id="{5AC1227B-B667-A34E-8C71-5DC3DF11F686}"/>
                </a:ext>
              </a:extLst>
            </p:cNvPr>
            <p:cNvSpPr txBox="1">
              <a:spLocks/>
            </p:cNvSpPr>
            <p:nvPr/>
          </p:nvSpPr>
          <p:spPr>
            <a:xfrm>
              <a:off x="520322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15" name="Straight Connector 39">
              <a:extLst>
                <a:ext uri="{FF2B5EF4-FFF2-40B4-BE49-F238E27FC236}">
                  <a16:creationId xmlns:a16="http://schemas.microsoft.com/office/drawing/2014/main" id="{EF561F7E-0004-464D-AA94-064109E818F2}"/>
                </a:ext>
              </a:extLst>
            </p:cNvPr>
            <p:cNvCxnSpPr>
              <a:cxnSpLocks/>
            </p:cNvCxnSpPr>
            <p:nvPr/>
          </p:nvCxnSpPr>
          <p:spPr>
            <a:xfrm flipH="1">
              <a:off x="522449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16" name="Rectangle 10">
              <a:extLst>
                <a:ext uri="{FF2B5EF4-FFF2-40B4-BE49-F238E27FC236}">
                  <a16:creationId xmlns:a16="http://schemas.microsoft.com/office/drawing/2014/main" id="{055421DF-3102-D847-ABA9-8AE598F0ECFC}"/>
                </a:ext>
              </a:extLst>
            </p:cNvPr>
            <p:cNvSpPr txBox="1">
              <a:spLocks/>
            </p:cNvSpPr>
            <p:nvPr/>
          </p:nvSpPr>
          <p:spPr>
            <a:xfrm>
              <a:off x="547308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17" name="Straight Connector 42">
              <a:extLst>
                <a:ext uri="{FF2B5EF4-FFF2-40B4-BE49-F238E27FC236}">
                  <a16:creationId xmlns:a16="http://schemas.microsoft.com/office/drawing/2014/main" id="{A5D52031-7E5D-5C46-AC01-C495883AF646}"/>
                </a:ext>
              </a:extLst>
            </p:cNvPr>
            <p:cNvCxnSpPr>
              <a:cxnSpLocks/>
            </p:cNvCxnSpPr>
            <p:nvPr/>
          </p:nvCxnSpPr>
          <p:spPr>
            <a:xfrm flipH="1">
              <a:off x="549435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18" name="Rectangle 10">
              <a:extLst>
                <a:ext uri="{FF2B5EF4-FFF2-40B4-BE49-F238E27FC236}">
                  <a16:creationId xmlns:a16="http://schemas.microsoft.com/office/drawing/2014/main" id="{A2E271D4-5726-0847-A864-553F635B72EF}"/>
                </a:ext>
              </a:extLst>
            </p:cNvPr>
            <p:cNvSpPr txBox="1">
              <a:spLocks/>
            </p:cNvSpPr>
            <p:nvPr/>
          </p:nvSpPr>
          <p:spPr>
            <a:xfrm>
              <a:off x="574295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19" name="Straight Connector 45">
              <a:extLst>
                <a:ext uri="{FF2B5EF4-FFF2-40B4-BE49-F238E27FC236}">
                  <a16:creationId xmlns:a16="http://schemas.microsoft.com/office/drawing/2014/main" id="{4196848A-6B3C-BD4C-8198-506A9ADD7B25}"/>
                </a:ext>
              </a:extLst>
            </p:cNvPr>
            <p:cNvCxnSpPr>
              <a:cxnSpLocks/>
            </p:cNvCxnSpPr>
            <p:nvPr/>
          </p:nvCxnSpPr>
          <p:spPr>
            <a:xfrm flipH="1">
              <a:off x="576422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0" name="Rectangle 10">
              <a:extLst>
                <a:ext uri="{FF2B5EF4-FFF2-40B4-BE49-F238E27FC236}">
                  <a16:creationId xmlns:a16="http://schemas.microsoft.com/office/drawing/2014/main" id="{22BFB237-E46A-4743-A66C-5383EFD184C3}"/>
                </a:ext>
              </a:extLst>
            </p:cNvPr>
            <p:cNvSpPr txBox="1">
              <a:spLocks/>
            </p:cNvSpPr>
            <p:nvPr/>
          </p:nvSpPr>
          <p:spPr>
            <a:xfrm>
              <a:off x="601281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21" name="Straight Connector 48">
              <a:extLst>
                <a:ext uri="{FF2B5EF4-FFF2-40B4-BE49-F238E27FC236}">
                  <a16:creationId xmlns:a16="http://schemas.microsoft.com/office/drawing/2014/main" id="{62183091-886F-AD41-9D2E-41E3A1EFD1A6}"/>
                </a:ext>
              </a:extLst>
            </p:cNvPr>
            <p:cNvCxnSpPr>
              <a:cxnSpLocks/>
            </p:cNvCxnSpPr>
            <p:nvPr/>
          </p:nvCxnSpPr>
          <p:spPr>
            <a:xfrm flipH="1">
              <a:off x="603408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2" name="Rectangle 10">
              <a:extLst>
                <a:ext uri="{FF2B5EF4-FFF2-40B4-BE49-F238E27FC236}">
                  <a16:creationId xmlns:a16="http://schemas.microsoft.com/office/drawing/2014/main" id="{363C863C-9A00-0F4E-A6AA-5514D0C732C0}"/>
                </a:ext>
              </a:extLst>
            </p:cNvPr>
            <p:cNvSpPr txBox="1">
              <a:spLocks/>
            </p:cNvSpPr>
            <p:nvPr/>
          </p:nvSpPr>
          <p:spPr>
            <a:xfrm>
              <a:off x="6282682"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23" name="Straight Connector 51">
              <a:extLst>
                <a:ext uri="{FF2B5EF4-FFF2-40B4-BE49-F238E27FC236}">
                  <a16:creationId xmlns:a16="http://schemas.microsoft.com/office/drawing/2014/main" id="{04CCB443-C228-8C41-88BA-0813318F8D63}"/>
                </a:ext>
              </a:extLst>
            </p:cNvPr>
            <p:cNvCxnSpPr>
              <a:cxnSpLocks/>
            </p:cNvCxnSpPr>
            <p:nvPr/>
          </p:nvCxnSpPr>
          <p:spPr>
            <a:xfrm flipH="1">
              <a:off x="6303953"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4" name="Rectangle 10">
              <a:extLst>
                <a:ext uri="{FF2B5EF4-FFF2-40B4-BE49-F238E27FC236}">
                  <a16:creationId xmlns:a16="http://schemas.microsoft.com/office/drawing/2014/main" id="{2F4B82AD-857B-274A-813C-EF6A8AB66471}"/>
                </a:ext>
              </a:extLst>
            </p:cNvPr>
            <p:cNvSpPr txBox="1">
              <a:spLocks/>
            </p:cNvSpPr>
            <p:nvPr/>
          </p:nvSpPr>
          <p:spPr>
            <a:xfrm>
              <a:off x="655254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25" name="Straight Connector 54">
              <a:extLst>
                <a:ext uri="{FF2B5EF4-FFF2-40B4-BE49-F238E27FC236}">
                  <a16:creationId xmlns:a16="http://schemas.microsoft.com/office/drawing/2014/main" id="{4E6EACFE-5BD5-2E48-AC56-31FF45248CF7}"/>
                </a:ext>
              </a:extLst>
            </p:cNvPr>
            <p:cNvCxnSpPr>
              <a:cxnSpLocks/>
            </p:cNvCxnSpPr>
            <p:nvPr/>
          </p:nvCxnSpPr>
          <p:spPr>
            <a:xfrm flipH="1">
              <a:off x="657381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6" name="Rectangle 10">
              <a:extLst>
                <a:ext uri="{FF2B5EF4-FFF2-40B4-BE49-F238E27FC236}">
                  <a16:creationId xmlns:a16="http://schemas.microsoft.com/office/drawing/2014/main" id="{C5C79B83-C61E-F44D-868A-9923512DA340}"/>
                </a:ext>
              </a:extLst>
            </p:cNvPr>
            <p:cNvSpPr txBox="1">
              <a:spLocks/>
            </p:cNvSpPr>
            <p:nvPr/>
          </p:nvSpPr>
          <p:spPr>
            <a:xfrm>
              <a:off x="493335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27" name="Straight Connector 36">
              <a:extLst>
                <a:ext uri="{FF2B5EF4-FFF2-40B4-BE49-F238E27FC236}">
                  <a16:creationId xmlns:a16="http://schemas.microsoft.com/office/drawing/2014/main" id="{A4056EA8-9CE8-B84A-9179-4EAAF23D8BE7}"/>
                </a:ext>
              </a:extLst>
            </p:cNvPr>
            <p:cNvCxnSpPr>
              <a:cxnSpLocks/>
            </p:cNvCxnSpPr>
            <p:nvPr/>
          </p:nvCxnSpPr>
          <p:spPr>
            <a:xfrm flipH="1">
              <a:off x="495462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28" name="Rectangle 10">
              <a:extLst>
                <a:ext uri="{FF2B5EF4-FFF2-40B4-BE49-F238E27FC236}">
                  <a16:creationId xmlns:a16="http://schemas.microsoft.com/office/drawing/2014/main" id="{927EF8DD-9927-EA48-BEE8-24CBDB88AD3E}"/>
                </a:ext>
              </a:extLst>
            </p:cNvPr>
            <p:cNvSpPr txBox="1">
              <a:spLocks/>
            </p:cNvSpPr>
            <p:nvPr/>
          </p:nvSpPr>
          <p:spPr>
            <a:xfrm>
              <a:off x="4933358" y="1787798"/>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29" name="Straight Connector 74">
              <a:extLst>
                <a:ext uri="{FF2B5EF4-FFF2-40B4-BE49-F238E27FC236}">
                  <a16:creationId xmlns:a16="http://schemas.microsoft.com/office/drawing/2014/main" id="{DC01B8FE-1E94-564B-B5F7-50B06B023506}"/>
                </a:ext>
              </a:extLst>
            </p:cNvPr>
            <p:cNvCxnSpPr>
              <a:cxnSpLocks/>
            </p:cNvCxnSpPr>
            <p:nvPr/>
          </p:nvCxnSpPr>
          <p:spPr>
            <a:xfrm flipH="1">
              <a:off x="4933360" y="2022083"/>
              <a:ext cx="32854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0" name="Rectangle 10">
              <a:extLst>
                <a:ext uri="{FF2B5EF4-FFF2-40B4-BE49-F238E27FC236}">
                  <a16:creationId xmlns:a16="http://schemas.microsoft.com/office/drawing/2014/main" id="{82BB2C53-33B7-0143-804D-3D7AB3191121}"/>
                </a:ext>
              </a:extLst>
            </p:cNvPr>
            <p:cNvSpPr txBox="1">
              <a:spLocks/>
            </p:cNvSpPr>
            <p:nvPr/>
          </p:nvSpPr>
          <p:spPr>
            <a:xfrm>
              <a:off x="195751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31" name="Rectangle 10">
              <a:extLst>
                <a:ext uri="{FF2B5EF4-FFF2-40B4-BE49-F238E27FC236}">
                  <a16:creationId xmlns:a16="http://schemas.microsoft.com/office/drawing/2014/main" id="{5E31B7D6-49E1-A54B-AEC1-0B354D540DFB}"/>
                </a:ext>
              </a:extLst>
            </p:cNvPr>
            <p:cNvSpPr txBox="1">
              <a:spLocks/>
            </p:cNvSpPr>
            <p:nvPr/>
          </p:nvSpPr>
          <p:spPr>
            <a:xfrm>
              <a:off x="222737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32" name="Rectangle 10">
              <a:extLst>
                <a:ext uri="{FF2B5EF4-FFF2-40B4-BE49-F238E27FC236}">
                  <a16:creationId xmlns:a16="http://schemas.microsoft.com/office/drawing/2014/main" id="{A6AA6391-ED00-9A40-A80C-0AC5DCDD2604}"/>
                </a:ext>
              </a:extLst>
            </p:cNvPr>
            <p:cNvSpPr txBox="1">
              <a:spLocks/>
            </p:cNvSpPr>
            <p:nvPr/>
          </p:nvSpPr>
          <p:spPr>
            <a:xfrm>
              <a:off x="249724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33" name="Rectangle 10">
              <a:extLst>
                <a:ext uri="{FF2B5EF4-FFF2-40B4-BE49-F238E27FC236}">
                  <a16:creationId xmlns:a16="http://schemas.microsoft.com/office/drawing/2014/main" id="{E4166D6E-6E90-C043-B753-8168D2E5B1A3}"/>
                </a:ext>
              </a:extLst>
            </p:cNvPr>
            <p:cNvSpPr txBox="1">
              <a:spLocks/>
            </p:cNvSpPr>
            <p:nvPr/>
          </p:nvSpPr>
          <p:spPr>
            <a:xfrm>
              <a:off x="276710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34" name="Rectangle 10">
              <a:extLst>
                <a:ext uri="{FF2B5EF4-FFF2-40B4-BE49-F238E27FC236}">
                  <a16:creationId xmlns:a16="http://schemas.microsoft.com/office/drawing/2014/main" id="{8D4E3ACD-61DE-834E-B92E-EDD38EB1A41C}"/>
                </a:ext>
              </a:extLst>
            </p:cNvPr>
            <p:cNvSpPr txBox="1">
              <a:spLocks/>
            </p:cNvSpPr>
            <p:nvPr/>
          </p:nvSpPr>
          <p:spPr>
            <a:xfrm>
              <a:off x="168764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35" name="Rectangle 10">
              <a:extLst>
                <a:ext uri="{FF2B5EF4-FFF2-40B4-BE49-F238E27FC236}">
                  <a16:creationId xmlns:a16="http://schemas.microsoft.com/office/drawing/2014/main" id="{35F96DF5-54EA-4642-B30D-75A364EEC3F2}"/>
                </a:ext>
              </a:extLst>
            </p:cNvPr>
            <p:cNvSpPr txBox="1">
              <a:spLocks/>
            </p:cNvSpPr>
            <p:nvPr/>
          </p:nvSpPr>
          <p:spPr>
            <a:xfrm>
              <a:off x="3036970"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331" name="Straight Connector 21">
              <a:extLst>
                <a:ext uri="{FF2B5EF4-FFF2-40B4-BE49-F238E27FC236}">
                  <a16:creationId xmlns:a16="http://schemas.microsoft.com/office/drawing/2014/main" id="{DD67C0CC-EC72-4E4F-99C3-7378A1D8E045}"/>
                </a:ext>
              </a:extLst>
            </p:cNvPr>
            <p:cNvCxnSpPr>
              <a:cxnSpLocks/>
            </p:cNvCxnSpPr>
            <p:nvPr/>
          </p:nvCxnSpPr>
          <p:spPr>
            <a:xfrm flipH="1">
              <a:off x="195751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2" name="Straight Connector 24">
              <a:extLst>
                <a:ext uri="{FF2B5EF4-FFF2-40B4-BE49-F238E27FC236}">
                  <a16:creationId xmlns:a16="http://schemas.microsoft.com/office/drawing/2014/main" id="{51BEF95C-CD90-0D40-BCEF-65D74D5EFB90}"/>
                </a:ext>
              </a:extLst>
            </p:cNvPr>
            <p:cNvCxnSpPr>
              <a:cxnSpLocks/>
            </p:cNvCxnSpPr>
            <p:nvPr/>
          </p:nvCxnSpPr>
          <p:spPr>
            <a:xfrm flipH="1">
              <a:off x="222737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6" name="Straight Connector 27">
              <a:extLst>
                <a:ext uri="{FF2B5EF4-FFF2-40B4-BE49-F238E27FC236}">
                  <a16:creationId xmlns:a16="http://schemas.microsoft.com/office/drawing/2014/main" id="{046CD086-1DB2-D340-93A7-ACFB2B37AADF}"/>
                </a:ext>
              </a:extLst>
            </p:cNvPr>
            <p:cNvCxnSpPr>
              <a:cxnSpLocks/>
            </p:cNvCxnSpPr>
            <p:nvPr/>
          </p:nvCxnSpPr>
          <p:spPr>
            <a:xfrm flipH="1">
              <a:off x="249724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7" name="Straight Connector 30">
              <a:extLst>
                <a:ext uri="{FF2B5EF4-FFF2-40B4-BE49-F238E27FC236}">
                  <a16:creationId xmlns:a16="http://schemas.microsoft.com/office/drawing/2014/main" id="{B73D408D-75C5-5043-8DBC-DA61FB7D2024}"/>
                </a:ext>
              </a:extLst>
            </p:cNvPr>
            <p:cNvCxnSpPr>
              <a:cxnSpLocks/>
            </p:cNvCxnSpPr>
            <p:nvPr/>
          </p:nvCxnSpPr>
          <p:spPr>
            <a:xfrm flipH="1">
              <a:off x="276710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8" name="Straight Connector 18">
              <a:extLst>
                <a:ext uri="{FF2B5EF4-FFF2-40B4-BE49-F238E27FC236}">
                  <a16:creationId xmlns:a16="http://schemas.microsoft.com/office/drawing/2014/main" id="{BF6E1AB6-0B1B-2642-875F-63B6DE66D04D}"/>
                </a:ext>
              </a:extLst>
            </p:cNvPr>
            <p:cNvCxnSpPr>
              <a:cxnSpLocks/>
            </p:cNvCxnSpPr>
            <p:nvPr/>
          </p:nvCxnSpPr>
          <p:spPr>
            <a:xfrm flipH="1">
              <a:off x="168764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9" name="Straight Connector 33">
              <a:extLst>
                <a:ext uri="{FF2B5EF4-FFF2-40B4-BE49-F238E27FC236}">
                  <a16:creationId xmlns:a16="http://schemas.microsoft.com/office/drawing/2014/main" id="{ECD4E9C9-571F-2744-9369-DBA40C67AB29}"/>
                </a:ext>
              </a:extLst>
            </p:cNvPr>
            <p:cNvCxnSpPr>
              <a:cxnSpLocks/>
            </p:cNvCxnSpPr>
            <p:nvPr/>
          </p:nvCxnSpPr>
          <p:spPr>
            <a:xfrm flipH="1">
              <a:off x="3036970"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301" name="Rectangle 99">
            <a:extLst>
              <a:ext uri="{FF2B5EF4-FFF2-40B4-BE49-F238E27FC236}">
                <a16:creationId xmlns:a16="http://schemas.microsoft.com/office/drawing/2014/main" id="{875EF904-C7A4-7342-934E-91E35B7FFEEC}"/>
              </a:ext>
            </a:extLst>
          </p:cNvPr>
          <p:cNvSpPr>
            <a:spLocks/>
          </p:cNvSpPr>
          <p:nvPr/>
        </p:nvSpPr>
        <p:spPr>
          <a:xfrm>
            <a:off x="1661662" y="2406120"/>
            <a:ext cx="6536047"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3" name="Rectangle 99">
            <a:extLst>
              <a:ext uri="{FF2B5EF4-FFF2-40B4-BE49-F238E27FC236}">
                <a16:creationId xmlns:a16="http://schemas.microsoft.com/office/drawing/2014/main" id="{D6D2C861-7B41-9647-B1AA-DD447D0E3E2B}"/>
              </a:ext>
            </a:extLst>
          </p:cNvPr>
          <p:cNvSpPr>
            <a:spLocks/>
          </p:cNvSpPr>
          <p:nvPr/>
        </p:nvSpPr>
        <p:spPr>
          <a:xfrm>
            <a:off x="1661662" y="2446100"/>
            <a:ext cx="6536045"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100%</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1668905" y="2761794"/>
            <a:ext cx="6535488"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1668905" y="2802649"/>
            <a:ext cx="6212036"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90%</a:t>
            </a: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1669523" y="3136851"/>
            <a:ext cx="6530410"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1671222" y="3171533"/>
            <a:ext cx="5597989"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75%</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52" name="Rectangle 99">
            <a:extLst>
              <a:ext uri="{FF2B5EF4-FFF2-40B4-BE49-F238E27FC236}">
                <a16:creationId xmlns:a16="http://schemas.microsoft.com/office/drawing/2014/main" id="{875EF904-C7A4-7342-934E-91E35B7FFEEC}"/>
              </a:ext>
            </a:extLst>
          </p:cNvPr>
          <p:cNvSpPr>
            <a:spLocks/>
          </p:cNvSpPr>
          <p:nvPr/>
        </p:nvSpPr>
        <p:spPr>
          <a:xfrm>
            <a:off x="1668341" y="3564800"/>
            <a:ext cx="6536047"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3" name="Rectangle 99">
            <a:extLst>
              <a:ext uri="{FF2B5EF4-FFF2-40B4-BE49-F238E27FC236}">
                <a16:creationId xmlns:a16="http://schemas.microsoft.com/office/drawing/2014/main" id="{D6D2C861-7B41-9647-B1AA-DD447D0E3E2B}"/>
              </a:ext>
            </a:extLst>
          </p:cNvPr>
          <p:cNvSpPr>
            <a:spLocks/>
          </p:cNvSpPr>
          <p:nvPr/>
        </p:nvSpPr>
        <p:spPr>
          <a:xfrm>
            <a:off x="1666267" y="3593934"/>
            <a:ext cx="6536047"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100%</a:t>
            </a:r>
          </a:p>
        </p:txBody>
      </p:sp>
      <p:sp>
        <p:nvSpPr>
          <p:cNvPr id="154" name="Rectangle 99">
            <a:extLst>
              <a:ext uri="{FF2B5EF4-FFF2-40B4-BE49-F238E27FC236}">
                <a16:creationId xmlns:a16="http://schemas.microsoft.com/office/drawing/2014/main" id="{875EF904-C7A4-7342-934E-91E35B7FFEEC}"/>
              </a:ext>
            </a:extLst>
          </p:cNvPr>
          <p:cNvSpPr>
            <a:spLocks/>
          </p:cNvSpPr>
          <p:nvPr/>
        </p:nvSpPr>
        <p:spPr>
          <a:xfrm>
            <a:off x="1667729" y="4041639"/>
            <a:ext cx="6530407"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5" name="Rectangle 99">
            <a:extLst>
              <a:ext uri="{FF2B5EF4-FFF2-40B4-BE49-F238E27FC236}">
                <a16:creationId xmlns:a16="http://schemas.microsoft.com/office/drawing/2014/main" id="{D6D2C861-7B41-9647-B1AA-DD447D0E3E2B}"/>
              </a:ext>
            </a:extLst>
          </p:cNvPr>
          <p:cNvSpPr>
            <a:spLocks/>
          </p:cNvSpPr>
          <p:nvPr/>
        </p:nvSpPr>
        <p:spPr>
          <a:xfrm>
            <a:off x="1668858" y="4078725"/>
            <a:ext cx="6529278"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100%</a:t>
            </a:r>
          </a:p>
        </p:txBody>
      </p:sp>
      <p:sp>
        <p:nvSpPr>
          <p:cNvPr id="156" name="Rectangle 99">
            <a:extLst>
              <a:ext uri="{FF2B5EF4-FFF2-40B4-BE49-F238E27FC236}">
                <a16:creationId xmlns:a16="http://schemas.microsoft.com/office/drawing/2014/main" id="{B8AAB2CE-D37B-894E-B004-7FDA994B5E3D}"/>
              </a:ext>
            </a:extLst>
          </p:cNvPr>
          <p:cNvSpPr>
            <a:spLocks/>
          </p:cNvSpPr>
          <p:nvPr/>
        </p:nvSpPr>
        <p:spPr>
          <a:xfrm>
            <a:off x="1656732" y="4726105"/>
            <a:ext cx="6552000"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7" name="Rectangle 99">
            <a:extLst>
              <a:ext uri="{FF2B5EF4-FFF2-40B4-BE49-F238E27FC236}">
                <a16:creationId xmlns:a16="http://schemas.microsoft.com/office/drawing/2014/main" id="{1C8EBA9B-A9EE-2541-9EB2-D93B6A141884}"/>
              </a:ext>
            </a:extLst>
          </p:cNvPr>
          <p:cNvSpPr>
            <a:spLocks/>
          </p:cNvSpPr>
          <p:nvPr/>
        </p:nvSpPr>
        <p:spPr>
          <a:xfrm>
            <a:off x="1656732" y="4765355"/>
            <a:ext cx="5603114"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7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44" name="TextBox 143">
            <a:extLst>
              <a:ext uri="{FF2B5EF4-FFF2-40B4-BE49-F238E27FC236}">
                <a16:creationId xmlns:a16="http://schemas.microsoft.com/office/drawing/2014/main" id="{D7D1BDE4-E611-9245-B77A-04A16CF0C215}"/>
              </a:ext>
            </a:extLst>
          </p:cNvPr>
          <p:cNvSpPr txBox="1">
            <a:spLocks/>
          </p:cNvSpPr>
          <p:nvPr/>
        </p:nvSpPr>
        <p:spPr>
          <a:xfrm>
            <a:off x="299418" y="4426320"/>
            <a:ext cx="1236389"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noProof="0" dirty="0">
                <a:solidFill>
                  <a:srgbClr val="FFFFFF"/>
                </a:solidFill>
              </a:rPr>
              <a:t>Migratio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Rectangle 99">
            <a:extLst>
              <a:ext uri="{FF2B5EF4-FFF2-40B4-BE49-F238E27FC236}">
                <a16:creationId xmlns:a16="http://schemas.microsoft.com/office/drawing/2014/main" id="{B8AAB2CE-D37B-894E-B004-7FDA994B5E3D}"/>
              </a:ext>
            </a:extLst>
          </p:cNvPr>
          <p:cNvSpPr>
            <a:spLocks/>
          </p:cNvSpPr>
          <p:nvPr/>
        </p:nvSpPr>
        <p:spPr>
          <a:xfrm>
            <a:off x="1657452" y="4440304"/>
            <a:ext cx="6546941" cy="201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6" name="Rectangle 99">
            <a:extLst>
              <a:ext uri="{FF2B5EF4-FFF2-40B4-BE49-F238E27FC236}">
                <a16:creationId xmlns:a16="http://schemas.microsoft.com/office/drawing/2014/main" id="{1C8EBA9B-A9EE-2541-9EB2-D93B6A141884}"/>
              </a:ext>
            </a:extLst>
          </p:cNvPr>
          <p:cNvSpPr>
            <a:spLocks/>
          </p:cNvSpPr>
          <p:nvPr/>
        </p:nvSpPr>
        <p:spPr>
          <a:xfrm>
            <a:off x="1657452" y="4479555"/>
            <a:ext cx="3771857" cy="129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6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 name="Группа 1">
            <a:extLst>
              <a:ext uri="{FF2B5EF4-FFF2-40B4-BE49-F238E27FC236}">
                <a16:creationId xmlns:a16="http://schemas.microsoft.com/office/drawing/2014/main" id="{977A3994-C051-5247-B4C9-4BC52B16B2D0}"/>
              </a:ext>
            </a:extLst>
          </p:cNvPr>
          <p:cNvGrpSpPr/>
          <p:nvPr/>
        </p:nvGrpSpPr>
        <p:grpSpPr>
          <a:xfrm>
            <a:off x="5406358" y="998167"/>
            <a:ext cx="6399824" cy="503552"/>
            <a:chOff x="5406358" y="998167"/>
            <a:chExt cx="6399824" cy="503552"/>
          </a:xfrm>
        </p:grpSpPr>
        <p:sp>
          <p:nvSpPr>
            <p:cNvPr id="147" name="Rectangle 116">
              <a:extLst>
                <a:ext uri="{FF2B5EF4-FFF2-40B4-BE49-F238E27FC236}">
                  <a16:creationId xmlns:a16="http://schemas.microsoft.com/office/drawing/2014/main" id="{137349CB-3CB7-304C-8FE0-F4F7446A9915}"/>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15 Jan 2021</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48" name="Rectangle 116">
              <a:extLst>
                <a:ext uri="{FF2B5EF4-FFF2-40B4-BE49-F238E27FC236}">
                  <a16:creationId xmlns:a16="http://schemas.microsoft.com/office/drawing/2014/main" id="{DC5C935A-1A1E-424B-817A-ACCE2CE0F04F}"/>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49" name="Rectangle 116">
              <a:extLst>
                <a:ext uri="{FF2B5EF4-FFF2-40B4-BE49-F238E27FC236}">
                  <a16:creationId xmlns:a16="http://schemas.microsoft.com/office/drawing/2014/main" id="{DC87B1C9-2394-E545-8A31-6817356E7CDD}"/>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17 Jan 2019</a:t>
              </a:r>
            </a:p>
          </p:txBody>
        </p:sp>
        <p:sp>
          <p:nvSpPr>
            <p:cNvPr id="150" name="Rectangle 116">
              <a:extLst>
                <a:ext uri="{FF2B5EF4-FFF2-40B4-BE49-F238E27FC236}">
                  <a16:creationId xmlns:a16="http://schemas.microsoft.com/office/drawing/2014/main" id="{F6352544-2786-C547-AE2B-2B3543786D94}"/>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51" name="Rectangle 116">
              <a:extLst>
                <a:ext uri="{FF2B5EF4-FFF2-40B4-BE49-F238E27FC236}">
                  <a16:creationId xmlns:a16="http://schemas.microsoft.com/office/drawing/2014/main" id="{38A14E03-C2AB-9C4E-888E-CB2D075A185C}"/>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75%</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58" name="Rectangle 116">
              <a:extLst>
                <a:ext uri="{FF2B5EF4-FFF2-40B4-BE49-F238E27FC236}">
                  <a16:creationId xmlns:a16="http://schemas.microsoft.com/office/drawing/2014/main" id="{07B8E380-5E73-2D42-8FFF-7491B90ACF99}"/>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spTree>
    <p:extLst>
      <p:ext uri="{BB962C8B-B14F-4D97-AF65-F5344CB8AC3E}">
        <p14:creationId xmlns:p14="http://schemas.microsoft.com/office/powerpoint/2010/main" val="2882446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az-Latn-AZ"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NFC Payments (VTS V</a:t>
            </a:r>
            <a:r>
              <a:rPr lang="az-Latn-AZ" kern="0" dirty="0">
                <a:solidFill>
                  <a:srgbClr val="000000">
                    <a:lumMod val="95000"/>
                    <a:lumOff val="5000"/>
                  </a:srgbClr>
                </a:solidFill>
                <a:latin typeface="Arial"/>
              </a:rPr>
              <a:t>isa)</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407163"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DIGITAL</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1400" dirty="0">
              <a:solidFill>
                <a:schemeClr val="tx1">
                  <a:lumMod val="65000"/>
                  <a:lumOff val="35000"/>
                </a:schemeClr>
              </a:solidFill>
              <a:latin typeface="Calibri Light"/>
              <a:ea typeface="Times New Roman"/>
              <a:cs typeface="Times New Roman"/>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err="1">
                <a:ln>
                  <a:noFill/>
                </a:ln>
                <a:solidFill>
                  <a:srgbClr val="000000"/>
                </a:solidFill>
                <a:effectLst/>
                <a:uLnTx/>
                <a:uFillTx/>
                <a:latin typeface="Arial"/>
                <a:sym typeface="+mn-lt"/>
              </a:rPr>
              <a:t>Sevda</a:t>
            </a:r>
            <a:r>
              <a:rPr kumimoji="0" lang="en-US" sz="1300" b="0" i="0" u="none" strike="noStrike" kern="0" cap="none" spc="0" normalizeH="0" baseline="0" noProof="0" dirty="0">
                <a:ln>
                  <a:noFill/>
                </a:ln>
                <a:solidFill>
                  <a:srgbClr val="000000"/>
                </a:solidFill>
                <a:effectLst/>
                <a:uLnTx/>
                <a:uFillTx/>
                <a:latin typeface="Arial"/>
                <a:sym typeface="+mn-lt"/>
              </a:rPr>
              <a:t>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3124750" y="213091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3394615"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3664480"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3904566" y="212370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4213984"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4474074"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4743939"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5013804"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5283668"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5553533"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5823398"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6093263"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6363128"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6632992"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6902857"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7172722"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7442587"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7712451"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7982315" y="213091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1776827" y="1611313"/>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757888" y="1868036"/>
            <a:ext cx="295922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3421445"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3421445"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3691310"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3691310"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3961175"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3961175"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4231040"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4231040"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3151580"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3151580"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4500904"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4500904"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5040634"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5040634"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5310499"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5310499"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5580364"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5580364"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5850228"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5850228"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6120093"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6120093"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6389958"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6389958"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6659823"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6659823"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6929688"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6929688"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7199552"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7199552"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7469417"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7469417"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4770769"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4770769"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4770769" y="1633751"/>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4770769" y="1868036"/>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7739282" y="187288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7739282" y="210716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83947" y="163617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71220" y="1980903"/>
            <a:ext cx="1234800" cy="66805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fontAlgn="base">
              <a:spcBef>
                <a:spcPct val="0"/>
              </a:spcBef>
              <a:spcAft>
                <a:spcPct val="0"/>
              </a:spcAft>
              <a:buClr>
                <a:srgbClr val="FFFFFF"/>
              </a:buClr>
              <a:defRPr/>
            </a:pPr>
            <a:r>
              <a:rPr lang="en-US" sz="1100" dirty="0">
                <a:solidFill>
                  <a:srgbClr val="FFFFFF"/>
                </a:solidFill>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2000782" y="2321245"/>
            <a:ext cx="1602000" cy="219091"/>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83947" y="187046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992989" y="2375496"/>
            <a:ext cx="1602000" cy="111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10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70044" y="3411743"/>
            <a:ext cx="1234800" cy="37738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H2H </a:t>
            </a:r>
            <a:r>
              <a:rPr lang="en-US" sz="1100" dirty="0" err="1">
                <a:solidFill>
                  <a:srgbClr val="FFFFFF"/>
                </a:solidFill>
              </a:rPr>
              <a:t>MilliKart</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008876" y="2763571"/>
            <a:ext cx="1602000" cy="203451"/>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009972" y="2812407"/>
            <a:ext cx="1602000" cy="111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70045" y="3069181"/>
            <a:ext cx="1234800" cy="29972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Solution Design</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2013262" y="3074596"/>
            <a:ext cx="1602000" cy="201686"/>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2012425" y="3120456"/>
            <a:ext cx="1347412" cy="111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7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79447" y="3823123"/>
            <a:ext cx="1234800" cy="39326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noProof="0" dirty="0">
                <a:solidFill>
                  <a:srgbClr val="FFFFFF"/>
                </a:solidFill>
              </a:rPr>
              <a:t>Test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79446" y="2695448"/>
            <a:ext cx="1234800" cy="32752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dirty="0">
                <a:solidFill>
                  <a:srgbClr val="FFFFFF"/>
                </a:solidFill>
              </a:rPr>
              <a:t>Development</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68"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2185335"/>
            <a:ext cx="3601756" cy="4304366"/>
          </a:xfrm>
          <a:prstGeom prst="rect">
            <a:avLst/>
          </a:prstGeom>
          <a:solidFill>
            <a:srgbClr val="FFFFFF">
              <a:lumMod val="95000"/>
            </a:srgbClr>
          </a:solidFill>
          <a:ln w="19050" cap="flat" cmpd="sng" algn="ctr">
            <a:noFill/>
            <a:prstDash val="solid"/>
          </a:ln>
          <a:effectLst/>
        </p:spPr>
        <p:txBody>
          <a:bodyPr lIns="93271" tIns="46635" rIns="93271" bIns="46635" rtlCol="0" anchor="t"/>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Solution Design is preparing now. Once it is ready will go on creation connection with </a:t>
            </a:r>
            <a:r>
              <a:rPr lang="en-US" sz="1200" kern="0" dirty="0" err="1">
                <a:solidFill>
                  <a:srgbClr val="000000"/>
                </a:solidFill>
                <a:latin typeface="Arial"/>
                <a:sym typeface="+mn-lt"/>
              </a:rPr>
              <a:t>MilliKart</a:t>
            </a:r>
            <a:r>
              <a:rPr lang="en-US" sz="1200" kern="0" dirty="0">
                <a:solidFill>
                  <a:srgbClr val="000000"/>
                </a:solidFill>
                <a:latin typeface="Arial"/>
                <a:sym typeface="+mn-lt"/>
              </a:rPr>
              <a:t> and Testing full functionality</a:t>
            </a:r>
          </a:p>
        </p:txBody>
      </p:sp>
      <p:sp>
        <p:nvSpPr>
          <p:cNvPr id="169"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1916832"/>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sp>
        <p:nvSpPr>
          <p:cNvPr id="120" name="TextBox 119">
            <a:extLst>
              <a:ext uri="{FF2B5EF4-FFF2-40B4-BE49-F238E27FC236}">
                <a16:creationId xmlns:a16="http://schemas.microsoft.com/office/drawing/2014/main" id="{D7D1BDE4-E611-9245-B77A-04A16CF0C215}"/>
              </a:ext>
            </a:extLst>
          </p:cNvPr>
          <p:cNvSpPr txBox="1">
            <a:spLocks/>
          </p:cNvSpPr>
          <p:nvPr/>
        </p:nvSpPr>
        <p:spPr>
          <a:xfrm>
            <a:off x="378344" y="4263217"/>
            <a:ext cx="1234800" cy="24675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noProof="0" dirty="0">
                <a:solidFill>
                  <a:srgbClr val="FFFFFF"/>
                </a:solidFill>
              </a:rPr>
              <a:t>Going to Life</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Rectangle 99">
            <a:extLst>
              <a:ext uri="{FF2B5EF4-FFF2-40B4-BE49-F238E27FC236}">
                <a16:creationId xmlns:a16="http://schemas.microsoft.com/office/drawing/2014/main" id="{B8AAB2CE-D37B-894E-B004-7FDA994B5E3D}"/>
              </a:ext>
            </a:extLst>
          </p:cNvPr>
          <p:cNvSpPr>
            <a:spLocks/>
          </p:cNvSpPr>
          <p:nvPr/>
        </p:nvSpPr>
        <p:spPr>
          <a:xfrm>
            <a:off x="2009900" y="3463996"/>
            <a:ext cx="1602000" cy="201686"/>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2" name="Rectangle 99">
            <a:extLst>
              <a:ext uri="{FF2B5EF4-FFF2-40B4-BE49-F238E27FC236}">
                <a16:creationId xmlns:a16="http://schemas.microsoft.com/office/drawing/2014/main" id="{1C8EBA9B-A9EE-2541-9EB2-D93B6A141884}"/>
              </a:ext>
            </a:extLst>
          </p:cNvPr>
          <p:cNvSpPr>
            <a:spLocks/>
          </p:cNvSpPr>
          <p:nvPr/>
        </p:nvSpPr>
        <p:spPr>
          <a:xfrm>
            <a:off x="2009064" y="3512861"/>
            <a:ext cx="520310" cy="1116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az-Latn-AZ" sz="900" b="1" dirty="0">
                <a:solidFill>
                  <a:schemeClr val="bg1"/>
                </a:solidFill>
                <a:latin typeface="Arial"/>
              </a:rPr>
              <a:t>25</a:t>
            </a:r>
            <a:r>
              <a:rPr lang="en-US" sz="900" b="1" dirty="0">
                <a:solidFill>
                  <a:schemeClr val="bg1"/>
                </a:solidFill>
                <a:latin typeface="Arial"/>
              </a:rPr>
              <a:t>%</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23" name="Rectangle 116">
            <a:extLst>
              <a:ext uri="{FF2B5EF4-FFF2-40B4-BE49-F238E27FC236}">
                <a16:creationId xmlns:a16="http://schemas.microsoft.com/office/drawing/2014/main" id="{462E4CB4-19E4-914C-9DC4-A706715C4EAF}"/>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TBD</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4" name="Rectangle 116">
            <a:extLst>
              <a:ext uri="{FF2B5EF4-FFF2-40B4-BE49-F238E27FC236}">
                <a16:creationId xmlns:a16="http://schemas.microsoft.com/office/drawing/2014/main" id="{5C617BC1-A3BB-FD45-9705-553538AEA1B5}"/>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25" name="Rectangle 116">
            <a:extLst>
              <a:ext uri="{FF2B5EF4-FFF2-40B4-BE49-F238E27FC236}">
                <a16:creationId xmlns:a16="http://schemas.microsoft.com/office/drawing/2014/main" id="{BE140701-9FFA-FE4C-9C78-AFA6EA86B50E}"/>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08 Mar 2020</a:t>
            </a:r>
          </a:p>
        </p:txBody>
      </p:sp>
      <p:sp>
        <p:nvSpPr>
          <p:cNvPr id="126" name="Rectangle 116">
            <a:extLst>
              <a:ext uri="{FF2B5EF4-FFF2-40B4-BE49-F238E27FC236}">
                <a16:creationId xmlns:a16="http://schemas.microsoft.com/office/drawing/2014/main" id="{4D2B8960-94BC-144B-B1DB-B43C183F18A8}"/>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27" name="Rectangle 116">
            <a:extLst>
              <a:ext uri="{FF2B5EF4-FFF2-40B4-BE49-F238E27FC236}">
                <a16:creationId xmlns:a16="http://schemas.microsoft.com/office/drawing/2014/main" id="{947CD1A2-CF77-0E40-9EA7-AD1ECD2B432B}"/>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55%</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8" name="Rectangle 116">
            <a:extLst>
              <a:ext uri="{FF2B5EF4-FFF2-40B4-BE49-F238E27FC236}">
                <a16:creationId xmlns:a16="http://schemas.microsoft.com/office/drawing/2014/main" id="{E0201AE7-2F0B-F54A-B2CC-54A5260A3155}"/>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cxnSp>
        <p:nvCxnSpPr>
          <p:cNvPr id="194" name="Straight Connector 84">
            <a:extLst>
              <a:ext uri="{FF2B5EF4-FFF2-40B4-BE49-F238E27FC236}">
                <a16:creationId xmlns:a16="http://schemas.microsoft.com/office/drawing/2014/main" id="{5A7608C0-9293-D743-8DAD-36A5DC271E91}"/>
              </a:ext>
            </a:extLst>
          </p:cNvPr>
          <p:cNvCxnSpPr/>
          <p:nvPr/>
        </p:nvCxnSpPr>
        <p:spPr>
          <a:xfrm>
            <a:off x="1731058" y="2129976"/>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5" name="Straight Connector 85">
            <a:extLst>
              <a:ext uri="{FF2B5EF4-FFF2-40B4-BE49-F238E27FC236}">
                <a16:creationId xmlns:a16="http://schemas.microsoft.com/office/drawing/2014/main" id="{AF439727-1912-714C-9E96-0E7E117D6F98}"/>
              </a:ext>
            </a:extLst>
          </p:cNvPr>
          <p:cNvCxnSpPr/>
          <p:nvPr/>
        </p:nvCxnSpPr>
        <p:spPr>
          <a:xfrm>
            <a:off x="2000922" y="2129976"/>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6" name="Straight Connector 86">
            <a:extLst>
              <a:ext uri="{FF2B5EF4-FFF2-40B4-BE49-F238E27FC236}">
                <a16:creationId xmlns:a16="http://schemas.microsoft.com/office/drawing/2014/main" id="{87153000-ACD6-F849-ABC2-2781601F7999}"/>
              </a:ext>
            </a:extLst>
          </p:cNvPr>
          <p:cNvCxnSpPr/>
          <p:nvPr/>
        </p:nvCxnSpPr>
        <p:spPr>
          <a:xfrm>
            <a:off x="2270787" y="2129976"/>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7" name="Straight Connector 87">
            <a:extLst>
              <a:ext uri="{FF2B5EF4-FFF2-40B4-BE49-F238E27FC236}">
                <a16:creationId xmlns:a16="http://schemas.microsoft.com/office/drawing/2014/main" id="{14457F8F-DF63-D44B-9FB9-A18A7133E2A3}"/>
              </a:ext>
            </a:extLst>
          </p:cNvPr>
          <p:cNvCxnSpPr/>
          <p:nvPr/>
        </p:nvCxnSpPr>
        <p:spPr>
          <a:xfrm>
            <a:off x="2540652" y="2129976"/>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8" name="Straight Connector 88">
            <a:extLst>
              <a:ext uri="{FF2B5EF4-FFF2-40B4-BE49-F238E27FC236}">
                <a16:creationId xmlns:a16="http://schemas.microsoft.com/office/drawing/2014/main" id="{B30ADDDB-8A5F-2642-95E6-3956C1F38FF8}"/>
              </a:ext>
            </a:extLst>
          </p:cNvPr>
          <p:cNvCxnSpPr/>
          <p:nvPr/>
        </p:nvCxnSpPr>
        <p:spPr>
          <a:xfrm>
            <a:off x="2810517" y="2129976"/>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00" name="Rectangle 10">
            <a:extLst>
              <a:ext uri="{FF2B5EF4-FFF2-40B4-BE49-F238E27FC236}">
                <a16:creationId xmlns:a16="http://schemas.microsoft.com/office/drawing/2014/main" id="{09AFCBA3-5E14-494E-9891-E96CE714E91C}"/>
              </a:ext>
            </a:extLst>
          </p:cNvPr>
          <p:cNvSpPr txBox="1">
            <a:spLocks/>
          </p:cNvSpPr>
          <p:nvPr/>
        </p:nvSpPr>
        <p:spPr>
          <a:xfrm>
            <a:off x="1757888" y="187194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01" name="Straight Connector 39">
            <a:extLst>
              <a:ext uri="{FF2B5EF4-FFF2-40B4-BE49-F238E27FC236}">
                <a16:creationId xmlns:a16="http://schemas.microsoft.com/office/drawing/2014/main" id="{F7C5F9CA-1189-904F-886A-1C35EA2AEE38}"/>
              </a:ext>
            </a:extLst>
          </p:cNvPr>
          <p:cNvCxnSpPr>
            <a:cxnSpLocks/>
          </p:cNvCxnSpPr>
          <p:nvPr/>
        </p:nvCxnSpPr>
        <p:spPr>
          <a:xfrm flipH="1">
            <a:off x="1757888" y="210622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2" name="Rectangle 10">
            <a:extLst>
              <a:ext uri="{FF2B5EF4-FFF2-40B4-BE49-F238E27FC236}">
                <a16:creationId xmlns:a16="http://schemas.microsoft.com/office/drawing/2014/main" id="{78F44FF5-DDF8-0842-8B21-59DE99DC96A4}"/>
              </a:ext>
            </a:extLst>
          </p:cNvPr>
          <p:cNvSpPr txBox="1">
            <a:spLocks/>
          </p:cNvSpPr>
          <p:nvPr/>
        </p:nvSpPr>
        <p:spPr>
          <a:xfrm>
            <a:off x="2027753" y="187194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03" name="Straight Connector 42">
            <a:extLst>
              <a:ext uri="{FF2B5EF4-FFF2-40B4-BE49-F238E27FC236}">
                <a16:creationId xmlns:a16="http://schemas.microsoft.com/office/drawing/2014/main" id="{24FC209F-D145-5B4B-969C-6518D782506E}"/>
              </a:ext>
            </a:extLst>
          </p:cNvPr>
          <p:cNvCxnSpPr>
            <a:cxnSpLocks/>
          </p:cNvCxnSpPr>
          <p:nvPr/>
        </p:nvCxnSpPr>
        <p:spPr>
          <a:xfrm flipH="1">
            <a:off x="2027753" y="210622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4" name="Rectangle 10">
            <a:extLst>
              <a:ext uri="{FF2B5EF4-FFF2-40B4-BE49-F238E27FC236}">
                <a16:creationId xmlns:a16="http://schemas.microsoft.com/office/drawing/2014/main" id="{DCE5706A-DC5B-BA46-B9EB-90AE8CC0101A}"/>
              </a:ext>
            </a:extLst>
          </p:cNvPr>
          <p:cNvSpPr txBox="1">
            <a:spLocks/>
          </p:cNvSpPr>
          <p:nvPr/>
        </p:nvSpPr>
        <p:spPr>
          <a:xfrm>
            <a:off x="2297618" y="187194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05" name="Straight Connector 45">
            <a:extLst>
              <a:ext uri="{FF2B5EF4-FFF2-40B4-BE49-F238E27FC236}">
                <a16:creationId xmlns:a16="http://schemas.microsoft.com/office/drawing/2014/main" id="{262FEF71-E352-9047-9465-CB940FB6EB23}"/>
              </a:ext>
            </a:extLst>
          </p:cNvPr>
          <p:cNvCxnSpPr>
            <a:cxnSpLocks/>
          </p:cNvCxnSpPr>
          <p:nvPr/>
        </p:nvCxnSpPr>
        <p:spPr>
          <a:xfrm flipH="1">
            <a:off x="2297618" y="210622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6" name="Rectangle 10">
            <a:extLst>
              <a:ext uri="{FF2B5EF4-FFF2-40B4-BE49-F238E27FC236}">
                <a16:creationId xmlns:a16="http://schemas.microsoft.com/office/drawing/2014/main" id="{13B7030A-481E-1145-A3D2-A7F606F4E7FE}"/>
              </a:ext>
            </a:extLst>
          </p:cNvPr>
          <p:cNvSpPr txBox="1">
            <a:spLocks/>
          </p:cNvSpPr>
          <p:nvPr/>
        </p:nvSpPr>
        <p:spPr>
          <a:xfrm>
            <a:off x="2567482" y="187194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07" name="Straight Connector 48">
            <a:extLst>
              <a:ext uri="{FF2B5EF4-FFF2-40B4-BE49-F238E27FC236}">
                <a16:creationId xmlns:a16="http://schemas.microsoft.com/office/drawing/2014/main" id="{4F44DD40-D27C-5F48-9C53-A9B553F468EB}"/>
              </a:ext>
            </a:extLst>
          </p:cNvPr>
          <p:cNvCxnSpPr>
            <a:cxnSpLocks/>
          </p:cNvCxnSpPr>
          <p:nvPr/>
        </p:nvCxnSpPr>
        <p:spPr>
          <a:xfrm flipH="1">
            <a:off x="2567482" y="210622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8" name="Rectangle 10">
            <a:extLst>
              <a:ext uri="{FF2B5EF4-FFF2-40B4-BE49-F238E27FC236}">
                <a16:creationId xmlns:a16="http://schemas.microsoft.com/office/drawing/2014/main" id="{F1026015-4808-B840-9189-4FB6BB441E24}"/>
              </a:ext>
            </a:extLst>
          </p:cNvPr>
          <p:cNvSpPr txBox="1">
            <a:spLocks/>
          </p:cNvSpPr>
          <p:nvPr/>
        </p:nvSpPr>
        <p:spPr>
          <a:xfrm>
            <a:off x="2837347" y="187194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09" name="Straight Connector 51">
            <a:extLst>
              <a:ext uri="{FF2B5EF4-FFF2-40B4-BE49-F238E27FC236}">
                <a16:creationId xmlns:a16="http://schemas.microsoft.com/office/drawing/2014/main" id="{839144BA-71AF-EB47-8C41-7E1B35ADAF3D}"/>
              </a:ext>
            </a:extLst>
          </p:cNvPr>
          <p:cNvCxnSpPr>
            <a:cxnSpLocks/>
          </p:cNvCxnSpPr>
          <p:nvPr/>
        </p:nvCxnSpPr>
        <p:spPr>
          <a:xfrm flipH="1">
            <a:off x="2837347" y="210622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569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az-Latn-AZ"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NFC Payments (MDES MasterCard</a:t>
            </a:r>
            <a:r>
              <a:rPr lang="az-Latn-AZ" kern="0" dirty="0">
                <a:solidFill>
                  <a:srgbClr val="000000">
                    <a:lumMod val="95000"/>
                    <a:lumOff val="5000"/>
                  </a:srgbClr>
                </a:solidFill>
                <a:latin typeface="Arial"/>
              </a:rPr>
              <a:t>)</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407163"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Digital</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nSpc>
                <a:spcPct val="90000"/>
              </a:lnSpc>
              <a:spcAft>
                <a:spcPts val="1000"/>
              </a:spcAft>
            </a:pPr>
            <a:endParaRPr lang="en-US" sz="1100" dirty="0">
              <a:latin typeface="Arial" panose="020B0604020202020204" pitchFamily="34" charset="0"/>
              <a:ea typeface="Times New Roman"/>
              <a:cs typeface="Arial" panose="020B0604020202020204" pitchFamily="34" charset="0"/>
            </a:endParaRPr>
          </a:p>
          <a:p>
            <a:pPr>
              <a:lnSpc>
                <a:spcPct val="90000"/>
              </a:lnSpc>
              <a:spcAft>
                <a:spcPts val="1000"/>
              </a:spcAft>
            </a:pPr>
            <a:r>
              <a:rPr lang="en-US" sz="1100" dirty="0">
                <a:latin typeface="Arial" panose="020B0604020202020204" pitchFamily="34" charset="0"/>
                <a:ea typeface="Times New Roman"/>
                <a:cs typeface="Arial" panose="020B0604020202020204" pitchFamily="34" charset="0"/>
              </a:rPr>
              <a:t>Successfully finished testing of MDES for Merchant and Garmin pay. Near to close finishing testing of Issuer Wallet.</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err="1">
                <a:ln>
                  <a:noFill/>
                </a:ln>
                <a:solidFill>
                  <a:srgbClr val="000000"/>
                </a:solidFill>
                <a:effectLst/>
                <a:uLnTx/>
                <a:uFillTx/>
                <a:latin typeface="Arial"/>
                <a:sym typeface="+mn-lt"/>
              </a:rPr>
              <a:t>Sevda</a:t>
            </a:r>
            <a:r>
              <a:rPr kumimoji="0" lang="en-US" sz="1300" b="0" i="0" u="none" strike="noStrike" kern="0" cap="none" spc="0" normalizeH="0" baseline="0" noProof="0" dirty="0">
                <a:ln>
                  <a:noFill/>
                </a:ln>
                <a:solidFill>
                  <a:srgbClr val="000000"/>
                </a:solidFill>
                <a:effectLst/>
                <a:uLnTx/>
                <a:uFillTx/>
                <a:latin typeface="Arial"/>
                <a:sym typeface="+mn-lt"/>
              </a:rPr>
              <a:t>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96348" y="2117330"/>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66213"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62908"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76164" y="211011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85582"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45672"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415537"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85402"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55266"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25131"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94996"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64861"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34726"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304590"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74455"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44320"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114185"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84049"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53913" y="211733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1807397" y="1620163"/>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807397" y="1854448"/>
            <a:ext cx="158131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2093043"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2093043"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2362908"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2362908"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2632773"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2632773"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2902638"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2902638"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1823178"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1823178"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3172502"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3172502"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3712232"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3712232"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3982097"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3982097"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4251962"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4251962"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4521826"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4521826"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4791691"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4791691"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5061556"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5061556"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5331421"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5331421"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5601286"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5601286"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5871150"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5871150"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6141015"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6141015"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3442367"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3442367"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3442367" y="1620163"/>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3442367" y="1854448"/>
            <a:ext cx="318471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6410880" y="1859295"/>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6410880" y="209358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91967" y="1622587"/>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69577" y="2104673"/>
            <a:ext cx="1263600" cy="57600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100" dirty="0">
                <a:solidFill>
                  <a:srgbClr val="FFFFFF"/>
                </a:solidFill>
              </a:rPr>
              <a:t>Testing </a:t>
            </a:r>
            <a:r>
              <a:rPr lang="az-Latn-AZ" sz="1100" dirty="0">
                <a:solidFill>
                  <a:srgbClr val="FFFFFF"/>
                </a:solidFill>
              </a:rPr>
              <a:t>MDES</a:t>
            </a:r>
            <a:r>
              <a:rPr lang="ru-RU" sz="1100" dirty="0">
                <a:solidFill>
                  <a:srgbClr val="FFFFFF"/>
                </a:solidFill>
              </a:rPr>
              <a:t> </a:t>
            </a:r>
            <a:r>
              <a:rPr lang="en-US" sz="1100" dirty="0">
                <a:solidFill>
                  <a:srgbClr val="FFFFFF"/>
                </a:solidFill>
              </a:rPr>
              <a:t>for Merchant</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95958" y="2220474"/>
            <a:ext cx="1279002" cy="219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91967" y="1856872"/>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95808" y="2269717"/>
            <a:ext cx="1271949" cy="123552"/>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ru-RU" sz="900" b="1" dirty="0">
                <a:solidFill>
                  <a:prstClr val="white"/>
                </a:solidFill>
                <a:latin typeface="Arial"/>
              </a:rPr>
              <a:t>10</a:t>
            </a:r>
            <a:r>
              <a:rPr lang="en-US" sz="900" b="1" dirty="0">
                <a:solidFill>
                  <a:prstClr val="white"/>
                </a:solidFill>
                <a:latin typeface="Arial"/>
              </a:rPr>
              <a:t>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55758" y="3467516"/>
            <a:ext cx="1263600" cy="57600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fontAlgn="base">
              <a:spcBef>
                <a:spcPct val="0"/>
              </a:spcBef>
              <a:spcAft>
                <a:spcPct val="0"/>
              </a:spcAft>
              <a:buClr>
                <a:srgbClr val="FFFFFF"/>
              </a:buClr>
              <a:defRPr/>
            </a:pPr>
            <a:r>
              <a:rPr lang="en-US" sz="1100" dirty="0">
                <a:solidFill>
                  <a:srgbClr val="FFFFFF"/>
                </a:solidFill>
              </a:rPr>
              <a:t>Testing Issuer Wallet</a:t>
            </a: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55758" y="2791124"/>
            <a:ext cx="1263600" cy="57600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fontAlgn="base">
              <a:spcBef>
                <a:spcPct val="0"/>
              </a:spcBef>
              <a:spcAft>
                <a:spcPct val="0"/>
              </a:spcAft>
              <a:buClr>
                <a:srgbClr val="FFFFFF"/>
              </a:buClr>
              <a:defRPr/>
            </a:pPr>
            <a:r>
              <a:rPr lang="en-US" sz="1100" dirty="0">
                <a:solidFill>
                  <a:srgbClr val="FFFFFF"/>
                </a:solidFill>
              </a:rPr>
              <a:t>Testing GARMIN</a:t>
            </a: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90254" y="4849202"/>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68"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2185335"/>
            <a:ext cx="3601756" cy="4304366"/>
          </a:xfrm>
          <a:prstGeom prst="rect">
            <a:avLst/>
          </a:prstGeom>
          <a:solidFill>
            <a:srgbClr val="FFFFFF">
              <a:lumMod val="95000"/>
            </a:srgbClr>
          </a:solidFill>
          <a:ln w="19050" cap="flat" cmpd="sng" algn="ctr">
            <a:noFill/>
            <a:prstDash val="solid"/>
          </a:ln>
          <a:effectLst/>
        </p:spPr>
        <p:txBody>
          <a:bodyPr lIns="93271" tIns="46635" rIns="93271" bIns="46635" rtlCol="0" anchor="t"/>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Going to Life will be after successfully migration to TX solution. Planned to migrate to TX at 15.01.2021</a:t>
            </a:r>
          </a:p>
        </p:txBody>
      </p:sp>
      <p:sp>
        <p:nvSpPr>
          <p:cNvPr id="169"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1916832"/>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sp>
        <p:nvSpPr>
          <p:cNvPr id="120" name="Rectangle 99">
            <a:extLst>
              <a:ext uri="{FF2B5EF4-FFF2-40B4-BE49-F238E27FC236}">
                <a16:creationId xmlns:a16="http://schemas.microsoft.com/office/drawing/2014/main" id="{875EF904-C7A4-7342-934E-91E35B7FFEEC}"/>
              </a:ext>
            </a:extLst>
          </p:cNvPr>
          <p:cNvSpPr>
            <a:spLocks/>
          </p:cNvSpPr>
          <p:nvPr/>
        </p:nvSpPr>
        <p:spPr>
          <a:xfrm>
            <a:off x="1800197" y="3627347"/>
            <a:ext cx="1745911" cy="219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1" name="Rectangle 99">
            <a:extLst>
              <a:ext uri="{FF2B5EF4-FFF2-40B4-BE49-F238E27FC236}">
                <a16:creationId xmlns:a16="http://schemas.microsoft.com/office/drawing/2014/main" id="{D6D2C861-7B41-9647-B1AA-DD447D0E3E2B}"/>
              </a:ext>
            </a:extLst>
          </p:cNvPr>
          <p:cNvSpPr>
            <a:spLocks/>
          </p:cNvSpPr>
          <p:nvPr/>
        </p:nvSpPr>
        <p:spPr>
          <a:xfrm>
            <a:off x="1795121" y="3677984"/>
            <a:ext cx="1095829" cy="114915"/>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50%</a:t>
            </a:r>
          </a:p>
        </p:txBody>
      </p:sp>
      <p:sp>
        <p:nvSpPr>
          <p:cNvPr id="122" name="Rectangle 99">
            <a:extLst>
              <a:ext uri="{FF2B5EF4-FFF2-40B4-BE49-F238E27FC236}">
                <a16:creationId xmlns:a16="http://schemas.microsoft.com/office/drawing/2014/main" id="{875EF904-C7A4-7342-934E-91E35B7FFEEC}"/>
              </a:ext>
            </a:extLst>
          </p:cNvPr>
          <p:cNvSpPr>
            <a:spLocks/>
          </p:cNvSpPr>
          <p:nvPr/>
        </p:nvSpPr>
        <p:spPr>
          <a:xfrm>
            <a:off x="1795141" y="2948244"/>
            <a:ext cx="1556815" cy="2196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3" name="Rectangle 99">
            <a:extLst>
              <a:ext uri="{FF2B5EF4-FFF2-40B4-BE49-F238E27FC236}">
                <a16:creationId xmlns:a16="http://schemas.microsoft.com/office/drawing/2014/main" id="{D6D2C861-7B41-9647-B1AA-DD447D0E3E2B}"/>
              </a:ext>
            </a:extLst>
          </p:cNvPr>
          <p:cNvSpPr>
            <a:spLocks/>
          </p:cNvSpPr>
          <p:nvPr/>
        </p:nvSpPr>
        <p:spPr>
          <a:xfrm>
            <a:off x="1798027" y="2998999"/>
            <a:ext cx="1332000" cy="115602"/>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grpSp>
        <p:nvGrpSpPr>
          <p:cNvPr id="118" name="Группа 117">
            <a:extLst>
              <a:ext uri="{FF2B5EF4-FFF2-40B4-BE49-F238E27FC236}">
                <a16:creationId xmlns:a16="http://schemas.microsoft.com/office/drawing/2014/main" id="{1D0BF028-3223-9C4D-A691-B03A57A3BDD8}"/>
              </a:ext>
            </a:extLst>
          </p:cNvPr>
          <p:cNvGrpSpPr/>
          <p:nvPr/>
        </p:nvGrpSpPr>
        <p:grpSpPr>
          <a:xfrm>
            <a:off x="5452743" y="1034978"/>
            <a:ext cx="6399824" cy="503552"/>
            <a:chOff x="5406358" y="998167"/>
            <a:chExt cx="6399824" cy="503552"/>
          </a:xfrm>
        </p:grpSpPr>
        <p:sp>
          <p:nvSpPr>
            <p:cNvPr id="119" name="Rectangle 116">
              <a:extLst>
                <a:ext uri="{FF2B5EF4-FFF2-40B4-BE49-F238E27FC236}">
                  <a16:creationId xmlns:a16="http://schemas.microsoft.com/office/drawing/2014/main" id="{6DB176C1-87A3-F246-BBF2-957D9A2BADC0}"/>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15 Jan 2021</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4" name="Rectangle 116">
              <a:extLst>
                <a:ext uri="{FF2B5EF4-FFF2-40B4-BE49-F238E27FC236}">
                  <a16:creationId xmlns:a16="http://schemas.microsoft.com/office/drawing/2014/main" id="{4A1F5DA2-E4BF-FE4B-9C9A-C5CF3EABFED3}"/>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25" name="Rectangle 116">
              <a:extLst>
                <a:ext uri="{FF2B5EF4-FFF2-40B4-BE49-F238E27FC236}">
                  <a16:creationId xmlns:a16="http://schemas.microsoft.com/office/drawing/2014/main" id="{A352FB1B-A9FA-BC43-83FE-D205461A9B94}"/>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14 Jan 2020</a:t>
              </a:r>
            </a:p>
          </p:txBody>
        </p:sp>
        <p:sp>
          <p:nvSpPr>
            <p:cNvPr id="126" name="Rectangle 116">
              <a:extLst>
                <a:ext uri="{FF2B5EF4-FFF2-40B4-BE49-F238E27FC236}">
                  <a16:creationId xmlns:a16="http://schemas.microsoft.com/office/drawing/2014/main" id="{8D05FF3D-6079-D84F-B6B1-E198A26884B1}"/>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27" name="Rectangle 116">
              <a:extLst>
                <a:ext uri="{FF2B5EF4-FFF2-40B4-BE49-F238E27FC236}">
                  <a16:creationId xmlns:a16="http://schemas.microsoft.com/office/drawing/2014/main" id="{A47238B9-776C-6544-9DF0-1BF443470FAE}"/>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65%</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8" name="Rectangle 116">
              <a:extLst>
                <a:ext uri="{FF2B5EF4-FFF2-40B4-BE49-F238E27FC236}">
                  <a16:creationId xmlns:a16="http://schemas.microsoft.com/office/drawing/2014/main" id="{BA83FCF9-FC2F-274B-85E1-B06FBDC0872E}"/>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cxnSp>
        <p:nvCxnSpPr>
          <p:cNvPr id="130" name="Straight Connector 88">
            <a:extLst>
              <a:ext uri="{FF2B5EF4-FFF2-40B4-BE49-F238E27FC236}">
                <a16:creationId xmlns:a16="http://schemas.microsoft.com/office/drawing/2014/main" id="{D1BCD41E-7F46-7D41-A18A-D5907847DCF1}"/>
              </a:ext>
            </a:extLst>
          </p:cNvPr>
          <p:cNvCxnSpPr/>
          <p:nvPr/>
        </p:nvCxnSpPr>
        <p:spPr>
          <a:xfrm>
            <a:off x="6924041" y="209289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89">
            <a:extLst>
              <a:ext uri="{FF2B5EF4-FFF2-40B4-BE49-F238E27FC236}">
                <a16:creationId xmlns:a16="http://schemas.microsoft.com/office/drawing/2014/main" id="{5FA83BBF-8368-8E44-BB25-3CBEDA4DC226}"/>
              </a:ext>
            </a:extLst>
          </p:cNvPr>
          <p:cNvCxnSpPr/>
          <p:nvPr/>
        </p:nvCxnSpPr>
        <p:spPr>
          <a:xfrm>
            <a:off x="7193906" y="209289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90">
            <a:extLst>
              <a:ext uri="{FF2B5EF4-FFF2-40B4-BE49-F238E27FC236}">
                <a16:creationId xmlns:a16="http://schemas.microsoft.com/office/drawing/2014/main" id="{5B6B20F0-E627-C643-99A1-D3A2C293CF16}"/>
              </a:ext>
            </a:extLst>
          </p:cNvPr>
          <p:cNvCxnSpPr/>
          <p:nvPr/>
        </p:nvCxnSpPr>
        <p:spPr>
          <a:xfrm>
            <a:off x="7463770" y="209289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91">
            <a:extLst>
              <a:ext uri="{FF2B5EF4-FFF2-40B4-BE49-F238E27FC236}">
                <a16:creationId xmlns:a16="http://schemas.microsoft.com/office/drawing/2014/main" id="{CAAD2796-5790-F94B-8C46-6968693CABBC}"/>
              </a:ext>
            </a:extLst>
          </p:cNvPr>
          <p:cNvCxnSpPr/>
          <p:nvPr/>
        </p:nvCxnSpPr>
        <p:spPr>
          <a:xfrm>
            <a:off x="7733635" y="209289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7" name="Rectangle 10">
            <a:extLst>
              <a:ext uri="{FF2B5EF4-FFF2-40B4-BE49-F238E27FC236}">
                <a16:creationId xmlns:a16="http://schemas.microsoft.com/office/drawing/2014/main" id="{CA075A91-D943-0745-8143-F8BC61B2B4DF}"/>
              </a:ext>
            </a:extLst>
          </p:cNvPr>
          <p:cNvSpPr txBox="1">
            <a:spLocks/>
          </p:cNvSpPr>
          <p:nvPr/>
        </p:nvSpPr>
        <p:spPr>
          <a:xfrm>
            <a:off x="6662200" y="18554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38" name="Straight Connector 45">
            <a:extLst>
              <a:ext uri="{FF2B5EF4-FFF2-40B4-BE49-F238E27FC236}">
                <a16:creationId xmlns:a16="http://schemas.microsoft.com/office/drawing/2014/main" id="{1345F816-6EB6-2442-9C4A-C82A4FB470FB}"/>
              </a:ext>
            </a:extLst>
          </p:cNvPr>
          <p:cNvCxnSpPr>
            <a:cxnSpLocks/>
          </p:cNvCxnSpPr>
          <p:nvPr/>
        </p:nvCxnSpPr>
        <p:spPr>
          <a:xfrm flipH="1">
            <a:off x="6662200" y="2089783"/>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9" name="Rectangle 10">
            <a:extLst>
              <a:ext uri="{FF2B5EF4-FFF2-40B4-BE49-F238E27FC236}">
                <a16:creationId xmlns:a16="http://schemas.microsoft.com/office/drawing/2014/main" id="{11F6A5DC-60DC-2248-9257-05CE2E7341AF}"/>
              </a:ext>
            </a:extLst>
          </p:cNvPr>
          <p:cNvSpPr txBox="1">
            <a:spLocks/>
          </p:cNvSpPr>
          <p:nvPr/>
        </p:nvSpPr>
        <p:spPr>
          <a:xfrm>
            <a:off x="6932064" y="18554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40" name="Straight Connector 48">
            <a:extLst>
              <a:ext uri="{FF2B5EF4-FFF2-40B4-BE49-F238E27FC236}">
                <a16:creationId xmlns:a16="http://schemas.microsoft.com/office/drawing/2014/main" id="{2B54B7FC-0BC1-5D44-8AE6-4DA53AC32EA1}"/>
              </a:ext>
            </a:extLst>
          </p:cNvPr>
          <p:cNvCxnSpPr>
            <a:cxnSpLocks/>
          </p:cNvCxnSpPr>
          <p:nvPr/>
        </p:nvCxnSpPr>
        <p:spPr>
          <a:xfrm flipH="1">
            <a:off x="6932064" y="2089783"/>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1" name="Rectangle 10">
            <a:extLst>
              <a:ext uri="{FF2B5EF4-FFF2-40B4-BE49-F238E27FC236}">
                <a16:creationId xmlns:a16="http://schemas.microsoft.com/office/drawing/2014/main" id="{5DC22C90-3539-B242-B4F1-EE31886CFCD0}"/>
              </a:ext>
            </a:extLst>
          </p:cNvPr>
          <p:cNvSpPr txBox="1">
            <a:spLocks/>
          </p:cNvSpPr>
          <p:nvPr/>
        </p:nvSpPr>
        <p:spPr>
          <a:xfrm>
            <a:off x="7201929" y="18554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142" name="Straight Connector 51">
            <a:extLst>
              <a:ext uri="{FF2B5EF4-FFF2-40B4-BE49-F238E27FC236}">
                <a16:creationId xmlns:a16="http://schemas.microsoft.com/office/drawing/2014/main" id="{7E89B352-C553-1043-B588-556C2C97BE56}"/>
              </a:ext>
            </a:extLst>
          </p:cNvPr>
          <p:cNvCxnSpPr>
            <a:cxnSpLocks/>
          </p:cNvCxnSpPr>
          <p:nvPr/>
        </p:nvCxnSpPr>
        <p:spPr>
          <a:xfrm flipH="1">
            <a:off x="7201929" y="2089783"/>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3" name="Rectangle 10">
            <a:extLst>
              <a:ext uri="{FF2B5EF4-FFF2-40B4-BE49-F238E27FC236}">
                <a16:creationId xmlns:a16="http://schemas.microsoft.com/office/drawing/2014/main" id="{C3FFFE2B-9922-7147-889C-58A12040893D}"/>
              </a:ext>
            </a:extLst>
          </p:cNvPr>
          <p:cNvSpPr txBox="1">
            <a:spLocks/>
          </p:cNvSpPr>
          <p:nvPr/>
        </p:nvSpPr>
        <p:spPr>
          <a:xfrm>
            <a:off x="7471794" y="18554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44" name="Straight Connector 54">
            <a:extLst>
              <a:ext uri="{FF2B5EF4-FFF2-40B4-BE49-F238E27FC236}">
                <a16:creationId xmlns:a16="http://schemas.microsoft.com/office/drawing/2014/main" id="{27A532BF-3DC1-7541-BB81-B4A4D36F6D59}"/>
              </a:ext>
            </a:extLst>
          </p:cNvPr>
          <p:cNvCxnSpPr>
            <a:cxnSpLocks/>
          </p:cNvCxnSpPr>
          <p:nvPr/>
        </p:nvCxnSpPr>
        <p:spPr>
          <a:xfrm flipH="1">
            <a:off x="7471794" y="2089783"/>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5" name="Rectangle 10">
            <a:extLst>
              <a:ext uri="{FF2B5EF4-FFF2-40B4-BE49-F238E27FC236}">
                <a16:creationId xmlns:a16="http://schemas.microsoft.com/office/drawing/2014/main" id="{599C16DE-123C-E344-B6A0-08027270074C}"/>
              </a:ext>
            </a:extLst>
          </p:cNvPr>
          <p:cNvSpPr txBox="1">
            <a:spLocks/>
          </p:cNvSpPr>
          <p:nvPr/>
        </p:nvSpPr>
        <p:spPr>
          <a:xfrm>
            <a:off x="7741659" y="18554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46" name="Straight Connector 57">
            <a:extLst>
              <a:ext uri="{FF2B5EF4-FFF2-40B4-BE49-F238E27FC236}">
                <a16:creationId xmlns:a16="http://schemas.microsoft.com/office/drawing/2014/main" id="{65FFF744-FD32-CF46-8BAD-1580FE453A80}"/>
              </a:ext>
            </a:extLst>
          </p:cNvPr>
          <p:cNvCxnSpPr>
            <a:cxnSpLocks/>
          </p:cNvCxnSpPr>
          <p:nvPr/>
        </p:nvCxnSpPr>
        <p:spPr>
          <a:xfrm flipH="1">
            <a:off x="7741659" y="2089783"/>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1" name="Rectangle 10">
            <a:extLst>
              <a:ext uri="{FF2B5EF4-FFF2-40B4-BE49-F238E27FC236}">
                <a16:creationId xmlns:a16="http://schemas.microsoft.com/office/drawing/2014/main" id="{873889F1-7B02-4040-B832-628B61BCA0DB}"/>
              </a:ext>
            </a:extLst>
          </p:cNvPr>
          <p:cNvSpPr txBox="1">
            <a:spLocks/>
          </p:cNvSpPr>
          <p:nvPr/>
        </p:nvSpPr>
        <p:spPr>
          <a:xfrm>
            <a:off x="6700078" y="1639963"/>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2</a:t>
            </a:r>
          </a:p>
        </p:txBody>
      </p:sp>
      <p:cxnSp>
        <p:nvCxnSpPr>
          <p:cNvPr id="152" name="Straight Connector 54">
            <a:extLst>
              <a:ext uri="{FF2B5EF4-FFF2-40B4-BE49-F238E27FC236}">
                <a16:creationId xmlns:a16="http://schemas.microsoft.com/office/drawing/2014/main" id="{B9B5B910-1FA2-7C45-9C0A-E9DAFD234215}"/>
              </a:ext>
            </a:extLst>
          </p:cNvPr>
          <p:cNvCxnSpPr>
            <a:cxnSpLocks/>
          </p:cNvCxnSpPr>
          <p:nvPr/>
        </p:nvCxnSpPr>
        <p:spPr>
          <a:xfrm flipH="1">
            <a:off x="6689910" y="1854448"/>
            <a:ext cx="126795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831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BPM Development</a:t>
            </a:r>
            <a:r>
              <a:rPr kumimoji="0" lang="en-US" sz="2041" b="0" i="0" u="none" strike="noStrike" kern="0" cap="none" spc="0" normalizeH="0" noProof="0" dirty="0">
                <a:ln>
                  <a:noFill/>
                </a:ln>
                <a:solidFill>
                  <a:srgbClr val="000000">
                    <a:lumMod val="95000"/>
                    <a:lumOff val="5000"/>
                  </a:srgbClr>
                </a:solidFill>
                <a:effectLst/>
                <a:uLnTx/>
                <a:uFillTx/>
                <a:latin typeface="Arial"/>
                <a:ea typeface="+mj-ea"/>
                <a:cs typeface="+mj-cs"/>
              </a:rPr>
              <a:t> Credit Module</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0852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COMMERCIAL</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5138559"/>
            <a:ext cx="1791689" cy="1351142"/>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indent="-171450">
              <a:buFont typeface="Arial" panose="020B0604020202020204" pitchFamily="34" charset="0"/>
              <a:buChar char="•"/>
            </a:pPr>
            <a:endParaRPr lang="en-US" sz="1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dirty="0" err="1">
                <a:latin typeface="Arial" panose="020B0604020202020204" pitchFamily="34" charset="0"/>
                <a:cs typeface="Arial" panose="020B0604020202020204" pitchFamily="34" charset="0"/>
              </a:rPr>
              <a:t>Alkredit</a:t>
            </a:r>
            <a:r>
              <a:rPr lang="en-US" sz="1000" dirty="0">
                <a:latin typeface="Arial" panose="020B0604020202020204" pitchFamily="34" charset="0"/>
                <a:cs typeface="Arial" panose="020B0604020202020204" pitchFamily="34" charset="0"/>
              </a:rPr>
              <a:t> process without SMS</a:t>
            </a:r>
          </a:p>
          <a:p>
            <a:pPr marL="171450" indent="-171450">
              <a:buFont typeface="Arial" panose="020B0604020202020204" pitchFamily="34" charset="0"/>
              <a:buChar char="•"/>
            </a:pPr>
            <a:r>
              <a:rPr lang="en-US" sz="1000" dirty="0" err="1">
                <a:latin typeface="Arial" panose="020B0604020202020204" pitchFamily="34" charset="0"/>
                <a:cs typeface="Arial" panose="020B0604020202020204" pitchFamily="34" charset="0"/>
              </a:rPr>
              <a:t>Alkredit</a:t>
            </a:r>
            <a:r>
              <a:rPr lang="en-US" sz="1000" dirty="0">
                <a:latin typeface="Arial" panose="020B0604020202020204" pitchFamily="34" charset="0"/>
                <a:cs typeface="Arial" panose="020B0604020202020204" pitchFamily="34" charset="0"/>
              </a:rPr>
              <a:t> + SMS</a:t>
            </a:r>
            <a:endPar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5138559"/>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r>
              <a:rPr lang="en-US" sz="1300" dirty="0">
                <a:latin typeface="Arial" panose="020B0604020202020204" pitchFamily="34" charset="0"/>
                <a:cs typeface="Arial" panose="020B0604020202020204" pitchFamily="34" charset="0"/>
              </a:rPr>
              <a:t>Farid </a:t>
            </a:r>
            <a:r>
              <a:rPr lang="en-US" sz="1300" dirty="0" err="1">
                <a:latin typeface="Arial" panose="020B0604020202020204" pitchFamily="34" charset="0"/>
                <a:cs typeface="Arial" panose="020B0604020202020204" pitchFamily="34" charset="0"/>
              </a:rPr>
              <a:t>Abushov</a:t>
            </a:r>
            <a:endParaRPr lang="x-none" sz="1300" dirty="0">
              <a:latin typeface="Arial" panose="020B0604020202020204" pitchFamily="34" charset="0"/>
              <a:cs typeface="Arial" panose="020B0604020202020204" pitchFamily="34" charset="0"/>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az-Latn-AZ" sz="1300" b="0" i="0" u="none" strike="noStrike" kern="0" cap="none" spc="0" normalizeH="0" baseline="0" noProof="0" dirty="0">
                <a:ln>
                  <a:noFill/>
                </a:ln>
                <a:solidFill>
                  <a:srgbClr val="000000"/>
                </a:solidFill>
                <a:effectLst/>
                <a:uLnTx/>
                <a:uFillTx/>
                <a:latin typeface="Arial"/>
                <a:sym typeface="+mn-lt"/>
              </a:rPr>
              <a:t>Oleg</a:t>
            </a:r>
            <a:r>
              <a:rPr kumimoji="0" lang="az-Latn-AZ" sz="1300" b="0" i="0" u="none" strike="noStrike" kern="0" cap="none" spc="0" normalizeH="0" noProof="0" dirty="0">
                <a:ln>
                  <a:noFill/>
                </a:ln>
                <a:solidFill>
                  <a:srgbClr val="000000"/>
                </a:solidFill>
                <a:effectLst/>
                <a:uLnTx/>
                <a:uFillTx/>
                <a:latin typeface="Arial"/>
                <a:sym typeface="+mn-lt"/>
              </a:rPr>
              <a:t> Kucher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3299876" y="2251858"/>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3569741"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3839606"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4079692" y="2244644"/>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4389110"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4649200"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4919065"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5188930"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5458794"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5728659"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5998524"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6268389"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6538254"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6808118"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7077983"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7347848"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7617713"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7914408" y="225185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84953" y="1785544"/>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251859"/>
            <a:ext cx="1236389" cy="404643"/>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Pre-Design Stage</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84953" y="2019829"/>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59978" y="2690331"/>
            <a:ext cx="1236389" cy="46328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err="1">
                <a:solidFill>
                  <a:srgbClr val="FFFFFF"/>
                </a:solidFill>
              </a:rPr>
              <a:t>Alkredit</a:t>
            </a:r>
            <a:r>
              <a:rPr lang="en-US" sz="1000" dirty="0">
                <a:solidFill>
                  <a:srgbClr val="FFFFFF"/>
                </a:solidFill>
              </a:rPr>
              <a:t> process without SMS</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187445"/>
            <a:ext cx="1236389" cy="513089"/>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BPM Interface/Front end</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59978" y="3734366"/>
            <a:ext cx="1236389" cy="293994"/>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Testing</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60243" y="4062192"/>
            <a:ext cx="1236389" cy="310923"/>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err="1">
                <a:solidFill>
                  <a:srgbClr val="FFFFFF"/>
                </a:solidFill>
              </a:rPr>
              <a:t>Alkredit</a:t>
            </a:r>
            <a:r>
              <a:rPr lang="en-US" sz="1000" dirty="0">
                <a:solidFill>
                  <a:srgbClr val="FFFFFF"/>
                </a:solidFill>
              </a:rPr>
              <a:t> + SMS</a:t>
            </a: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5106714"/>
            <a:ext cx="3758541" cy="1400177"/>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4732" y="5106714"/>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5126124"/>
            <a:ext cx="1791689" cy="137263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5127556"/>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22958" y="72121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00B05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cxnSp>
        <p:nvCxnSpPr>
          <p:cNvPr id="213" name="Straight Connector 77">
            <a:extLst>
              <a:ext uri="{FF2B5EF4-FFF2-40B4-BE49-F238E27FC236}">
                <a16:creationId xmlns:a16="http://schemas.microsoft.com/office/drawing/2014/main" id="{E85C9EE5-8DBF-BC40-86CE-1BAAB13EA5B5}"/>
              </a:ext>
            </a:extLst>
          </p:cNvPr>
          <p:cNvCxnSpPr>
            <a:cxnSpLocks/>
          </p:cNvCxnSpPr>
          <p:nvPr/>
        </p:nvCxnSpPr>
        <p:spPr>
          <a:xfrm>
            <a:off x="1707939" y="2253290"/>
            <a:ext cx="0" cy="27655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4" name="Straight Connector 78">
            <a:extLst>
              <a:ext uri="{FF2B5EF4-FFF2-40B4-BE49-F238E27FC236}">
                <a16:creationId xmlns:a16="http://schemas.microsoft.com/office/drawing/2014/main" id="{A33FC6CB-453A-8248-A82B-93F5FEF98B8A}"/>
              </a:ext>
            </a:extLst>
          </p:cNvPr>
          <p:cNvCxnSpPr/>
          <p:nvPr/>
        </p:nvCxnSpPr>
        <p:spPr>
          <a:xfrm>
            <a:off x="1977804" y="2253289"/>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5" name="Straight Connector 79">
            <a:extLst>
              <a:ext uri="{FF2B5EF4-FFF2-40B4-BE49-F238E27FC236}">
                <a16:creationId xmlns:a16="http://schemas.microsoft.com/office/drawing/2014/main" id="{CAEC2648-83C4-4048-A0C0-D19872390BAC}"/>
              </a:ext>
            </a:extLst>
          </p:cNvPr>
          <p:cNvCxnSpPr/>
          <p:nvPr/>
        </p:nvCxnSpPr>
        <p:spPr>
          <a:xfrm>
            <a:off x="2247669" y="2253290"/>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6" name="Straight Connector 80">
            <a:extLst>
              <a:ext uri="{FF2B5EF4-FFF2-40B4-BE49-F238E27FC236}">
                <a16:creationId xmlns:a16="http://schemas.microsoft.com/office/drawing/2014/main" id="{FAB0DC73-7F34-3E44-BBE1-0C0F6DC3033D}"/>
              </a:ext>
            </a:extLst>
          </p:cNvPr>
          <p:cNvCxnSpPr/>
          <p:nvPr/>
        </p:nvCxnSpPr>
        <p:spPr>
          <a:xfrm>
            <a:off x="2487755" y="2246075"/>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7" name="Straight Connector 81">
            <a:extLst>
              <a:ext uri="{FF2B5EF4-FFF2-40B4-BE49-F238E27FC236}">
                <a16:creationId xmlns:a16="http://schemas.microsoft.com/office/drawing/2014/main" id="{2A3EADE0-168C-0643-9D1A-CDA6A7C21AE4}"/>
              </a:ext>
            </a:extLst>
          </p:cNvPr>
          <p:cNvCxnSpPr/>
          <p:nvPr/>
        </p:nvCxnSpPr>
        <p:spPr>
          <a:xfrm>
            <a:off x="2797173" y="2253290"/>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8" name="Straight Connector 82">
            <a:extLst>
              <a:ext uri="{FF2B5EF4-FFF2-40B4-BE49-F238E27FC236}">
                <a16:creationId xmlns:a16="http://schemas.microsoft.com/office/drawing/2014/main" id="{8C617091-C6EE-C34A-809F-CADACAA1C79E}"/>
              </a:ext>
            </a:extLst>
          </p:cNvPr>
          <p:cNvCxnSpPr/>
          <p:nvPr/>
        </p:nvCxnSpPr>
        <p:spPr>
          <a:xfrm>
            <a:off x="3043830" y="2261943"/>
            <a:ext cx="0" cy="2764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2032393" y="1796493"/>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985827" y="2009620"/>
            <a:ext cx="315746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3847629"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3847629"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4117494"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4117494"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4387359"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4387359"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4657224"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4657224"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3577764"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3577764"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4927088"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4927088"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5466818"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5466818"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5736683"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5736683"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6006548"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6006548"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6276412"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6276412"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6546277"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6546277"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6816142"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6816142"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7086007"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7086007"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7355872"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7355872"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7625736"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7625736"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5196953" y="2014467"/>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5196953" y="224875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5196953" y="1775335"/>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5196954" y="2009620"/>
            <a:ext cx="269833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9" name="Rectangle 10">
            <a:extLst>
              <a:ext uri="{FF2B5EF4-FFF2-40B4-BE49-F238E27FC236}">
                <a16:creationId xmlns:a16="http://schemas.microsoft.com/office/drawing/2014/main" id="{82BB2C53-33B7-0143-804D-3D7AB3191121}"/>
              </a:ext>
            </a:extLst>
          </p:cNvPr>
          <p:cNvSpPr txBox="1">
            <a:spLocks/>
          </p:cNvSpPr>
          <p:nvPr/>
        </p:nvSpPr>
        <p:spPr>
          <a:xfrm>
            <a:off x="2255692"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20" name="Rectangle 10">
            <a:extLst>
              <a:ext uri="{FF2B5EF4-FFF2-40B4-BE49-F238E27FC236}">
                <a16:creationId xmlns:a16="http://schemas.microsoft.com/office/drawing/2014/main" id="{5E31B7D6-49E1-A54B-AEC1-0B354D540DFB}"/>
              </a:ext>
            </a:extLst>
          </p:cNvPr>
          <p:cNvSpPr txBox="1">
            <a:spLocks/>
          </p:cNvSpPr>
          <p:nvPr/>
        </p:nvSpPr>
        <p:spPr>
          <a:xfrm>
            <a:off x="2525557"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21" name="Rectangle 10">
            <a:extLst>
              <a:ext uri="{FF2B5EF4-FFF2-40B4-BE49-F238E27FC236}">
                <a16:creationId xmlns:a16="http://schemas.microsoft.com/office/drawing/2014/main" id="{A6AA6391-ED00-9A40-A80C-0AC5DCDD2604}"/>
              </a:ext>
            </a:extLst>
          </p:cNvPr>
          <p:cNvSpPr txBox="1">
            <a:spLocks/>
          </p:cNvSpPr>
          <p:nvPr/>
        </p:nvSpPr>
        <p:spPr>
          <a:xfrm>
            <a:off x="2795422"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22" name="Rectangle 10">
            <a:extLst>
              <a:ext uri="{FF2B5EF4-FFF2-40B4-BE49-F238E27FC236}">
                <a16:creationId xmlns:a16="http://schemas.microsoft.com/office/drawing/2014/main" id="{E4166D6E-6E90-C043-B753-8168D2E5B1A3}"/>
              </a:ext>
            </a:extLst>
          </p:cNvPr>
          <p:cNvSpPr txBox="1">
            <a:spLocks/>
          </p:cNvSpPr>
          <p:nvPr/>
        </p:nvSpPr>
        <p:spPr>
          <a:xfrm>
            <a:off x="3065287"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23" name="Rectangle 10">
            <a:extLst>
              <a:ext uri="{FF2B5EF4-FFF2-40B4-BE49-F238E27FC236}">
                <a16:creationId xmlns:a16="http://schemas.microsoft.com/office/drawing/2014/main" id="{8D4E3ACD-61DE-834E-B92E-EDD38EB1A41C}"/>
              </a:ext>
            </a:extLst>
          </p:cNvPr>
          <p:cNvSpPr txBox="1">
            <a:spLocks/>
          </p:cNvSpPr>
          <p:nvPr/>
        </p:nvSpPr>
        <p:spPr>
          <a:xfrm>
            <a:off x="1985827"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24" name="Rectangle 10">
            <a:extLst>
              <a:ext uri="{FF2B5EF4-FFF2-40B4-BE49-F238E27FC236}">
                <a16:creationId xmlns:a16="http://schemas.microsoft.com/office/drawing/2014/main" id="{35F96DF5-54EA-4642-B30D-75A364EEC3F2}"/>
              </a:ext>
            </a:extLst>
          </p:cNvPr>
          <p:cNvSpPr txBox="1">
            <a:spLocks/>
          </p:cNvSpPr>
          <p:nvPr/>
        </p:nvSpPr>
        <p:spPr>
          <a:xfrm>
            <a:off x="3335151" y="2015898"/>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25" name="Straight Connector 21">
            <a:extLst>
              <a:ext uri="{FF2B5EF4-FFF2-40B4-BE49-F238E27FC236}">
                <a16:creationId xmlns:a16="http://schemas.microsoft.com/office/drawing/2014/main" id="{DD67C0CC-EC72-4E4F-99C3-7378A1D8E045}"/>
              </a:ext>
            </a:extLst>
          </p:cNvPr>
          <p:cNvCxnSpPr>
            <a:cxnSpLocks/>
          </p:cNvCxnSpPr>
          <p:nvPr/>
        </p:nvCxnSpPr>
        <p:spPr>
          <a:xfrm flipH="1">
            <a:off x="2255692" y="225611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6" name="Straight Connector 24">
            <a:extLst>
              <a:ext uri="{FF2B5EF4-FFF2-40B4-BE49-F238E27FC236}">
                <a16:creationId xmlns:a16="http://schemas.microsoft.com/office/drawing/2014/main" id="{51BEF95C-CD90-0D40-BCEF-65D74D5EFB90}"/>
              </a:ext>
            </a:extLst>
          </p:cNvPr>
          <p:cNvCxnSpPr>
            <a:cxnSpLocks/>
          </p:cNvCxnSpPr>
          <p:nvPr/>
        </p:nvCxnSpPr>
        <p:spPr>
          <a:xfrm flipH="1">
            <a:off x="2525557" y="225611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7" name="Straight Connector 27">
            <a:extLst>
              <a:ext uri="{FF2B5EF4-FFF2-40B4-BE49-F238E27FC236}">
                <a16:creationId xmlns:a16="http://schemas.microsoft.com/office/drawing/2014/main" id="{046CD086-1DB2-D340-93A7-ACFB2B37AADF}"/>
              </a:ext>
            </a:extLst>
          </p:cNvPr>
          <p:cNvCxnSpPr>
            <a:cxnSpLocks/>
          </p:cNvCxnSpPr>
          <p:nvPr/>
        </p:nvCxnSpPr>
        <p:spPr>
          <a:xfrm flipH="1">
            <a:off x="2795422" y="225611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8" name="Straight Connector 30">
            <a:extLst>
              <a:ext uri="{FF2B5EF4-FFF2-40B4-BE49-F238E27FC236}">
                <a16:creationId xmlns:a16="http://schemas.microsoft.com/office/drawing/2014/main" id="{B73D408D-75C5-5043-8DBC-DA61FB7D2024}"/>
              </a:ext>
            </a:extLst>
          </p:cNvPr>
          <p:cNvCxnSpPr>
            <a:cxnSpLocks/>
          </p:cNvCxnSpPr>
          <p:nvPr/>
        </p:nvCxnSpPr>
        <p:spPr>
          <a:xfrm flipH="1">
            <a:off x="3065287" y="225611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9" name="Straight Connector 18">
            <a:extLst>
              <a:ext uri="{FF2B5EF4-FFF2-40B4-BE49-F238E27FC236}">
                <a16:creationId xmlns:a16="http://schemas.microsoft.com/office/drawing/2014/main" id="{BF6E1AB6-0B1B-2642-875F-63B6DE66D04D}"/>
              </a:ext>
            </a:extLst>
          </p:cNvPr>
          <p:cNvCxnSpPr>
            <a:cxnSpLocks/>
          </p:cNvCxnSpPr>
          <p:nvPr/>
        </p:nvCxnSpPr>
        <p:spPr>
          <a:xfrm flipH="1">
            <a:off x="1985827" y="2256110"/>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1" name="Straight Connector 30">
            <a:extLst>
              <a:ext uri="{FF2B5EF4-FFF2-40B4-BE49-F238E27FC236}">
                <a16:creationId xmlns:a16="http://schemas.microsoft.com/office/drawing/2014/main" id="{B73D408D-75C5-5043-8DBC-DA61FB7D2024}"/>
              </a:ext>
            </a:extLst>
          </p:cNvPr>
          <p:cNvCxnSpPr>
            <a:cxnSpLocks/>
          </p:cNvCxnSpPr>
          <p:nvPr/>
        </p:nvCxnSpPr>
        <p:spPr>
          <a:xfrm flipH="1">
            <a:off x="3312573" y="2253242"/>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1" name="Rectangle 99">
            <a:extLst>
              <a:ext uri="{FF2B5EF4-FFF2-40B4-BE49-F238E27FC236}">
                <a16:creationId xmlns:a16="http://schemas.microsoft.com/office/drawing/2014/main" id="{875EF904-C7A4-7342-934E-91E35B7FFEEC}"/>
              </a:ext>
            </a:extLst>
          </p:cNvPr>
          <p:cNvSpPr>
            <a:spLocks/>
          </p:cNvSpPr>
          <p:nvPr/>
        </p:nvSpPr>
        <p:spPr>
          <a:xfrm>
            <a:off x="1706220" y="2341631"/>
            <a:ext cx="540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3" name="Rectangle 99">
            <a:extLst>
              <a:ext uri="{FF2B5EF4-FFF2-40B4-BE49-F238E27FC236}">
                <a16:creationId xmlns:a16="http://schemas.microsoft.com/office/drawing/2014/main" id="{D6D2C861-7B41-9647-B1AA-DD447D0E3E2B}"/>
              </a:ext>
            </a:extLst>
          </p:cNvPr>
          <p:cNvSpPr>
            <a:spLocks/>
          </p:cNvSpPr>
          <p:nvPr/>
        </p:nvSpPr>
        <p:spPr>
          <a:xfrm>
            <a:off x="1706221" y="2399898"/>
            <a:ext cx="54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100%</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247253" y="2833176"/>
            <a:ext cx="828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247253" y="2891443"/>
            <a:ext cx="792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0%</a:t>
            </a:r>
          </a:p>
        </p:txBody>
      </p:sp>
      <p:sp>
        <p:nvSpPr>
          <p:cNvPr id="232" name="Rectangle 99">
            <a:extLst>
              <a:ext uri="{FF2B5EF4-FFF2-40B4-BE49-F238E27FC236}">
                <a16:creationId xmlns:a16="http://schemas.microsoft.com/office/drawing/2014/main" id="{FFF3F0F4-E438-8B43-9815-3513B57DBF5E}"/>
              </a:ext>
            </a:extLst>
          </p:cNvPr>
          <p:cNvSpPr>
            <a:spLocks/>
          </p:cNvSpPr>
          <p:nvPr/>
        </p:nvSpPr>
        <p:spPr>
          <a:xfrm>
            <a:off x="3057987" y="3218692"/>
            <a:ext cx="900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3" name="Rectangle 99">
            <a:extLst>
              <a:ext uri="{FF2B5EF4-FFF2-40B4-BE49-F238E27FC236}">
                <a16:creationId xmlns:a16="http://schemas.microsoft.com/office/drawing/2014/main" id="{0596E707-B512-2142-BEA7-D9C9F5E056B9}"/>
              </a:ext>
            </a:extLst>
          </p:cNvPr>
          <p:cNvSpPr>
            <a:spLocks/>
          </p:cNvSpPr>
          <p:nvPr/>
        </p:nvSpPr>
        <p:spPr>
          <a:xfrm>
            <a:off x="3057987" y="3276959"/>
            <a:ext cx="90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0%</a:t>
            </a:r>
          </a:p>
        </p:txBody>
      </p:sp>
      <p:sp>
        <p:nvSpPr>
          <p:cNvPr id="234" name="Rectangle 99">
            <a:extLst>
              <a:ext uri="{FF2B5EF4-FFF2-40B4-BE49-F238E27FC236}">
                <a16:creationId xmlns:a16="http://schemas.microsoft.com/office/drawing/2014/main" id="{FFF3F0F4-E438-8B43-9815-3513B57DBF5E}"/>
              </a:ext>
            </a:extLst>
          </p:cNvPr>
          <p:cNvSpPr>
            <a:spLocks/>
          </p:cNvSpPr>
          <p:nvPr/>
        </p:nvSpPr>
        <p:spPr>
          <a:xfrm>
            <a:off x="3954617" y="3773302"/>
            <a:ext cx="504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5" name="Rectangle 99">
            <a:extLst>
              <a:ext uri="{FF2B5EF4-FFF2-40B4-BE49-F238E27FC236}">
                <a16:creationId xmlns:a16="http://schemas.microsoft.com/office/drawing/2014/main" id="{0596E707-B512-2142-BEA7-D9C9F5E056B9}"/>
              </a:ext>
            </a:extLst>
          </p:cNvPr>
          <p:cNvSpPr>
            <a:spLocks/>
          </p:cNvSpPr>
          <p:nvPr/>
        </p:nvSpPr>
        <p:spPr>
          <a:xfrm>
            <a:off x="3954617" y="3831569"/>
            <a:ext cx="50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0%</a:t>
            </a: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4413742" y="4070072"/>
            <a:ext cx="401877"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4413742" y="4125994"/>
            <a:ext cx="396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latin typeface="Arial"/>
              </a:rPr>
              <a:t>100%</a:t>
            </a:r>
            <a:endParaRPr kumimoji="0" lang="en-US" sz="400" b="1" i="0" u="none" strike="noStrike" kern="1200" cap="none" spc="0" normalizeH="0" baseline="0" noProof="0" dirty="0">
              <a:ln>
                <a:noFill/>
              </a:ln>
              <a:solidFill>
                <a:schemeClr val="bg1"/>
              </a:solidFill>
              <a:effectLst/>
              <a:uLnTx/>
              <a:uFillTx/>
              <a:latin typeface="Arial"/>
              <a:ea typeface="+mn-ea"/>
              <a:cs typeface="+mn-cs"/>
            </a:endParaRPr>
          </a:p>
        </p:txBody>
      </p:sp>
      <p:sp>
        <p:nvSpPr>
          <p:cNvPr id="236"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704885" y="2185335"/>
            <a:ext cx="3223214" cy="4304366"/>
          </a:xfrm>
          <a:prstGeom prst="rect">
            <a:avLst/>
          </a:prstGeom>
          <a:solidFill>
            <a:srgbClr val="FFFFFF">
              <a:lumMod val="95000"/>
            </a:srgbClr>
          </a:solidFill>
          <a:ln w="19050" cap="flat" cmpd="sng" algn="ctr">
            <a:noFill/>
            <a:prstDash val="solid"/>
          </a:ln>
          <a:effectLst/>
        </p:spPr>
        <p:txBody>
          <a:bodyPr lIns="93271" tIns="46635" rIns="93271" bIns="46635" rtlCol="0" anchor="t"/>
          <a:lstStyle/>
          <a:p>
            <a:pPr marL="171450" lvl="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The next stage of implementation is the transfer of the online lending process to BPM. </a:t>
            </a:r>
            <a:endParaRPr lang="en-US" sz="1100" kern="0" dirty="0">
              <a:solidFill>
                <a:srgbClr val="000000"/>
              </a:solidFill>
              <a:latin typeface="Arial" panose="020B0604020202020204" pitchFamily="34" charset="0"/>
              <a:cs typeface="Arial" panose="020B0604020202020204" pitchFamily="34" charset="0"/>
              <a:sym typeface="+mn-lt"/>
            </a:endParaRPr>
          </a:p>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171450" lvl="0" indent="-171450" fontAlgn="base">
              <a:spcBef>
                <a:spcPct val="0"/>
              </a:spcBef>
              <a:spcAft>
                <a:spcPct val="0"/>
              </a:spcAft>
              <a:buFont typeface="Arial" panose="020B0604020202020204" pitchFamily="34" charset="0"/>
              <a:buChar char="•"/>
              <a:defRPr/>
            </a:pPr>
            <a:endParaRPr lang="en-US" sz="1100" kern="0" dirty="0">
              <a:solidFill>
                <a:srgbClr val="000000"/>
              </a:solidFill>
              <a:latin typeface="Arial" panose="020B0604020202020204" pitchFamily="34" charset="0"/>
              <a:cs typeface="Arial" panose="020B0604020202020204" pitchFamily="34" charset="0"/>
              <a:sym typeface="+mn-lt"/>
            </a:endParaRPr>
          </a:p>
        </p:txBody>
      </p:sp>
      <p:sp>
        <p:nvSpPr>
          <p:cNvPr id="237"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704884" y="1916832"/>
            <a:ext cx="3223215"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sp>
        <p:nvSpPr>
          <p:cNvPr id="141" name="Rectangle 10">
            <a:extLst>
              <a:ext uri="{FF2B5EF4-FFF2-40B4-BE49-F238E27FC236}">
                <a16:creationId xmlns:a16="http://schemas.microsoft.com/office/drawing/2014/main" id="{8D4E3ACD-61DE-834E-B92E-EDD38EB1A41C}"/>
              </a:ext>
            </a:extLst>
          </p:cNvPr>
          <p:cNvSpPr txBox="1">
            <a:spLocks/>
          </p:cNvSpPr>
          <p:nvPr/>
        </p:nvSpPr>
        <p:spPr>
          <a:xfrm>
            <a:off x="1712804" y="200962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sp>
        <p:nvSpPr>
          <p:cNvPr id="142" name="Rectangle 10">
            <a:extLst>
              <a:ext uri="{FF2B5EF4-FFF2-40B4-BE49-F238E27FC236}">
                <a16:creationId xmlns:a16="http://schemas.microsoft.com/office/drawing/2014/main" id="{9ACCD167-1137-514E-8CE4-CB28E293AC7E}"/>
              </a:ext>
            </a:extLst>
          </p:cNvPr>
          <p:cNvSpPr txBox="1">
            <a:spLocks/>
          </p:cNvSpPr>
          <p:nvPr/>
        </p:nvSpPr>
        <p:spPr>
          <a:xfrm>
            <a:off x="1696865" y="1803426"/>
            <a:ext cx="48664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9’</a:t>
            </a:r>
          </a:p>
        </p:txBody>
      </p:sp>
      <p:cxnSp>
        <p:nvCxnSpPr>
          <p:cNvPr id="144" name="Straight Connector 18">
            <a:extLst>
              <a:ext uri="{FF2B5EF4-FFF2-40B4-BE49-F238E27FC236}">
                <a16:creationId xmlns:a16="http://schemas.microsoft.com/office/drawing/2014/main" id="{BF6E1AB6-0B1B-2642-875F-63B6DE66D04D}"/>
              </a:ext>
            </a:extLst>
          </p:cNvPr>
          <p:cNvCxnSpPr>
            <a:cxnSpLocks/>
          </p:cNvCxnSpPr>
          <p:nvPr/>
        </p:nvCxnSpPr>
        <p:spPr>
          <a:xfrm flipH="1">
            <a:off x="1736174" y="2251859"/>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4F7F715E-0EA4-CA4C-9441-18A31CEF6438}"/>
              </a:ext>
            </a:extLst>
          </p:cNvPr>
          <p:cNvSpPr txBox="1">
            <a:spLocks/>
          </p:cNvSpPr>
          <p:nvPr/>
        </p:nvSpPr>
        <p:spPr>
          <a:xfrm>
            <a:off x="367529" y="4398996"/>
            <a:ext cx="1236389" cy="33577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err="1">
                <a:solidFill>
                  <a:srgbClr val="FFFFFF"/>
                </a:solidFill>
              </a:rPr>
              <a:t>Albali</a:t>
            </a:r>
            <a:r>
              <a:rPr lang="en-US" sz="1000" dirty="0">
                <a:solidFill>
                  <a:srgbClr val="FFFFFF"/>
                </a:solidFill>
              </a:rPr>
              <a:t> card issuing</a:t>
            </a:r>
          </a:p>
        </p:txBody>
      </p:sp>
      <p:sp>
        <p:nvSpPr>
          <p:cNvPr id="311" name="Rectangle 99">
            <a:extLst>
              <a:ext uri="{FF2B5EF4-FFF2-40B4-BE49-F238E27FC236}">
                <a16:creationId xmlns:a16="http://schemas.microsoft.com/office/drawing/2014/main" id="{FFF3F0F4-E438-8B43-9815-3513B57DBF5E}"/>
              </a:ext>
            </a:extLst>
          </p:cNvPr>
          <p:cNvSpPr>
            <a:spLocks/>
          </p:cNvSpPr>
          <p:nvPr/>
        </p:nvSpPr>
        <p:spPr>
          <a:xfrm>
            <a:off x="4803499" y="4381741"/>
            <a:ext cx="324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29" name="Rectangle 99">
            <a:extLst>
              <a:ext uri="{FF2B5EF4-FFF2-40B4-BE49-F238E27FC236}">
                <a16:creationId xmlns:a16="http://schemas.microsoft.com/office/drawing/2014/main" id="{0596E707-B512-2142-BEA7-D9C9F5E056B9}"/>
              </a:ext>
            </a:extLst>
          </p:cNvPr>
          <p:cNvSpPr>
            <a:spLocks/>
          </p:cNvSpPr>
          <p:nvPr/>
        </p:nvSpPr>
        <p:spPr>
          <a:xfrm>
            <a:off x="4803499" y="4440008"/>
            <a:ext cx="32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a:t>
            </a:r>
          </a:p>
        </p:txBody>
      </p:sp>
      <p:sp>
        <p:nvSpPr>
          <p:cNvPr id="330" name="TextBox 329">
            <a:extLst>
              <a:ext uri="{FF2B5EF4-FFF2-40B4-BE49-F238E27FC236}">
                <a16:creationId xmlns:a16="http://schemas.microsoft.com/office/drawing/2014/main" id="{4F7F715E-0EA4-CA4C-9441-18A31CEF6438}"/>
              </a:ext>
            </a:extLst>
          </p:cNvPr>
          <p:cNvSpPr txBox="1">
            <a:spLocks/>
          </p:cNvSpPr>
          <p:nvPr/>
        </p:nvSpPr>
        <p:spPr>
          <a:xfrm>
            <a:off x="375758" y="4758612"/>
            <a:ext cx="1236389" cy="33577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OAK Module</a:t>
            </a:r>
          </a:p>
        </p:txBody>
      </p:sp>
      <p:sp>
        <p:nvSpPr>
          <p:cNvPr id="331" name="Rectangle 99">
            <a:extLst>
              <a:ext uri="{FF2B5EF4-FFF2-40B4-BE49-F238E27FC236}">
                <a16:creationId xmlns:a16="http://schemas.microsoft.com/office/drawing/2014/main" id="{FFF3F0F4-E438-8B43-9815-3513B57DBF5E}"/>
              </a:ext>
            </a:extLst>
          </p:cNvPr>
          <p:cNvSpPr>
            <a:spLocks/>
          </p:cNvSpPr>
          <p:nvPr/>
        </p:nvSpPr>
        <p:spPr>
          <a:xfrm>
            <a:off x="4800175" y="4724347"/>
            <a:ext cx="324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32" name="Rectangle 99">
            <a:extLst>
              <a:ext uri="{FF2B5EF4-FFF2-40B4-BE49-F238E27FC236}">
                <a16:creationId xmlns:a16="http://schemas.microsoft.com/office/drawing/2014/main" id="{0596E707-B512-2142-BEA7-D9C9F5E056B9}"/>
              </a:ext>
            </a:extLst>
          </p:cNvPr>
          <p:cNvSpPr>
            <a:spLocks/>
          </p:cNvSpPr>
          <p:nvPr/>
        </p:nvSpPr>
        <p:spPr>
          <a:xfrm>
            <a:off x="4800175" y="4782614"/>
            <a:ext cx="32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a:t>
            </a:r>
          </a:p>
        </p:txBody>
      </p:sp>
      <p:cxnSp>
        <p:nvCxnSpPr>
          <p:cNvPr id="152" name="Straight Connector 18">
            <a:extLst>
              <a:ext uri="{FF2B5EF4-FFF2-40B4-BE49-F238E27FC236}">
                <a16:creationId xmlns:a16="http://schemas.microsoft.com/office/drawing/2014/main" id="{C905482B-7DE2-E348-9BC0-832FECAF0B88}"/>
              </a:ext>
            </a:extLst>
          </p:cNvPr>
          <p:cNvCxnSpPr>
            <a:cxnSpLocks/>
          </p:cNvCxnSpPr>
          <p:nvPr/>
        </p:nvCxnSpPr>
        <p:spPr>
          <a:xfrm flipH="1">
            <a:off x="1723075" y="2013579"/>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53" name="Группа 152">
            <a:extLst>
              <a:ext uri="{FF2B5EF4-FFF2-40B4-BE49-F238E27FC236}">
                <a16:creationId xmlns:a16="http://schemas.microsoft.com/office/drawing/2014/main" id="{90D89B95-9D6C-D346-AEB7-9C55C4D9F047}"/>
              </a:ext>
            </a:extLst>
          </p:cNvPr>
          <p:cNvGrpSpPr/>
          <p:nvPr/>
        </p:nvGrpSpPr>
        <p:grpSpPr>
          <a:xfrm>
            <a:off x="5452743" y="1034978"/>
            <a:ext cx="6399824" cy="503552"/>
            <a:chOff x="5406358" y="998167"/>
            <a:chExt cx="6399824" cy="503552"/>
          </a:xfrm>
        </p:grpSpPr>
        <p:sp>
          <p:nvSpPr>
            <p:cNvPr id="154" name="Rectangle 116">
              <a:extLst>
                <a:ext uri="{FF2B5EF4-FFF2-40B4-BE49-F238E27FC236}">
                  <a16:creationId xmlns:a16="http://schemas.microsoft.com/office/drawing/2014/main" id="{E7E18C8A-72E8-9742-BC22-17A73C4B9AAD}"/>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TBD</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55" name="Rectangle 116">
              <a:extLst>
                <a:ext uri="{FF2B5EF4-FFF2-40B4-BE49-F238E27FC236}">
                  <a16:creationId xmlns:a16="http://schemas.microsoft.com/office/drawing/2014/main" id="{C0FE2ACF-72A7-074E-915A-3C164C5B4144}"/>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56" name="Rectangle 116">
              <a:extLst>
                <a:ext uri="{FF2B5EF4-FFF2-40B4-BE49-F238E27FC236}">
                  <a16:creationId xmlns:a16="http://schemas.microsoft.com/office/drawing/2014/main" id="{9F9010F5-671F-1143-9F8A-C529E4E34D85}"/>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December 2019</a:t>
              </a:r>
            </a:p>
          </p:txBody>
        </p:sp>
        <p:sp>
          <p:nvSpPr>
            <p:cNvPr id="157" name="Rectangle 116">
              <a:extLst>
                <a:ext uri="{FF2B5EF4-FFF2-40B4-BE49-F238E27FC236}">
                  <a16:creationId xmlns:a16="http://schemas.microsoft.com/office/drawing/2014/main" id="{35BEF17E-AA4D-1644-90B9-956A56841218}"/>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58" name="Rectangle 116">
              <a:extLst>
                <a:ext uri="{FF2B5EF4-FFF2-40B4-BE49-F238E27FC236}">
                  <a16:creationId xmlns:a16="http://schemas.microsoft.com/office/drawing/2014/main" id="{28FF5C34-9CBF-064F-9931-D387ED1CC46A}"/>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8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60" name="Rectangle 116">
              <a:extLst>
                <a:ext uri="{FF2B5EF4-FFF2-40B4-BE49-F238E27FC236}">
                  <a16:creationId xmlns:a16="http://schemas.microsoft.com/office/drawing/2014/main" id="{716299D8-0B33-5E44-9D97-941A797D1C33}"/>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spTree>
    <p:extLst>
      <p:ext uri="{BB962C8B-B14F-4D97-AF65-F5344CB8AC3E}">
        <p14:creationId xmlns:p14="http://schemas.microsoft.com/office/powerpoint/2010/main" val="3634737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83283" y="43457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BPM Development</a:t>
            </a:r>
            <a:r>
              <a:rPr kumimoji="0" lang="en-US" sz="2041" b="0" i="0" u="none" strike="noStrike" kern="0" cap="none" spc="0" normalizeH="0" noProof="0" dirty="0">
                <a:ln>
                  <a:noFill/>
                </a:ln>
                <a:solidFill>
                  <a:srgbClr val="000000">
                    <a:lumMod val="95000"/>
                    <a:lumOff val="5000"/>
                  </a:srgbClr>
                </a:solidFill>
                <a:effectLst/>
                <a:uLnTx/>
                <a:uFillTx/>
                <a:latin typeface="Arial"/>
                <a:ea typeface="+mj-ea"/>
                <a:cs typeface="+mj-cs"/>
              </a:rPr>
              <a:t> SPK Module</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34175"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39196" y="4896457"/>
            <a:ext cx="1791689" cy="1759335"/>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lIns="93271" tIns="46635" rIns="93271" bIns="46635" rtlCol="0" anchor="ctr"/>
          <a:lstStyle/>
          <a:p>
            <a:pPr marL="171450" indent="-171450">
              <a:lnSpc>
                <a:spcPct val="90000"/>
              </a:lnSpc>
              <a:spcAft>
                <a:spcPts val="1000"/>
              </a:spcAft>
              <a:buFont typeface="Arial" panose="020B0604020202020204" pitchFamily="34" charset="0"/>
              <a:buChar char="•"/>
            </a:pPr>
            <a:endParaRPr lang="en-US" sz="1000" dirty="0">
              <a:solidFill>
                <a:schemeClr val="tx1"/>
              </a:solidFill>
              <a:latin typeface="Arial" panose="020B0604020202020204" pitchFamily="34" charset="0"/>
              <a:ea typeface="Times New Roman"/>
              <a:cs typeface="Arial" panose="020B0604020202020204" pitchFamily="34" charset="0"/>
            </a:endParaRPr>
          </a:p>
          <a:p>
            <a:pPr marL="171450" indent="-171450">
              <a:lnSpc>
                <a:spcPct val="90000"/>
              </a:lnSpc>
              <a:spcAft>
                <a:spcPts val="1000"/>
              </a:spcAft>
              <a:buFont typeface="Arial" panose="020B0604020202020204" pitchFamily="34" charset="0"/>
              <a:buChar char="•"/>
            </a:pPr>
            <a:r>
              <a:rPr lang="en-US" sz="1000" dirty="0">
                <a:solidFill>
                  <a:schemeClr val="tx1"/>
                </a:solidFill>
                <a:latin typeface="Arial" panose="020B0604020202020204" pitchFamily="34" charset="0"/>
                <a:ea typeface="Times New Roman"/>
                <a:cs typeface="Arial" panose="020B0604020202020204" pitchFamily="34" charset="0"/>
              </a:rPr>
              <a:t>Faster implementation of SPK transactions</a:t>
            </a:r>
          </a:p>
          <a:p>
            <a:pPr marL="171450" indent="-171450">
              <a:lnSpc>
                <a:spcPct val="90000"/>
              </a:lnSpc>
              <a:spcAft>
                <a:spcPts val="1000"/>
              </a:spcAft>
              <a:buFont typeface="Arial" panose="020B0604020202020204" pitchFamily="34" charset="0"/>
              <a:buChar char="•"/>
            </a:pPr>
            <a:r>
              <a:rPr lang="en-US" sz="1000" dirty="0">
                <a:solidFill>
                  <a:schemeClr val="tx1"/>
                </a:solidFill>
                <a:latin typeface="Arial" panose="020B0604020202020204" pitchFamily="34" charset="0"/>
                <a:ea typeface="Times New Roman"/>
                <a:cs typeface="Arial" panose="020B0604020202020204" pitchFamily="34" charset="0"/>
              </a:rPr>
              <a:t>Eliminating differences or errors that may arise between the SPK system and the Bank's internal systems</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39196" y="4850531"/>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336894"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Nigar Garibova</a:t>
            </a: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310" name="Группа 309">
            <a:extLst>
              <a:ext uri="{FF2B5EF4-FFF2-40B4-BE49-F238E27FC236}">
                <a16:creationId xmlns:a16="http://schemas.microsoft.com/office/drawing/2014/main" id="{1E3B3660-093E-EE45-A1C9-F07BED38F4AF}"/>
              </a:ext>
            </a:extLst>
          </p:cNvPr>
          <p:cNvGrpSpPr/>
          <p:nvPr/>
        </p:nvGrpSpPr>
        <p:grpSpPr>
          <a:xfrm>
            <a:off x="371475" y="1748764"/>
            <a:ext cx="6273754" cy="2860554"/>
            <a:chOff x="359978" y="1761011"/>
            <a:chExt cx="6273754" cy="2860554"/>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612592" y="221200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82456" y="22707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270765"/>
              <a:ext cx="1236389" cy="107464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az-Latn-AZ" sz="1100" noProof="0" dirty="0">
                  <a:solidFill>
                    <a:srgbClr val="FFFFFF"/>
                  </a:solidFill>
                </a:rPr>
                <a:t>Contact receipt</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865932" y="2689850"/>
              <a:ext cx="1166642" cy="216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870947" y="2731696"/>
              <a:ext cx="1064680" cy="140167"/>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az-Latn-AZ" sz="900" b="1" dirty="0">
                  <a:solidFill>
                    <a:prstClr val="white"/>
                  </a:solidFill>
                  <a:latin typeface="Arial"/>
                </a:rPr>
                <a:t>85%</a:t>
              </a:r>
              <a:endParaRPr lang="en-US" sz="900" b="1" dirty="0">
                <a:solidFill>
                  <a:prstClr val="white"/>
                </a:solidFill>
                <a:latin typeface="Arial"/>
              </a:endParaRP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239" y="3387403"/>
              <a:ext cx="1236389" cy="123416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az-Latn-AZ" sz="1100" b="1" i="0" u="none" strike="noStrike" kern="1200" cap="none" spc="0" normalizeH="0" baseline="0" noProof="0" dirty="0">
                  <a:ln>
                    <a:noFill/>
                  </a:ln>
                  <a:solidFill>
                    <a:srgbClr val="FFFFFF"/>
                  </a:solidFill>
                  <a:effectLst/>
                  <a:uLnTx/>
                  <a:uFillTx/>
                  <a:latin typeface="Arial"/>
                  <a:ea typeface="+mn-ea"/>
                  <a:cs typeface="+mn-cs"/>
                </a:rPr>
                <a:t>Contact send</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079388" y="3928676"/>
              <a:ext cx="1046103" cy="216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079726" y="3953895"/>
              <a:ext cx="540000" cy="167213"/>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az-Latn-AZ" sz="900" b="1" dirty="0">
                  <a:solidFill>
                    <a:schemeClr val="bg1"/>
                  </a:solidFill>
                  <a:latin typeface="Arial"/>
                </a:rPr>
                <a:t>30</a:t>
              </a:r>
              <a:r>
                <a:rPr lang="en-US" sz="900" b="1" dirty="0">
                  <a:solidFill>
                    <a:schemeClr val="bg1"/>
                  </a:solidFill>
                  <a:latin typeface="Arial"/>
                </a:rPr>
                <a:t>%</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93167" y="4953819"/>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3"/>
            <a:ext cx="1791689" cy="178967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indent="-171450" fontAlgn="base">
              <a:spcBef>
                <a:spcPct val="0"/>
              </a:spcBef>
              <a:spcAft>
                <a:spcPct val="0"/>
              </a:spcAft>
              <a:buFont typeface="Arial" panose="020B0604020202020204" pitchFamily="34" charset="0"/>
              <a:buChar char="•"/>
              <a:defRPr/>
            </a:pPr>
            <a:endParaRPr lang="en-US" sz="10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endParaRPr lang="en-US" sz="10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endParaRPr lang="en-US" sz="10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r>
              <a:rPr lang="en-US" sz="1000" dirty="0">
                <a:latin typeface="Arial" panose="020B0604020202020204" pitchFamily="34" charset="0"/>
                <a:ea typeface="Times New Roman"/>
                <a:cs typeface="Arial" panose="020B0604020202020204" pitchFamily="34" charset="0"/>
              </a:rPr>
              <a:t>Process improvement – became faster and easier to work with system</a:t>
            </a:r>
          </a:p>
          <a:p>
            <a:pPr marL="171450" indent="-171450" fontAlgn="base">
              <a:spcBef>
                <a:spcPct val="0"/>
              </a:spcBef>
              <a:spcAft>
                <a:spcPct val="0"/>
              </a:spcAft>
              <a:buFont typeface="Arial" panose="020B0604020202020204" pitchFamily="34" charset="0"/>
              <a:buChar char="•"/>
              <a:defRPr/>
            </a:pPr>
            <a:r>
              <a:rPr lang="en-US" sz="1000" dirty="0">
                <a:latin typeface="Arial" panose="020B0604020202020204" pitchFamily="34" charset="0"/>
                <a:ea typeface="Times New Roman"/>
                <a:cs typeface="Arial" panose="020B0604020202020204" pitchFamily="34" charset="0"/>
              </a:rPr>
              <a:t>Negotiations continue with Western Union for integrations</a:t>
            </a:r>
          </a:p>
          <a:p>
            <a:pPr marL="171450" indent="-171450" fontAlgn="base">
              <a:spcBef>
                <a:spcPct val="0"/>
              </a:spcBef>
              <a:spcAft>
                <a:spcPct val="0"/>
              </a:spcAft>
              <a:buFont typeface="Arial" panose="020B0604020202020204" pitchFamily="34" charset="0"/>
              <a:buChar char="•"/>
              <a:defRPr/>
            </a:pPr>
            <a:endParaRPr lang="az-Latn-AZ" sz="10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endParaRPr lang="az-Latn-AZ" sz="10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endParaRPr lang="en-US" sz="1000" dirty="0">
              <a:latin typeface="Arial" panose="020B0604020202020204" pitchFamily="34" charset="0"/>
              <a:ea typeface="Times New Roman"/>
              <a:cs typeface="Arial" panose="020B0604020202020204" pitchFamily="34" charset="0"/>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18"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21644" y="2185334"/>
            <a:ext cx="3601756" cy="4411297"/>
          </a:xfrm>
          <a:prstGeom prst="rect">
            <a:avLst/>
          </a:prstGeom>
          <a:solidFill>
            <a:srgbClr val="FFFFFF">
              <a:lumMod val="95000"/>
            </a:srgbClr>
          </a:solidFill>
          <a:ln w="19050" cap="flat" cmpd="sng" algn="ctr">
            <a:noFill/>
            <a:prstDash val="solid"/>
          </a:ln>
          <a:effectLst/>
        </p:spPr>
        <p:txBody>
          <a:bodyPr lIns="93271" tIns="46635" rIns="93271" bIns="46635" rtlCol="0" anchor="t"/>
          <a:lstStyle/>
          <a:p>
            <a:pPr lvl="0" fontAlgn="base">
              <a:spcBef>
                <a:spcPct val="0"/>
              </a:spcBef>
              <a:spcAft>
                <a:spcPct val="0"/>
              </a:spcAft>
              <a:defRPr/>
            </a:pPr>
            <a:r>
              <a:rPr lang="az-Latn-AZ" sz="1200" kern="0" dirty="0">
                <a:latin typeface="Arial"/>
                <a:sym typeface="+mn-lt"/>
              </a:rPr>
              <a:t>   </a:t>
            </a:r>
          </a:p>
          <a:p>
            <a:pPr lvl="0" fontAlgn="base">
              <a:spcBef>
                <a:spcPct val="0"/>
              </a:spcBef>
              <a:spcAft>
                <a:spcPct val="0"/>
              </a:spcAft>
              <a:defRPr/>
            </a:pPr>
            <a:r>
              <a:rPr lang="az-Latn-AZ" sz="1100" b="1" kern="0" dirty="0">
                <a:latin typeface="Arial"/>
                <a:sym typeface="+mn-lt"/>
              </a:rPr>
              <a:t>Retail business:</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a:latin typeface="Arial"/>
                <a:sym typeface="+mn-lt"/>
              </a:rPr>
              <a:t>BPM </a:t>
            </a:r>
            <a:r>
              <a:rPr lang="en-US" sz="1100" kern="0" dirty="0" err="1">
                <a:latin typeface="Arial"/>
                <a:sym typeface="+mn-lt"/>
              </a:rPr>
              <a:t>sisteminin</a:t>
            </a:r>
            <a:r>
              <a:rPr lang="en-US" sz="1100" kern="0" dirty="0">
                <a:latin typeface="Arial"/>
                <a:sym typeface="+mn-lt"/>
              </a:rPr>
              <a:t> </a:t>
            </a:r>
            <a:r>
              <a:rPr lang="en-US" sz="1100" kern="0" dirty="0" err="1">
                <a:latin typeface="Arial"/>
                <a:sym typeface="+mn-lt"/>
              </a:rPr>
              <a:t>imkanları</a:t>
            </a:r>
            <a:r>
              <a:rPr lang="en-US" sz="1100" kern="0" dirty="0">
                <a:latin typeface="Arial"/>
                <a:sym typeface="+mn-lt"/>
              </a:rPr>
              <a:t> </a:t>
            </a:r>
            <a:r>
              <a:rPr lang="en-US" sz="1100" kern="0" dirty="0" err="1">
                <a:latin typeface="Arial"/>
                <a:sym typeface="+mn-lt"/>
              </a:rPr>
              <a:t>ilə</a:t>
            </a:r>
            <a:r>
              <a:rPr lang="en-US" sz="1100" kern="0" dirty="0">
                <a:latin typeface="Arial"/>
                <a:sym typeface="+mn-lt"/>
              </a:rPr>
              <a:t> </a:t>
            </a:r>
            <a:r>
              <a:rPr lang="en-US" sz="1100" kern="0" dirty="0" err="1">
                <a:latin typeface="Arial"/>
                <a:sym typeface="+mn-lt"/>
              </a:rPr>
              <a:t>tanışlıq</a:t>
            </a:r>
            <a:r>
              <a:rPr lang="en-US" sz="1100" kern="0" dirty="0">
                <a:latin typeface="Arial"/>
                <a:sym typeface="+mn-lt"/>
              </a:rPr>
              <a:t> </a:t>
            </a:r>
            <a:r>
              <a:rPr lang="en-US" sz="1100" kern="0" dirty="0" err="1">
                <a:latin typeface="Arial"/>
                <a:sym typeface="+mn-lt"/>
              </a:rPr>
              <a:t>və</a:t>
            </a:r>
            <a:r>
              <a:rPr lang="en-US" sz="1100" kern="0" dirty="0">
                <a:latin typeface="Arial"/>
                <a:sym typeface="+mn-lt"/>
              </a:rPr>
              <a:t>  </a:t>
            </a:r>
            <a:r>
              <a:rPr lang="en-US" sz="1100" kern="0" dirty="0" err="1">
                <a:latin typeface="Arial"/>
                <a:sym typeface="+mn-lt"/>
              </a:rPr>
              <a:t>tələblərin</a:t>
            </a:r>
            <a:r>
              <a:rPr lang="en-US" sz="1100" kern="0" dirty="0">
                <a:latin typeface="Arial"/>
                <a:sym typeface="+mn-lt"/>
              </a:rPr>
              <a:t> </a:t>
            </a:r>
            <a:r>
              <a:rPr lang="en-US" sz="1100" kern="0" dirty="0" err="1">
                <a:latin typeface="Arial"/>
                <a:sym typeface="+mn-lt"/>
              </a:rPr>
              <a:t>müəyyən</a:t>
            </a:r>
            <a:r>
              <a:rPr lang="az-Latn-AZ" sz="1100" kern="0" dirty="0">
                <a:latin typeface="Arial"/>
                <a:sym typeface="+mn-lt"/>
              </a:rPr>
              <a:t> </a:t>
            </a:r>
            <a:r>
              <a:rPr lang="en-US" sz="1100" kern="0" dirty="0" err="1">
                <a:latin typeface="Arial"/>
                <a:sym typeface="+mn-lt"/>
              </a:rPr>
              <a:t>edilməsi</a:t>
            </a:r>
            <a:endParaRPr lang="en-US"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a:latin typeface="Arial"/>
                <a:sym typeface="+mn-lt"/>
              </a:rPr>
              <a:t>Contact </a:t>
            </a:r>
            <a:r>
              <a:rPr lang="en-US" sz="1100" kern="0" dirty="0" err="1">
                <a:latin typeface="Arial"/>
                <a:sym typeface="+mn-lt"/>
              </a:rPr>
              <a:t>qəbul</a:t>
            </a:r>
            <a:r>
              <a:rPr lang="en-US" sz="1100" kern="0" dirty="0">
                <a:latin typeface="Arial"/>
                <a:sym typeface="+mn-lt"/>
              </a:rPr>
              <a:t>- </a:t>
            </a:r>
            <a:r>
              <a:rPr lang="en-US" sz="1100" kern="0" dirty="0" err="1">
                <a:latin typeface="Arial"/>
                <a:sym typeface="+mn-lt"/>
              </a:rPr>
              <a:t>Ekran</a:t>
            </a:r>
            <a:r>
              <a:rPr lang="en-US" sz="1100" kern="0" dirty="0">
                <a:latin typeface="Arial"/>
                <a:sym typeface="+mn-lt"/>
              </a:rPr>
              <a:t> </a:t>
            </a:r>
            <a:r>
              <a:rPr lang="en-US" sz="1100" kern="0" dirty="0" err="1">
                <a:latin typeface="Arial"/>
                <a:sym typeface="+mn-lt"/>
              </a:rPr>
              <a:t>formasının</a:t>
            </a:r>
            <a:r>
              <a:rPr lang="en-US" sz="1100" kern="0" dirty="0">
                <a:latin typeface="Arial"/>
                <a:sym typeface="+mn-lt"/>
              </a:rPr>
              <a:t> </a:t>
            </a:r>
            <a:r>
              <a:rPr lang="en-US" sz="1100" kern="0" dirty="0" err="1">
                <a:latin typeface="Arial"/>
                <a:sym typeface="+mn-lt"/>
              </a:rPr>
              <a:t>hazırlanm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az-Latn-AZ" sz="1100" kern="0" dirty="0">
                <a:latin typeface="Arial"/>
                <a:sym typeface="+mn-lt"/>
              </a:rPr>
              <a:t>Tex</a:t>
            </a:r>
            <a:r>
              <a:rPr lang="en-US" sz="1100" kern="0" dirty="0" err="1">
                <a:latin typeface="Arial"/>
                <a:sym typeface="+mn-lt"/>
              </a:rPr>
              <a:t>niki</a:t>
            </a:r>
            <a:r>
              <a:rPr lang="en-US" sz="1100" kern="0" dirty="0">
                <a:latin typeface="Arial"/>
                <a:sym typeface="+mn-lt"/>
              </a:rPr>
              <a:t> </a:t>
            </a:r>
            <a:r>
              <a:rPr lang="en-US" sz="1100" kern="0" dirty="0" err="1">
                <a:latin typeface="Arial"/>
                <a:sym typeface="+mn-lt"/>
              </a:rPr>
              <a:t>tapşırığın</a:t>
            </a:r>
            <a:r>
              <a:rPr lang="en-US" sz="1100" kern="0" dirty="0">
                <a:latin typeface="Arial"/>
                <a:sym typeface="+mn-lt"/>
              </a:rPr>
              <a:t> </a:t>
            </a:r>
            <a:r>
              <a:rPr lang="en-US" sz="1100" kern="0" dirty="0" err="1">
                <a:latin typeface="Arial"/>
                <a:sym typeface="+mn-lt"/>
              </a:rPr>
              <a:t>hazırlanması</a:t>
            </a:r>
            <a:endParaRPr lang="en-US"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Çəkilmiş</a:t>
            </a:r>
            <a:r>
              <a:rPr lang="en-US" sz="1100" kern="0" dirty="0">
                <a:latin typeface="Arial"/>
                <a:sym typeface="+mn-lt"/>
              </a:rPr>
              <a:t> TO BE </a:t>
            </a:r>
            <a:r>
              <a:rPr lang="en-US" sz="1100" kern="0" dirty="0" err="1">
                <a:latin typeface="Arial"/>
                <a:sym typeface="+mn-lt"/>
              </a:rPr>
              <a:t>prosesə</a:t>
            </a:r>
            <a:r>
              <a:rPr lang="en-US" sz="1100" kern="0" dirty="0">
                <a:latin typeface="Arial"/>
                <a:sym typeface="+mn-lt"/>
              </a:rPr>
              <a:t> </a:t>
            </a:r>
            <a:r>
              <a:rPr lang="en-US" sz="1100" kern="0" dirty="0" err="1">
                <a:latin typeface="Arial"/>
                <a:sym typeface="+mn-lt"/>
              </a:rPr>
              <a:t>baxıb</a:t>
            </a:r>
            <a:r>
              <a:rPr lang="en-US" sz="1100" kern="0" dirty="0">
                <a:latin typeface="Arial"/>
                <a:sym typeface="+mn-lt"/>
              </a:rPr>
              <a:t> </a:t>
            </a:r>
            <a:r>
              <a:rPr lang="en-US" sz="1100" kern="0" dirty="0" err="1">
                <a:latin typeface="Arial"/>
                <a:sym typeface="+mn-lt"/>
              </a:rPr>
              <a:t>münasibət</a:t>
            </a:r>
            <a:r>
              <a:rPr lang="en-US" sz="1100" kern="0" dirty="0">
                <a:latin typeface="Arial"/>
                <a:sym typeface="+mn-lt"/>
              </a:rPr>
              <a:t> </a:t>
            </a:r>
            <a:r>
              <a:rPr lang="en-US" sz="1100" kern="0" dirty="0" err="1">
                <a:latin typeface="Arial"/>
                <a:sym typeface="+mn-lt"/>
              </a:rPr>
              <a:t>bildirmək</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Ediləcək</a:t>
            </a:r>
            <a:r>
              <a:rPr lang="en-US" sz="1100" kern="0" dirty="0">
                <a:latin typeface="Arial"/>
                <a:sym typeface="+mn-lt"/>
              </a:rPr>
              <a:t> </a:t>
            </a:r>
            <a:r>
              <a:rPr lang="en-US" sz="1100" kern="0" dirty="0" err="1">
                <a:latin typeface="Arial"/>
                <a:sym typeface="+mn-lt"/>
              </a:rPr>
              <a:t>əlavələrin</a:t>
            </a:r>
            <a:r>
              <a:rPr lang="en-US" sz="1100" kern="0" dirty="0">
                <a:latin typeface="Arial"/>
                <a:sym typeface="+mn-lt"/>
              </a:rPr>
              <a:t> Risk </a:t>
            </a:r>
            <a:r>
              <a:rPr lang="en-US" sz="1100" kern="0" dirty="0" err="1">
                <a:latin typeface="Arial"/>
                <a:sym typeface="+mn-lt"/>
              </a:rPr>
              <a:t>ilə</a:t>
            </a:r>
            <a:r>
              <a:rPr lang="en-US" sz="1100" kern="0" dirty="0">
                <a:latin typeface="Arial"/>
                <a:sym typeface="+mn-lt"/>
              </a:rPr>
              <a:t> </a:t>
            </a:r>
            <a:r>
              <a:rPr lang="en-US" sz="1100" kern="0" dirty="0" err="1">
                <a:latin typeface="Arial"/>
                <a:sym typeface="+mn-lt"/>
              </a:rPr>
              <a:t>razılaşdırılm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endParaRPr lang="az-Latn-AZ" sz="1100" kern="0" dirty="0">
              <a:latin typeface="Arial"/>
              <a:sym typeface="+mn-lt"/>
            </a:endParaRPr>
          </a:p>
          <a:p>
            <a:pPr lvl="0" fontAlgn="base">
              <a:spcBef>
                <a:spcPct val="0"/>
              </a:spcBef>
              <a:spcAft>
                <a:spcPct val="0"/>
              </a:spcAft>
              <a:defRPr/>
            </a:pPr>
            <a:r>
              <a:rPr lang="az-Latn-AZ" sz="1100" b="1" kern="0" dirty="0">
                <a:latin typeface="Arial"/>
                <a:sym typeface="+mn-lt"/>
              </a:rPr>
              <a:t>Development:</a:t>
            </a: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Sistem</a:t>
            </a:r>
            <a:r>
              <a:rPr lang="en-US" sz="1100" kern="0" dirty="0">
                <a:latin typeface="Arial"/>
                <a:sym typeface="+mn-lt"/>
              </a:rPr>
              <a:t> </a:t>
            </a:r>
            <a:r>
              <a:rPr lang="en-US" sz="1100" kern="0" dirty="0" err="1">
                <a:latin typeface="Arial"/>
                <a:sym typeface="+mn-lt"/>
              </a:rPr>
              <a:t>üzrə</a:t>
            </a:r>
            <a:r>
              <a:rPr lang="en-US" sz="1100" kern="0" dirty="0">
                <a:latin typeface="Arial"/>
                <a:sym typeface="+mn-lt"/>
              </a:rPr>
              <a:t> </a:t>
            </a:r>
            <a:r>
              <a:rPr lang="en-US" sz="1100" kern="0" dirty="0" err="1">
                <a:latin typeface="Arial"/>
                <a:sym typeface="+mn-lt"/>
              </a:rPr>
              <a:t>ineqrasiya</a:t>
            </a:r>
            <a:r>
              <a:rPr lang="en-US" sz="1100" kern="0" dirty="0">
                <a:latin typeface="Arial"/>
                <a:sym typeface="+mn-lt"/>
              </a:rPr>
              <a:t> </a:t>
            </a:r>
            <a:r>
              <a:rPr lang="en-US" sz="1100" kern="0" dirty="0" err="1">
                <a:latin typeface="Arial"/>
                <a:sym typeface="+mn-lt"/>
              </a:rPr>
              <a:t>imkanlarının</a:t>
            </a:r>
            <a:r>
              <a:rPr lang="en-US" sz="1100" kern="0" dirty="0">
                <a:latin typeface="Arial"/>
                <a:sym typeface="+mn-lt"/>
              </a:rPr>
              <a:t> </a:t>
            </a:r>
            <a:r>
              <a:rPr lang="en-US" sz="1100" kern="0" dirty="0" err="1">
                <a:latin typeface="Arial"/>
                <a:sym typeface="+mn-lt"/>
              </a:rPr>
              <a:t>araşdırılması</a:t>
            </a:r>
            <a:r>
              <a:rPr lang="en-US" sz="1100" kern="0" dirty="0">
                <a:latin typeface="Arial"/>
                <a:sym typeface="+mn-lt"/>
              </a:rPr>
              <a:t> </a:t>
            </a:r>
            <a:r>
              <a:rPr lang="en-US" sz="1100" kern="0" dirty="0" err="1">
                <a:latin typeface="Arial"/>
                <a:sym typeface="+mn-lt"/>
              </a:rPr>
              <a:t>və</a:t>
            </a:r>
            <a:r>
              <a:rPr lang="en-US" sz="1100" kern="0" dirty="0">
                <a:latin typeface="Arial"/>
                <a:sym typeface="+mn-lt"/>
              </a:rPr>
              <a:t> </a:t>
            </a:r>
            <a:r>
              <a:rPr lang="en-US" sz="1100" kern="0" dirty="0" err="1">
                <a:latin typeface="Arial"/>
                <a:sym typeface="+mn-lt"/>
              </a:rPr>
              <a:t>tələblərin</a:t>
            </a:r>
            <a:r>
              <a:rPr lang="en-US" sz="1100" kern="0" dirty="0">
                <a:latin typeface="Arial"/>
                <a:sym typeface="+mn-lt"/>
              </a:rPr>
              <a:t> </a:t>
            </a:r>
            <a:r>
              <a:rPr lang="en-US" sz="1100" kern="0" dirty="0" err="1">
                <a:latin typeface="Arial"/>
                <a:sym typeface="+mn-lt"/>
              </a:rPr>
              <a:t>müəyyən</a:t>
            </a:r>
            <a:r>
              <a:rPr lang="en-US" sz="1100" kern="0" dirty="0">
                <a:latin typeface="Arial"/>
                <a:sym typeface="+mn-lt"/>
              </a:rPr>
              <a:t> </a:t>
            </a:r>
            <a:r>
              <a:rPr lang="en-US" sz="1100" kern="0" dirty="0" err="1">
                <a:latin typeface="Arial"/>
                <a:sym typeface="+mn-lt"/>
              </a:rPr>
              <a:t>edilməsi</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Qəbul</a:t>
            </a:r>
            <a:r>
              <a:rPr lang="en-US" sz="1100" kern="0" dirty="0">
                <a:latin typeface="Arial"/>
                <a:sym typeface="+mn-lt"/>
              </a:rPr>
              <a:t> </a:t>
            </a:r>
            <a:r>
              <a:rPr lang="en-US" sz="1100" kern="0" dirty="0" err="1">
                <a:latin typeface="Arial"/>
                <a:sym typeface="+mn-lt"/>
              </a:rPr>
              <a:t>üzrə</a:t>
            </a:r>
            <a:r>
              <a:rPr lang="en-US" sz="1100" kern="0" dirty="0">
                <a:latin typeface="Arial"/>
                <a:sym typeface="+mn-lt"/>
              </a:rPr>
              <a:t> </a:t>
            </a:r>
            <a:r>
              <a:rPr lang="en-US" sz="1100" kern="0" dirty="0" err="1">
                <a:latin typeface="Arial"/>
                <a:sym typeface="+mn-lt"/>
              </a:rPr>
              <a:t>servisin</a:t>
            </a:r>
            <a:r>
              <a:rPr lang="en-US" sz="1100" kern="0" dirty="0">
                <a:latin typeface="Arial"/>
                <a:sym typeface="+mn-lt"/>
              </a:rPr>
              <a:t> </a:t>
            </a:r>
            <a:r>
              <a:rPr lang="en-US" sz="1100" kern="0" dirty="0" err="1">
                <a:latin typeface="Arial"/>
                <a:sym typeface="+mn-lt"/>
              </a:rPr>
              <a:t>yazılm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Servisin</a:t>
            </a:r>
            <a:r>
              <a:rPr lang="en-US" sz="1100" kern="0" dirty="0">
                <a:latin typeface="Arial"/>
                <a:sym typeface="+mn-lt"/>
              </a:rPr>
              <a:t> BPM-</a:t>
            </a:r>
            <a:r>
              <a:rPr lang="en-US" sz="1100" kern="0" dirty="0" err="1">
                <a:latin typeface="Arial"/>
                <a:sym typeface="+mn-lt"/>
              </a:rPr>
              <a:t>də</a:t>
            </a:r>
            <a:r>
              <a:rPr lang="en-US" sz="1100" kern="0" dirty="0">
                <a:latin typeface="Arial"/>
                <a:sym typeface="+mn-lt"/>
              </a:rPr>
              <a:t> </a:t>
            </a:r>
            <a:r>
              <a:rPr lang="en-US" sz="1100" kern="0" dirty="0" err="1">
                <a:latin typeface="Arial"/>
                <a:sym typeface="+mn-lt"/>
              </a:rPr>
              <a:t>inteqrasiy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a:latin typeface="Arial"/>
                <a:sym typeface="+mn-lt"/>
              </a:rPr>
              <a:t>an </a:t>
            </a:r>
            <a:r>
              <a:rPr lang="en-US" sz="1100" kern="0" dirty="0" err="1">
                <a:latin typeface="Arial"/>
                <a:sym typeface="+mn-lt"/>
              </a:rPr>
              <a:t>formasının</a:t>
            </a:r>
            <a:r>
              <a:rPr lang="en-US" sz="1100" kern="0" dirty="0">
                <a:latin typeface="Arial"/>
                <a:sym typeface="+mn-lt"/>
              </a:rPr>
              <a:t> </a:t>
            </a:r>
            <a:r>
              <a:rPr lang="en-US" sz="1100" kern="0" dirty="0" err="1">
                <a:latin typeface="Arial"/>
                <a:sym typeface="+mn-lt"/>
              </a:rPr>
              <a:t>hazırlanm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Müştəri</a:t>
            </a:r>
            <a:r>
              <a:rPr lang="en-US" sz="1100" kern="0" dirty="0">
                <a:latin typeface="Arial"/>
                <a:sym typeface="+mn-lt"/>
              </a:rPr>
              <a:t> </a:t>
            </a:r>
            <a:r>
              <a:rPr lang="en-US" sz="1100" kern="0" dirty="0" err="1">
                <a:latin typeface="Arial"/>
                <a:sym typeface="+mn-lt"/>
              </a:rPr>
              <a:t>axtarışı</a:t>
            </a:r>
            <a:r>
              <a:rPr lang="en-US" sz="1100" kern="0" dirty="0">
                <a:latin typeface="Arial"/>
                <a:sym typeface="+mn-lt"/>
              </a:rPr>
              <a:t> - </a:t>
            </a:r>
            <a:r>
              <a:rPr lang="en-US" sz="1100" kern="0" dirty="0" err="1">
                <a:latin typeface="Arial"/>
                <a:sym typeface="+mn-lt"/>
              </a:rPr>
              <a:t>ekran</a:t>
            </a:r>
            <a:r>
              <a:rPr lang="en-US" sz="1100" kern="0" dirty="0">
                <a:latin typeface="Arial"/>
                <a:sym typeface="+mn-lt"/>
              </a:rPr>
              <a:t> </a:t>
            </a:r>
            <a:r>
              <a:rPr lang="en-US" sz="1100" kern="0" dirty="0" err="1">
                <a:latin typeface="Arial"/>
                <a:sym typeface="+mn-lt"/>
              </a:rPr>
              <a:t>forması</a:t>
            </a:r>
            <a:r>
              <a:rPr lang="en-US" sz="1100" kern="0" dirty="0">
                <a:latin typeface="Arial"/>
                <a:sym typeface="+mn-lt"/>
              </a:rPr>
              <a:t> </a:t>
            </a:r>
            <a:r>
              <a:rPr lang="en-US" sz="1100" kern="0" dirty="0" err="1">
                <a:latin typeface="Arial"/>
                <a:sym typeface="+mn-lt"/>
              </a:rPr>
              <a:t>və</a:t>
            </a:r>
            <a:r>
              <a:rPr lang="en-US" sz="1100" kern="0" dirty="0">
                <a:latin typeface="Arial"/>
                <a:sym typeface="+mn-lt"/>
              </a:rPr>
              <a:t> </a:t>
            </a:r>
            <a:r>
              <a:rPr lang="en-US" sz="1100" kern="0" dirty="0" err="1">
                <a:latin typeface="Arial"/>
                <a:sym typeface="+mn-lt"/>
              </a:rPr>
              <a:t>validasiyası</a:t>
            </a:r>
            <a:r>
              <a:rPr lang="en-US" sz="1100" kern="0" dirty="0">
                <a:latin typeface="Arial"/>
                <a:sym typeface="+mn-lt"/>
              </a:rPr>
              <a:t> </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Kalkulyator</a:t>
            </a:r>
            <a:r>
              <a:rPr lang="en-US" sz="1100" kern="0" dirty="0">
                <a:latin typeface="Arial"/>
                <a:sym typeface="+mn-lt"/>
              </a:rPr>
              <a:t> </a:t>
            </a:r>
            <a:r>
              <a:rPr lang="en-US" sz="1100" kern="0" dirty="0" err="1">
                <a:latin typeface="Arial"/>
                <a:sym typeface="+mn-lt"/>
              </a:rPr>
              <a:t>imkan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a:latin typeface="Arial"/>
                <a:sym typeface="+mn-lt"/>
              </a:rPr>
              <a:t>ASAN</a:t>
            </a:r>
            <a:r>
              <a:rPr lang="az-Latn-AZ" sz="1100" kern="0" dirty="0">
                <a:latin typeface="Arial"/>
                <a:sym typeface="+mn-lt"/>
              </a:rPr>
              <a:t>/KYC İBRES/BPM</a:t>
            </a: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Qəbul</a:t>
            </a:r>
            <a:r>
              <a:rPr lang="en-US" sz="1100" kern="0" dirty="0">
                <a:latin typeface="Arial"/>
                <a:sym typeface="+mn-lt"/>
              </a:rPr>
              <a:t> </a:t>
            </a:r>
            <a:r>
              <a:rPr lang="en-US" sz="1100" kern="0" dirty="0" err="1">
                <a:latin typeface="Arial"/>
                <a:sym typeface="+mn-lt"/>
              </a:rPr>
              <a:t>üzrə</a:t>
            </a:r>
            <a:r>
              <a:rPr lang="en-US" sz="1100" kern="0" dirty="0">
                <a:latin typeface="Arial"/>
                <a:sym typeface="+mn-lt"/>
              </a:rPr>
              <a:t> </a:t>
            </a:r>
            <a:r>
              <a:rPr lang="en-US" sz="1100" kern="0" dirty="0" err="1">
                <a:latin typeface="Arial"/>
                <a:sym typeface="+mn-lt"/>
              </a:rPr>
              <a:t>axtarış</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100" kern="0" dirty="0" err="1">
                <a:latin typeface="Arial"/>
                <a:sym typeface="+mn-lt"/>
              </a:rPr>
              <a:t>Çap</a:t>
            </a:r>
            <a:r>
              <a:rPr lang="en-US" sz="1100" kern="0" dirty="0">
                <a:latin typeface="Arial"/>
                <a:sym typeface="+mn-lt"/>
              </a:rPr>
              <a:t> </a:t>
            </a:r>
            <a:r>
              <a:rPr lang="en-US" sz="1100" kern="0" dirty="0" err="1">
                <a:latin typeface="Arial"/>
                <a:sym typeface="+mn-lt"/>
              </a:rPr>
              <a:t>sənədlərinin</a:t>
            </a:r>
            <a:r>
              <a:rPr lang="en-US" sz="1100" kern="0" dirty="0">
                <a:latin typeface="Arial"/>
                <a:sym typeface="+mn-lt"/>
              </a:rPr>
              <a:t> </a:t>
            </a:r>
            <a:r>
              <a:rPr lang="en-US" sz="1100" kern="0" dirty="0" err="1">
                <a:latin typeface="Arial"/>
                <a:sym typeface="+mn-lt"/>
              </a:rPr>
              <a:t>hazırlanması</a:t>
            </a:r>
            <a:endParaRPr lang="az-Latn-AZ" sz="1100" kern="0" dirty="0">
              <a:latin typeface="Arial"/>
              <a:sym typeface="+mn-lt"/>
            </a:endParaRPr>
          </a:p>
          <a:p>
            <a:pPr marL="171450" lvl="0" indent="-171450" fontAlgn="base">
              <a:spcBef>
                <a:spcPct val="0"/>
              </a:spcBef>
              <a:spcAft>
                <a:spcPct val="0"/>
              </a:spcAft>
              <a:buFont typeface="Arial" panose="020B0604020202020204" pitchFamily="34" charset="0"/>
              <a:buChar char="•"/>
              <a:defRPr/>
            </a:pPr>
            <a:r>
              <a:rPr lang="az-Latn-AZ" sz="1100" kern="0" dirty="0">
                <a:latin typeface="Arial"/>
                <a:sym typeface="+mn-lt"/>
              </a:rPr>
              <a:t>Completed spk:</a:t>
            </a:r>
          </a:p>
          <a:p>
            <a:pPr marL="171450" lvl="0" indent="-171450" fontAlgn="base">
              <a:spcBef>
                <a:spcPct val="0"/>
              </a:spcBef>
              <a:spcAft>
                <a:spcPct val="0"/>
              </a:spcAft>
              <a:buFont typeface="Arial" panose="020B0604020202020204" pitchFamily="34" charset="0"/>
              <a:buChar char="•"/>
              <a:defRPr/>
            </a:pPr>
            <a:r>
              <a:rPr lang="az-Latn-AZ" sz="1100" kern="0" dirty="0">
                <a:latin typeface="Arial"/>
                <a:sym typeface="+mn-lt"/>
              </a:rPr>
              <a:t>Contact receipt 20%</a:t>
            </a:r>
            <a:endParaRPr lang="en-US" sz="1100" kern="0" dirty="0">
              <a:latin typeface="Arial"/>
              <a:sym typeface="+mn-lt"/>
            </a:endParaRPr>
          </a:p>
        </p:txBody>
      </p:sp>
      <p:sp>
        <p:nvSpPr>
          <p:cNvPr id="119"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1916832"/>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grpSp>
        <p:nvGrpSpPr>
          <p:cNvPr id="114" name="Группа 113">
            <a:extLst>
              <a:ext uri="{FF2B5EF4-FFF2-40B4-BE49-F238E27FC236}">
                <a16:creationId xmlns:a16="http://schemas.microsoft.com/office/drawing/2014/main" id="{B7D5565F-23AF-D14A-8DD2-543668CB9EC7}"/>
              </a:ext>
            </a:extLst>
          </p:cNvPr>
          <p:cNvGrpSpPr/>
          <p:nvPr/>
        </p:nvGrpSpPr>
        <p:grpSpPr>
          <a:xfrm>
            <a:off x="5452743" y="1034978"/>
            <a:ext cx="6399824" cy="503552"/>
            <a:chOff x="5406358" y="998167"/>
            <a:chExt cx="6399824" cy="503552"/>
          </a:xfrm>
        </p:grpSpPr>
        <p:sp>
          <p:nvSpPr>
            <p:cNvPr id="115" name="Rectangle 116">
              <a:extLst>
                <a:ext uri="{FF2B5EF4-FFF2-40B4-BE49-F238E27FC236}">
                  <a16:creationId xmlns:a16="http://schemas.microsoft.com/office/drawing/2014/main" id="{D5150472-DFEE-934F-A132-C306FCE3DF5D}"/>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December 202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16" name="Rectangle 116">
              <a:extLst>
                <a:ext uri="{FF2B5EF4-FFF2-40B4-BE49-F238E27FC236}">
                  <a16:creationId xmlns:a16="http://schemas.microsoft.com/office/drawing/2014/main" id="{594A1550-FB96-6B47-BFF7-B236BC6550AE}"/>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17" name="Rectangle 116">
              <a:extLst>
                <a:ext uri="{FF2B5EF4-FFF2-40B4-BE49-F238E27FC236}">
                  <a16:creationId xmlns:a16="http://schemas.microsoft.com/office/drawing/2014/main" id="{44079287-5E8D-8349-A7B2-1983F0B892FA}"/>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July 2020</a:t>
              </a:r>
            </a:p>
          </p:txBody>
        </p:sp>
        <p:sp>
          <p:nvSpPr>
            <p:cNvPr id="120" name="Rectangle 116">
              <a:extLst>
                <a:ext uri="{FF2B5EF4-FFF2-40B4-BE49-F238E27FC236}">
                  <a16:creationId xmlns:a16="http://schemas.microsoft.com/office/drawing/2014/main" id="{5A987C01-87A8-1E4D-A9AD-841800E3057A}"/>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21" name="Rectangle 116">
              <a:extLst>
                <a:ext uri="{FF2B5EF4-FFF2-40B4-BE49-F238E27FC236}">
                  <a16:creationId xmlns:a16="http://schemas.microsoft.com/office/drawing/2014/main" id="{C287CCD9-4C37-194F-9DAB-FF86FC9F8A4C}"/>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4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2" name="Rectangle 116">
              <a:extLst>
                <a:ext uri="{FF2B5EF4-FFF2-40B4-BE49-F238E27FC236}">
                  <a16:creationId xmlns:a16="http://schemas.microsoft.com/office/drawing/2014/main" id="{C00420CF-5751-7B49-9B0B-2FA04F0BAE37}"/>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cxnSp>
        <p:nvCxnSpPr>
          <p:cNvPr id="123" name="Straight Connector 95">
            <a:extLst>
              <a:ext uri="{FF2B5EF4-FFF2-40B4-BE49-F238E27FC236}">
                <a16:creationId xmlns:a16="http://schemas.microsoft.com/office/drawing/2014/main" id="{A117E31A-4379-744C-8E38-0766224009FA}"/>
              </a:ext>
            </a:extLst>
          </p:cNvPr>
          <p:cNvCxnSpPr/>
          <p:nvPr/>
        </p:nvCxnSpPr>
        <p:spPr>
          <a:xfrm>
            <a:off x="6646465" y="224283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 name="Straight Connector 88">
            <a:extLst>
              <a:ext uri="{FF2B5EF4-FFF2-40B4-BE49-F238E27FC236}">
                <a16:creationId xmlns:a16="http://schemas.microsoft.com/office/drawing/2014/main" id="{0CB053ED-3FCF-B94B-A477-07FEAE682A1E}"/>
              </a:ext>
            </a:extLst>
          </p:cNvPr>
          <p:cNvCxnSpPr/>
          <p:nvPr/>
        </p:nvCxnSpPr>
        <p:spPr>
          <a:xfrm>
            <a:off x="6916593" y="223805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5" name="Straight Connector 89">
            <a:extLst>
              <a:ext uri="{FF2B5EF4-FFF2-40B4-BE49-F238E27FC236}">
                <a16:creationId xmlns:a16="http://schemas.microsoft.com/office/drawing/2014/main" id="{50255CBC-5AA6-E949-976D-618FD70E33D5}"/>
              </a:ext>
            </a:extLst>
          </p:cNvPr>
          <p:cNvCxnSpPr/>
          <p:nvPr/>
        </p:nvCxnSpPr>
        <p:spPr>
          <a:xfrm>
            <a:off x="7186458" y="223805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6" name="Straight Connector 90">
            <a:extLst>
              <a:ext uri="{FF2B5EF4-FFF2-40B4-BE49-F238E27FC236}">
                <a16:creationId xmlns:a16="http://schemas.microsoft.com/office/drawing/2014/main" id="{3858AB03-0254-754C-9DA9-7C5758EED4D7}"/>
              </a:ext>
            </a:extLst>
          </p:cNvPr>
          <p:cNvCxnSpPr/>
          <p:nvPr/>
        </p:nvCxnSpPr>
        <p:spPr>
          <a:xfrm>
            <a:off x="7456322" y="223805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7" name="Straight Connector 91">
            <a:extLst>
              <a:ext uri="{FF2B5EF4-FFF2-40B4-BE49-F238E27FC236}">
                <a16:creationId xmlns:a16="http://schemas.microsoft.com/office/drawing/2014/main" id="{DE4F66FE-E505-E844-AF18-485FDA916B29}"/>
              </a:ext>
            </a:extLst>
          </p:cNvPr>
          <p:cNvCxnSpPr/>
          <p:nvPr/>
        </p:nvCxnSpPr>
        <p:spPr>
          <a:xfrm>
            <a:off x="7726187" y="223805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8" name="Rectangle 10">
            <a:extLst>
              <a:ext uri="{FF2B5EF4-FFF2-40B4-BE49-F238E27FC236}">
                <a16:creationId xmlns:a16="http://schemas.microsoft.com/office/drawing/2014/main" id="{441DA5C3-FC83-C244-BC15-82F5560AADA1}"/>
              </a:ext>
            </a:extLst>
          </p:cNvPr>
          <p:cNvSpPr txBox="1">
            <a:spLocks/>
          </p:cNvSpPr>
          <p:nvPr/>
        </p:nvSpPr>
        <p:spPr>
          <a:xfrm>
            <a:off x="6654752" y="198100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29" name="Straight Connector 45">
            <a:extLst>
              <a:ext uri="{FF2B5EF4-FFF2-40B4-BE49-F238E27FC236}">
                <a16:creationId xmlns:a16="http://schemas.microsoft.com/office/drawing/2014/main" id="{85A0CBC3-C41A-4148-9B87-7C7E83EEFE83}"/>
              </a:ext>
            </a:extLst>
          </p:cNvPr>
          <p:cNvCxnSpPr>
            <a:cxnSpLocks/>
          </p:cNvCxnSpPr>
          <p:nvPr/>
        </p:nvCxnSpPr>
        <p:spPr>
          <a:xfrm flipH="1">
            <a:off x="6654752" y="221528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0" name="Rectangle 10">
            <a:extLst>
              <a:ext uri="{FF2B5EF4-FFF2-40B4-BE49-F238E27FC236}">
                <a16:creationId xmlns:a16="http://schemas.microsoft.com/office/drawing/2014/main" id="{1B80AE08-0E92-D845-8963-784037CA9705}"/>
              </a:ext>
            </a:extLst>
          </p:cNvPr>
          <p:cNvSpPr txBox="1">
            <a:spLocks/>
          </p:cNvSpPr>
          <p:nvPr/>
        </p:nvSpPr>
        <p:spPr>
          <a:xfrm>
            <a:off x="6924616" y="198100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31" name="Straight Connector 48">
            <a:extLst>
              <a:ext uri="{FF2B5EF4-FFF2-40B4-BE49-F238E27FC236}">
                <a16:creationId xmlns:a16="http://schemas.microsoft.com/office/drawing/2014/main" id="{596AE809-E5B2-9A45-B8CF-E1F424C714AF}"/>
              </a:ext>
            </a:extLst>
          </p:cNvPr>
          <p:cNvCxnSpPr>
            <a:cxnSpLocks/>
          </p:cNvCxnSpPr>
          <p:nvPr/>
        </p:nvCxnSpPr>
        <p:spPr>
          <a:xfrm flipH="1">
            <a:off x="6924616" y="221528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2" name="Rectangle 10">
            <a:extLst>
              <a:ext uri="{FF2B5EF4-FFF2-40B4-BE49-F238E27FC236}">
                <a16:creationId xmlns:a16="http://schemas.microsoft.com/office/drawing/2014/main" id="{FD1C5595-CA09-E24D-8D5B-CEEDEED7D80E}"/>
              </a:ext>
            </a:extLst>
          </p:cNvPr>
          <p:cNvSpPr txBox="1">
            <a:spLocks/>
          </p:cNvSpPr>
          <p:nvPr/>
        </p:nvSpPr>
        <p:spPr>
          <a:xfrm>
            <a:off x="7194481" y="198100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133" name="Straight Connector 51">
            <a:extLst>
              <a:ext uri="{FF2B5EF4-FFF2-40B4-BE49-F238E27FC236}">
                <a16:creationId xmlns:a16="http://schemas.microsoft.com/office/drawing/2014/main" id="{BC01E100-0502-9643-9F01-59BC1EFC671B}"/>
              </a:ext>
            </a:extLst>
          </p:cNvPr>
          <p:cNvCxnSpPr>
            <a:cxnSpLocks/>
          </p:cNvCxnSpPr>
          <p:nvPr/>
        </p:nvCxnSpPr>
        <p:spPr>
          <a:xfrm flipH="1">
            <a:off x="7194481" y="221528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4" name="Rectangle 10">
            <a:extLst>
              <a:ext uri="{FF2B5EF4-FFF2-40B4-BE49-F238E27FC236}">
                <a16:creationId xmlns:a16="http://schemas.microsoft.com/office/drawing/2014/main" id="{34671B05-39D6-CC41-8DF5-D9CAB501EF3C}"/>
              </a:ext>
            </a:extLst>
          </p:cNvPr>
          <p:cNvSpPr txBox="1">
            <a:spLocks/>
          </p:cNvSpPr>
          <p:nvPr/>
        </p:nvSpPr>
        <p:spPr>
          <a:xfrm>
            <a:off x="7464346" y="198100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35" name="Straight Connector 54">
            <a:extLst>
              <a:ext uri="{FF2B5EF4-FFF2-40B4-BE49-F238E27FC236}">
                <a16:creationId xmlns:a16="http://schemas.microsoft.com/office/drawing/2014/main" id="{C31CCA16-8A09-CC47-A6F1-C503003AE0DF}"/>
              </a:ext>
            </a:extLst>
          </p:cNvPr>
          <p:cNvCxnSpPr>
            <a:cxnSpLocks/>
          </p:cNvCxnSpPr>
          <p:nvPr/>
        </p:nvCxnSpPr>
        <p:spPr>
          <a:xfrm flipH="1">
            <a:off x="7464346" y="221528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6" name="Rectangle 10">
            <a:extLst>
              <a:ext uri="{FF2B5EF4-FFF2-40B4-BE49-F238E27FC236}">
                <a16:creationId xmlns:a16="http://schemas.microsoft.com/office/drawing/2014/main" id="{403FD6C1-1643-DE4A-9676-FB75FFAD6D40}"/>
              </a:ext>
            </a:extLst>
          </p:cNvPr>
          <p:cNvSpPr txBox="1">
            <a:spLocks/>
          </p:cNvSpPr>
          <p:nvPr/>
        </p:nvSpPr>
        <p:spPr>
          <a:xfrm>
            <a:off x="7734211" y="1981001"/>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37" name="Straight Connector 57">
            <a:extLst>
              <a:ext uri="{FF2B5EF4-FFF2-40B4-BE49-F238E27FC236}">
                <a16:creationId xmlns:a16="http://schemas.microsoft.com/office/drawing/2014/main" id="{67D5F7AB-8878-A843-8446-F035C1836ECE}"/>
              </a:ext>
            </a:extLst>
          </p:cNvPr>
          <p:cNvCxnSpPr>
            <a:cxnSpLocks/>
          </p:cNvCxnSpPr>
          <p:nvPr/>
        </p:nvCxnSpPr>
        <p:spPr>
          <a:xfrm flipH="1">
            <a:off x="7734211" y="2215286"/>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8" name="Rectangle 10">
            <a:extLst>
              <a:ext uri="{FF2B5EF4-FFF2-40B4-BE49-F238E27FC236}">
                <a16:creationId xmlns:a16="http://schemas.microsoft.com/office/drawing/2014/main" id="{573DF6B8-D426-B84D-8240-1FE896108FB6}"/>
              </a:ext>
            </a:extLst>
          </p:cNvPr>
          <p:cNvSpPr txBox="1">
            <a:spLocks/>
          </p:cNvSpPr>
          <p:nvPr/>
        </p:nvSpPr>
        <p:spPr>
          <a:xfrm>
            <a:off x="6692630" y="1765466"/>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2</a:t>
            </a:r>
          </a:p>
        </p:txBody>
      </p:sp>
      <p:cxnSp>
        <p:nvCxnSpPr>
          <p:cNvPr id="139" name="Straight Connector 54">
            <a:extLst>
              <a:ext uri="{FF2B5EF4-FFF2-40B4-BE49-F238E27FC236}">
                <a16:creationId xmlns:a16="http://schemas.microsoft.com/office/drawing/2014/main" id="{63E0F836-3C22-0845-BE0C-EF095BC8B3BF}"/>
              </a:ext>
            </a:extLst>
          </p:cNvPr>
          <p:cNvCxnSpPr>
            <a:cxnSpLocks/>
          </p:cNvCxnSpPr>
          <p:nvPr/>
        </p:nvCxnSpPr>
        <p:spPr>
          <a:xfrm flipH="1">
            <a:off x="6682462" y="1979951"/>
            <a:ext cx="126795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620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az-Latn-AZ" kern="0" dirty="0">
                <a:solidFill>
                  <a:srgbClr val="000000">
                    <a:lumMod val="95000"/>
                    <a:lumOff val="5000"/>
                  </a:srgbClr>
                </a:solidFill>
                <a:latin typeface="Arial"/>
              </a:rPr>
              <a:t>Strategy and Business Planning</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567463"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STRATE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indent="-171450" fontAlgn="base">
              <a:spcBef>
                <a:spcPct val="0"/>
              </a:spcBef>
              <a:spcAft>
                <a:spcPct val="0"/>
              </a:spcAft>
              <a:buFont typeface="Arial" panose="020B0604020202020204" pitchFamily="34" charset="0"/>
              <a:buChar char="•"/>
              <a:defRPr/>
            </a:pPr>
            <a:r>
              <a:rPr lang="en-US" sz="1100" dirty="0">
                <a:latin typeface="Arial" panose="020B0604020202020204" pitchFamily="34" charset="0"/>
                <a:ea typeface="Times New Roman"/>
                <a:cs typeface="Arial" panose="020B0604020202020204" pitchFamily="34" charset="0"/>
              </a:rPr>
              <a:t>Outcome of the first mini strategic session</a:t>
            </a:r>
          </a:p>
          <a:p>
            <a:pPr marL="171450" indent="-171450" fontAlgn="base">
              <a:spcBef>
                <a:spcPct val="0"/>
              </a:spcBef>
              <a:spcAft>
                <a:spcPct val="0"/>
              </a:spcAft>
              <a:buFont typeface="Arial" panose="020B0604020202020204" pitchFamily="34" charset="0"/>
              <a:buChar char="•"/>
              <a:defRPr/>
            </a:pPr>
            <a:r>
              <a:rPr lang="en-US" sz="1100" dirty="0">
                <a:latin typeface="Arial" panose="020B0604020202020204" pitchFamily="34" charset="0"/>
                <a:ea typeface="Times New Roman"/>
                <a:cs typeface="Arial" panose="020B0604020202020204" pitchFamily="34" charset="0"/>
              </a:rPr>
              <a:t>Active involvement of project stakeholders</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az-Latn-AZ" sz="1300" b="0" i="0" u="none" strike="noStrike" kern="0" cap="none" spc="0" normalizeH="0" baseline="0" noProof="0" dirty="0">
                <a:ln>
                  <a:noFill/>
                </a:ln>
                <a:solidFill>
                  <a:srgbClr val="000000"/>
                </a:solidFill>
                <a:effectLst/>
                <a:uLnTx/>
                <a:uFillTx/>
                <a:latin typeface="Arial"/>
                <a:sym typeface="+mn-lt"/>
              </a:rPr>
              <a:t>Farid Abush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336894"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az-Latn-AZ" sz="1300" b="0" i="0" u="none" strike="noStrike" kern="0" cap="none" spc="0" normalizeH="0" baseline="0" noProof="0" dirty="0">
                <a:ln>
                  <a:noFill/>
                </a:ln>
                <a:solidFill>
                  <a:srgbClr val="000000"/>
                </a:solidFill>
                <a:effectLst/>
                <a:uLnTx/>
                <a:uFillTx/>
                <a:latin typeface="Arial"/>
                <a:sym typeface="+mn-lt"/>
              </a:rPr>
              <a:t>Sevda Al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063112"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dirty="0">
                  <a:latin typeface="Arial" panose="020B0604020202020204" pitchFamily="34" charset="0"/>
                  <a:cs typeface="Arial" panose="020B0604020202020204" pitchFamily="34" charset="0"/>
                </a:rPr>
                <a:t>12 920  EUR</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74972"/>
              <a:ext cx="732893" cy="461665"/>
            </a:xfrm>
            <a:prstGeom prst="rect">
              <a:avLst/>
            </a:prstGeom>
            <a:noFill/>
          </p:spPr>
          <p:txBody>
            <a:bodyPr wrap="none" rtlCol="0">
              <a:spAutoFit/>
            </a:bodyPr>
            <a:lstStyle>
              <a:defPPr>
                <a:defRPr lang="en-US"/>
              </a:defPPr>
              <a:lvl1pPr>
                <a:defRPr sz="1200" b="1">
                  <a:latin typeface="Arial" panose="020B0604020202020204" pitchFamily="34" charset="0"/>
                  <a:cs typeface="Arial" panose="020B0604020202020204" pitchFamily="34" charset="0"/>
                </a:defRPr>
              </a:lvl1pPr>
            </a:lstStyle>
            <a:p>
              <a:r>
                <a:rPr lang="en-US" dirty="0"/>
                <a:t>Utilized</a:t>
              </a:r>
            </a:p>
            <a:p>
              <a:r>
                <a:rPr lang="en-US" b="0" dirty="0"/>
                <a:t>0 EUR</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1019831" cy="461665"/>
            </a:xfrm>
            <a:prstGeom prst="rect">
              <a:avLst/>
            </a:prstGeom>
            <a:noFill/>
          </p:spPr>
          <p:txBody>
            <a:bodyPr wrap="none" rtlCol="0">
              <a:spAutoFit/>
            </a:bodyPr>
            <a:lstStyle>
              <a:defPPr>
                <a:defRPr lang="en-US"/>
              </a:defPPr>
              <a:lvl1pPr>
                <a:defRPr sz="1200" b="1">
                  <a:latin typeface="Arial" panose="020B0604020202020204" pitchFamily="34" charset="0"/>
                  <a:cs typeface="Arial" panose="020B0604020202020204" pitchFamily="34" charset="0"/>
                </a:defRPr>
              </a:lvl1pPr>
            </a:lstStyle>
            <a:p>
              <a:r>
                <a:rPr lang="en-US" dirty="0"/>
                <a:t>Estimated</a:t>
              </a:r>
            </a:p>
            <a:p>
              <a:r>
                <a:rPr lang="en-US" b="0" dirty="0"/>
                <a:t>12 920 EUR</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815801" cy="461665"/>
            </a:xfrm>
            <a:prstGeom prst="rect">
              <a:avLst/>
            </a:prstGeom>
            <a:noFill/>
          </p:spPr>
          <p:txBody>
            <a:bodyPr wrap="none" rtlCol="0">
              <a:spAutoFit/>
            </a:bodyPr>
            <a:lstStyle/>
            <a:p>
              <a:r>
                <a:rPr lang="en-US" sz="1200" b="1" dirty="0">
                  <a:solidFill>
                    <a:srgbClr val="00B050"/>
                  </a:solidFill>
                  <a:latin typeface="Arial" panose="020B0604020202020204" pitchFamily="34" charset="0"/>
                  <a:cs typeface="Arial" panose="020B0604020202020204" pitchFamily="34" charset="0"/>
                </a:rPr>
                <a:t>Variance</a:t>
              </a:r>
            </a:p>
            <a:p>
              <a:r>
                <a:rPr lang="en-US" sz="1200" b="1" dirty="0">
                  <a:solidFill>
                    <a:srgbClr val="00B050"/>
                  </a:solidFill>
                  <a:latin typeface="Arial" panose="020B0604020202020204" pitchFamily="34" charset="0"/>
                  <a:cs typeface="Arial" panose="020B0604020202020204" pitchFamily="34" charset="0"/>
                </a:rPr>
                <a:t>12 920</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43789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71296" y="2765494"/>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91191" y="322827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x-none"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309974"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ject Manager</a:t>
            </a:r>
            <a:endParaRPr lang="x-none"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50554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ject Coordinator</a:t>
            </a:r>
            <a:endParaRPr lang="x-none"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32074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ject Assistant</a:t>
            </a:r>
            <a:endParaRPr lang="x-none"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x-none"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935685" y="4562537"/>
            <a:ext cx="72167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516 MH</a:t>
            </a:r>
            <a:endParaRPr lang="x-none"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0958089" y="5285161"/>
            <a:ext cx="72167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816 MH</a:t>
            </a:r>
            <a:endParaRPr lang="x-none"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0973188" y="5630620"/>
            <a:ext cx="72167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306 MH</a:t>
            </a:r>
            <a:endParaRPr lang="x-none"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917673" y="6059263"/>
            <a:ext cx="806631"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2046 MH</a:t>
            </a:r>
            <a:endParaRPr lang="x-none" sz="1200" b="1" dirty="0">
              <a:latin typeface="Arial" panose="020B0604020202020204" pitchFamily="34" charset="0"/>
              <a:cs typeface="Arial" panose="020B0604020202020204" pitchFamily="34" charset="0"/>
            </a:endParaRPr>
          </a:p>
        </p:txBody>
      </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1787216" y="1761011"/>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a:t>
            </a: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 (MVP)</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787218" y="1995297"/>
            <a:ext cx="102537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2072862"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0</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2072862"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2342727"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2342727"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2612592"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2612592"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2882457"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2882457"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1802997"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9</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1802997"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3152321"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3152321"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3692051"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4</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3692051"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3961916"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5</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3961916"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4231781"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6</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4231781"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4501645"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7</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4501645"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4771510"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8</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4771510"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5041375"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9</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5041375"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5311240"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0</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5311240"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5581105"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5581105"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5850969"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1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5850969"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6120834"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6120834"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3422186"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3422186"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2896879" y="1750922"/>
            <a:ext cx="45722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a:t>
            </a: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2886825" y="1995296"/>
            <a:ext cx="320718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6390699" y="2000143"/>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6390699" y="2234428"/>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1" name="Straight Connector 74">
            <a:extLst>
              <a:ext uri="{FF2B5EF4-FFF2-40B4-BE49-F238E27FC236}">
                <a16:creationId xmlns:a16="http://schemas.microsoft.com/office/drawing/2014/main" id="{68D85CCD-4D10-7C40-BCD1-3999F8970861}"/>
              </a:ext>
            </a:extLst>
          </p:cNvPr>
          <p:cNvCxnSpPr>
            <a:cxnSpLocks/>
          </p:cNvCxnSpPr>
          <p:nvPr/>
        </p:nvCxnSpPr>
        <p:spPr>
          <a:xfrm flipH="1">
            <a:off x="6139403" y="1993193"/>
            <a:ext cx="1836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4" name="Rectangle 10">
            <a:extLst>
              <a:ext uri="{FF2B5EF4-FFF2-40B4-BE49-F238E27FC236}">
                <a16:creationId xmlns:a16="http://schemas.microsoft.com/office/drawing/2014/main" id="{F9BFDB11-8648-D041-8722-0E84C7C61851}"/>
              </a:ext>
            </a:extLst>
          </p:cNvPr>
          <p:cNvSpPr txBox="1">
            <a:spLocks/>
          </p:cNvSpPr>
          <p:nvPr/>
        </p:nvSpPr>
        <p:spPr>
          <a:xfrm>
            <a:off x="6143609" y="1756784"/>
            <a:ext cx="45722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a:t>
            </a:r>
            <a:r>
              <a:rPr lang="az-Latn-AZ" sz="1400" b="1" dirty="0">
                <a:solidFill>
                  <a:srgbClr val="C00000"/>
                </a:solidFill>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47427"/>
            <a:ext cx="1236389" cy="72522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900" dirty="0">
                <a:solidFill>
                  <a:schemeClr val="bg1"/>
                </a:solidFill>
              </a:rPr>
              <a:t>Analysis of the market and the situation in the bank</a:t>
            </a:r>
            <a:endParaRPr kumimoji="0" lang="en-US" sz="900" b="1" i="0" u="none" strike="noStrike" kern="1200" cap="none" spc="0" normalizeH="0" baseline="0" noProof="0" dirty="0">
              <a:ln>
                <a:noFill/>
              </a:ln>
              <a:solidFill>
                <a:srgbClr val="FFFFFF"/>
              </a:solidFill>
              <a:effectLst/>
              <a:uLnTx/>
              <a:uFillTx/>
              <a:latin typeface="Arial"/>
              <a:ea typeface="+mn-ea"/>
              <a:cs typeface="+mn-cs"/>
            </a:endParaRP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2036489" y="2478616"/>
            <a:ext cx="828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2046031" y="2534895"/>
            <a:ext cx="432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30%</a:t>
            </a:r>
            <a:endParaRPr lang="en-US" sz="900" b="1" dirty="0">
              <a:solidFill>
                <a:prstClr val="white"/>
              </a:solidFill>
              <a:latin typeface="Arial"/>
            </a:endParaRP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239" y="2935047"/>
            <a:ext cx="1236389" cy="521656"/>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Development of a top-level strategy</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72770" y="3122338"/>
            <a:ext cx="756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72770" y="3180605"/>
            <a:ext cx="432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10</a:t>
            </a:r>
            <a:r>
              <a:rPr lang="en-US" sz="900" b="1" dirty="0">
                <a:solidFill>
                  <a:prstClr val="white"/>
                </a:solidFill>
                <a:latin typeface="Arial"/>
              </a:rPr>
              <a:t>%</a:t>
            </a: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2315896" y="4000934"/>
            <a:ext cx="828000" cy="216000"/>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2315896" y="4049871"/>
            <a:ext cx="36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0%</a:t>
            </a:r>
            <a:endParaRPr lang="en-US" sz="900" b="1" dirty="0">
              <a:solidFill>
                <a:prstClr val="white"/>
              </a:solidFill>
              <a:latin typeface="Arial"/>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55200" y="3519092"/>
            <a:ext cx="1236389" cy="108988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lvl="0" fontAlgn="base">
              <a:spcBef>
                <a:spcPct val="0"/>
              </a:spcBef>
              <a:spcAft>
                <a:spcPct val="0"/>
              </a:spcAft>
              <a:buClr>
                <a:srgbClr val="FFFFFF"/>
              </a:buClr>
              <a:defRPr/>
            </a:pPr>
            <a:r>
              <a:rPr lang="en-US" sz="1000" dirty="0">
                <a:solidFill>
                  <a:srgbClr val="FFFFFF"/>
                </a:solidFill>
              </a:rPr>
              <a:t>Detailed strategy, long-term business plan and implementation plan</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68" name="Rectangle 99">
            <a:extLst>
              <a:ext uri="{FF2B5EF4-FFF2-40B4-BE49-F238E27FC236}">
                <a16:creationId xmlns:a16="http://schemas.microsoft.com/office/drawing/2014/main" id="{875EF904-C7A4-7342-934E-91E35B7FFEEC}"/>
              </a:ext>
            </a:extLst>
          </p:cNvPr>
          <p:cNvSpPr>
            <a:spLocks/>
          </p:cNvSpPr>
          <p:nvPr/>
        </p:nvSpPr>
        <p:spPr>
          <a:xfrm>
            <a:off x="3394026" y="2503333"/>
            <a:ext cx="1620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sp>
        <p:nvSpPr>
          <p:cNvPr id="169" name="Rectangle 99">
            <a:extLst>
              <a:ext uri="{FF2B5EF4-FFF2-40B4-BE49-F238E27FC236}">
                <a16:creationId xmlns:a16="http://schemas.microsoft.com/office/drawing/2014/main" id="{D6D2C861-7B41-9647-B1AA-DD447D0E3E2B}"/>
              </a:ext>
            </a:extLst>
          </p:cNvPr>
          <p:cNvSpPr>
            <a:spLocks/>
          </p:cNvSpPr>
          <p:nvPr/>
        </p:nvSpPr>
        <p:spPr>
          <a:xfrm>
            <a:off x="3403568" y="2559612"/>
            <a:ext cx="18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a:t>
            </a:r>
            <a:endParaRPr lang="en-US" sz="900" b="1" dirty="0">
              <a:solidFill>
                <a:prstClr val="white"/>
              </a:solidFill>
              <a:latin typeface="Arial"/>
            </a:endParaRPr>
          </a:p>
        </p:txBody>
      </p:sp>
      <p:sp>
        <p:nvSpPr>
          <p:cNvPr id="170" name="Rectangle 99">
            <a:extLst>
              <a:ext uri="{FF2B5EF4-FFF2-40B4-BE49-F238E27FC236}">
                <a16:creationId xmlns:a16="http://schemas.microsoft.com/office/drawing/2014/main" id="{FFF3F0F4-E438-8B43-9815-3513B57DBF5E}"/>
              </a:ext>
            </a:extLst>
          </p:cNvPr>
          <p:cNvSpPr>
            <a:spLocks/>
          </p:cNvSpPr>
          <p:nvPr/>
        </p:nvSpPr>
        <p:spPr>
          <a:xfrm>
            <a:off x="4530196" y="3107167"/>
            <a:ext cx="1080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sp>
        <p:nvSpPr>
          <p:cNvPr id="171" name="Rectangle 99">
            <a:extLst>
              <a:ext uri="{FF2B5EF4-FFF2-40B4-BE49-F238E27FC236}">
                <a16:creationId xmlns:a16="http://schemas.microsoft.com/office/drawing/2014/main" id="{0596E707-B512-2142-BEA7-D9C9F5E056B9}"/>
              </a:ext>
            </a:extLst>
          </p:cNvPr>
          <p:cNvSpPr>
            <a:spLocks/>
          </p:cNvSpPr>
          <p:nvPr/>
        </p:nvSpPr>
        <p:spPr>
          <a:xfrm>
            <a:off x="4530196" y="3165434"/>
            <a:ext cx="18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a:t>
            </a:r>
            <a:endParaRPr lang="en-US" sz="900" b="1" dirty="0">
              <a:solidFill>
                <a:prstClr val="white"/>
              </a:solidFill>
              <a:latin typeface="Arial"/>
            </a:endParaRPr>
          </a:p>
        </p:txBody>
      </p:sp>
      <p:sp>
        <p:nvSpPr>
          <p:cNvPr id="172" name="Rectangle 99">
            <a:extLst>
              <a:ext uri="{FF2B5EF4-FFF2-40B4-BE49-F238E27FC236}">
                <a16:creationId xmlns:a16="http://schemas.microsoft.com/office/drawing/2014/main" id="{FFF3F0F4-E438-8B43-9815-3513B57DBF5E}"/>
              </a:ext>
            </a:extLst>
          </p:cNvPr>
          <p:cNvSpPr>
            <a:spLocks/>
          </p:cNvSpPr>
          <p:nvPr/>
        </p:nvSpPr>
        <p:spPr>
          <a:xfrm>
            <a:off x="4483713" y="4000934"/>
            <a:ext cx="2160000" cy="234275"/>
          </a:xfrm>
          <a:prstGeom prst="rect">
            <a:avLst/>
          </a:prstGeom>
          <a:solidFill>
            <a:srgbClr val="BDBD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solidFill>
                <a:srgbClr val="000000"/>
              </a:solidFill>
              <a:latin typeface="Arial"/>
            </a:endParaRPr>
          </a:p>
        </p:txBody>
      </p:sp>
      <p:sp>
        <p:nvSpPr>
          <p:cNvPr id="173" name="Rectangle 99">
            <a:extLst>
              <a:ext uri="{FF2B5EF4-FFF2-40B4-BE49-F238E27FC236}">
                <a16:creationId xmlns:a16="http://schemas.microsoft.com/office/drawing/2014/main" id="{0596E707-B512-2142-BEA7-D9C9F5E056B9}"/>
              </a:ext>
            </a:extLst>
          </p:cNvPr>
          <p:cNvSpPr>
            <a:spLocks/>
          </p:cNvSpPr>
          <p:nvPr/>
        </p:nvSpPr>
        <p:spPr>
          <a:xfrm>
            <a:off x="4483713" y="4059201"/>
            <a:ext cx="18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900" b="1">
                <a:solidFill>
                  <a:prstClr val="white"/>
                </a:solidFill>
                <a:latin typeface="Arial"/>
              </a:rPr>
              <a:t>%</a:t>
            </a:r>
            <a:endParaRPr lang="en-US" sz="900" b="1" dirty="0">
              <a:solidFill>
                <a:prstClr val="white"/>
              </a:solidFill>
              <a:latin typeface="Arial"/>
            </a:endParaRP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1300" kern="0" dirty="0">
              <a:solidFill>
                <a:srgbClr val="000000"/>
              </a:solidFill>
              <a:latin typeface="Arial"/>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0" name="TextBox 329">
            <a:extLst>
              <a:ext uri="{FF2B5EF4-FFF2-40B4-BE49-F238E27FC236}">
                <a16:creationId xmlns:a16="http://schemas.microsoft.com/office/drawing/2014/main" id="{7D28D174-A298-F047-8331-33A7110F52D0}"/>
              </a:ext>
            </a:extLst>
          </p:cNvPr>
          <p:cNvSpPr txBox="1"/>
          <p:nvPr/>
        </p:nvSpPr>
        <p:spPr>
          <a:xfrm>
            <a:off x="10937813" y="4891917"/>
            <a:ext cx="72167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408 MH</a:t>
            </a:r>
            <a:endParaRPr lang="x-none" sz="1200" dirty="0">
              <a:latin typeface="Arial" panose="020B0604020202020204" pitchFamily="34" charset="0"/>
              <a:cs typeface="Arial" panose="020B0604020202020204" pitchFamily="34" charset="0"/>
            </a:endParaRP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r>
              <a:rPr lang="en-US" sz="1100" dirty="0">
                <a:latin typeface="Arial" panose="020B0604020202020204" pitchFamily="34" charset="0"/>
                <a:cs typeface="Arial" panose="020B0604020202020204" pitchFamily="34" charset="0"/>
              </a:rPr>
              <a:t>To prolong the timeline of the project MVP phase to the end of March.  </a:t>
            </a:r>
            <a:endParaRPr lang="en-US" sz="1100" kern="0" dirty="0">
              <a:solidFill>
                <a:srgbClr val="000000"/>
              </a:solidFill>
              <a:latin typeface="Arial" panose="020B0604020202020204" pitchFamily="34" charset="0"/>
              <a:cs typeface="Arial" panose="020B0604020202020204" pitchFamily="34" charset="0"/>
              <a:sym typeface="+mn-lt"/>
            </a:endParaRPr>
          </a:p>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59" name="TextBox 158">
            <a:extLst>
              <a:ext uri="{FF2B5EF4-FFF2-40B4-BE49-F238E27FC236}">
                <a16:creationId xmlns:a16="http://schemas.microsoft.com/office/drawing/2014/main" id="{0D5E43B1-2536-6D4A-9ECE-B83BB2DE10DF}"/>
              </a:ext>
            </a:extLst>
          </p:cNvPr>
          <p:cNvSpPr txBox="1"/>
          <p:nvPr/>
        </p:nvSpPr>
        <p:spPr>
          <a:xfrm>
            <a:off x="9902460" y="2043529"/>
            <a:ext cx="1354858" cy="415498"/>
          </a:xfrm>
          <a:prstGeom prst="rect">
            <a:avLst/>
          </a:prstGeom>
          <a:noFill/>
        </p:spPr>
        <p:txBody>
          <a:bodyPr wrap="none" rtlCol="0">
            <a:spAutoFit/>
          </a:bodyPr>
          <a:lstStyle/>
          <a:p>
            <a:r>
              <a:rPr lang="en-US" sz="1050" dirty="0">
                <a:latin typeface="Arial" panose="020B0604020202020204" pitchFamily="34" charset="0"/>
                <a:cs typeface="Arial" panose="020B0604020202020204" pitchFamily="34" charset="0"/>
              </a:rPr>
              <a:t>Analytical Function </a:t>
            </a:r>
          </a:p>
          <a:p>
            <a:r>
              <a:rPr lang="en-US" sz="1050" dirty="0">
                <a:latin typeface="Arial" panose="020B0604020202020204" pitchFamily="34" charset="0"/>
                <a:cs typeface="Arial" panose="020B0604020202020204" pitchFamily="34" charset="0"/>
              </a:rPr>
              <a:t>Maturity Level</a:t>
            </a:r>
            <a:endParaRPr lang="x-none" sz="105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17278" y="577178"/>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0D5E43B1-2536-6D4A-9ECE-B83BB2DE10DF}"/>
              </a:ext>
            </a:extLst>
          </p:cNvPr>
          <p:cNvSpPr txBox="1"/>
          <p:nvPr/>
        </p:nvSpPr>
        <p:spPr>
          <a:xfrm>
            <a:off x="9917937" y="2473494"/>
            <a:ext cx="1542784" cy="261610"/>
          </a:xfrm>
          <a:prstGeom prst="rect">
            <a:avLst/>
          </a:prstGeom>
          <a:noFill/>
        </p:spPr>
        <p:txBody>
          <a:bodyPr wrap="square" rtlCol="0">
            <a:spAutoFit/>
          </a:bodyPr>
          <a:lstStyle/>
          <a:p>
            <a:r>
              <a:rPr lang="en-US" sz="1050" dirty="0">
                <a:latin typeface="Arial" panose="020B0604020202020204" pitchFamily="34" charset="0"/>
                <a:cs typeface="Arial" panose="020B0604020202020204" pitchFamily="34" charset="0"/>
              </a:rPr>
              <a:t>COVID-19</a:t>
            </a:r>
            <a:endParaRPr lang="x-none" sz="105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89C0EDC9-7B58-1C48-A015-337A7EF44CAB}"/>
              </a:ext>
            </a:extLst>
          </p:cNvPr>
          <p:cNvSpPr txBox="1"/>
          <p:nvPr/>
        </p:nvSpPr>
        <p:spPr>
          <a:xfrm>
            <a:off x="9918740" y="2789716"/>
            <a:ext cx="1542784" cy="415498"/>
          </a:xfrm>
          <a:prstGeom prst="rect">
            <a:avLst/>
          </a:prstGeom>
          <a:noFill/>
        </p:spPr>
        <p:txBody>
          <a:bodyPr wrap="square" rtlCol="0">
            <a:spAutoFit/>
          </a:bodyPr>
          <a:lstStyle/>
          <a:p>
            <a:r>
              <a:rPr lang="en-US" sz="1050" dirty="0">
                <a:latin typeface="Arial" panose="020B0604020202020204" pitchFamily="34" charset="0"/>
                <a:cs typeface="Arial" panose="020B0604020202020204" pitchFamily="34" charset="0"/>
              </a:rPr>
              <a:t>Market with High Convergency Rate</a:t>
            </a:r>
            <a:endParaRPr lang="x-none" sz="1050" dirty="0">
              <a:latin typeface="Arial" panose="020B0604020202020204" pitchFamily="34" charset="0"/>
              <a:cs typeface="Arial" panose="020B0604020202020204" pitchFamily="34" charset="0"/>
            </a:endParaRPr>
          </a:p>
        </p:txBody>
      </p:sp>
      <p:cxnSp>
        <p:nvCxnSpPr>
          <p:cNvPr id="175" name="Straight Connector 93">
            <a:extLst>
              <a:ext uri="{FF2B5EF4-FFF2-40B4-BE49-F238E27FC236}">
                <a16:creationId xmlns:a16="http://schemas.microsoft.com/office/drawing/2014/main" id="{F16E6D2C-5CD7-5244-81E0-7890C9A870BA}"/>
              </a:ext>
            </a:extLst>
          </p:cNvPr>
          <p:cNvCxnSpPr/>
          <p:nvPr/>
        </p:nvCxnSpPr>
        <p:spPr>
          <a:xfrm>
            <a:off x="6634030" y="226773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6" name="Straight Connector 94">
            <a:extLst>
              <a:ext uri="{FF2B5EF4-FFF2-40B4-BE49-F238E27FC236}">
                <a16:creationId xmlns:a16="http://schemas.microsoft.com/office/drawing/2014/main" id="{B084E0B7-7CDE-2C44-B101-B1D37F793E92}"/>
              </a:ext>
            </a:extLst>
          </p:cNvPr>
          <p:cNvCxnSpPr/>
          <p:nvPr/>
        </p:nvCxnSpPr>
        <p:spPr>
          <a:xfrm>
            <a:off x="6903894" y="226773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7" name="Straight Connector 95">
            <a:extLst>
              <a:ext uri="{FF2B5EF4-FFF2-40B4-BE49-F238E27FC236}">
                <a16:creationId xmlns:a16="http://schemas.microsoft.com/office/drawing/2014/main" id="{9A0B20C9-0703-4C43-B91F-E2F0E9E0F141}"/>
              </a:ext>
            </a:extLst>
          </p:cNvPr>
          <p:cNvCxnSpPr/>
          <p:nvPr/>
        </p:nvCxnSpPr>
        <p:spPr>
          <a:xfrm>
            <a:off x="7173758" y="226053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8" name="Rectangle 10">
            <a:extLst>
              <a:ext uri="{FF2B5EF4-FFF2-40B4-BE49-F238E27FC236}">
                <a16:creationId xmlns:a16="http://schemas.microsoft.com/office/drawing/2014/main" id="{EA0A11E9-98D9-2241-90DC-90CCF63A09DB}"/>
              </a:ext>
            </a:extLst>
          </p:cNvPr>
          <p:cNvSpPr txBox="1">
            <a:spLocks/>
          </p:cNvSpPr>
          <p:nvPr/>
        </p:nvSpPr>
        <p:spPr>
          <a:xfrm>
            <a:off x="6660860" y="200969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80" name="Straight Connector 66">
            <a:extLst>
              <a:ext uri="{FF2B5EF4-FFF2-40B4-BE49-F238E27FC236}">
                <a16:creationId xmlns:a16="http://schemas.microsoft.com/office/drawing/2014/main" id="{B04C43F8-81AA-3743-914C-75180F1BB53C}"/>
              </a:ext>
            </a:extLst>
          </p:cNvPr>
          <p:cNvCxnSpPr>
            <a:cxnSpLocks/>
          </p:cNvCxnSpPr>
          <p:nvPr/>
        </p:nvCxnSpPr>
        <p:spPr>
          <a:xfrm flipH="1">
            <a:off x="6660860" y="22439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81" name="Rectangle 10">
            <a:extLst>
              <a:ext uri="{FF2B5EF4-FFF2-40B4-BE49-F238E27FC236}">
                <a16:creationId xmlns:a16="http://schemas.microsoft.com/office/drawing/2014/main" id="{4AFC2724-4097-374F-8F15-977B20FFD10F}"/>
              </a:ext>
            </a:extLst>
          </p:cNvPr>
          <p:cNvSpPr txBox="1">
            <a:spLocks/>
          </p:cNvSpPr>
          <p:nvPr/>
        </p:nvSpPr>
        <p:spPr>
          <a:xfrm>
            <a:off x="6930725" y="200969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82" name="Straight Connector 69">
            <a:extLst>
              <a:ext uri="{FF2B5EF4-FFF2-40B4-BE49-F238E27FC236}">
                <a16:creationId xmlns:a16="http://schemas.microsoft.com/office/drawing/2014/main" id="{AEE4BFE2-B301-2D45-892C-246326095BE5}"/>
              </a:ext>
            </a:extLst>
          </p:cNvPr>
          <p:cNvCxnSpPr>
            <a:cxnSpLocks/>
          </p:cNvCxnSpPr>
          <p:nvPr/>
        </p:nvCxnSpPr>
        <p:spPr>
          <a:xfrm flipH="1">
            <a:off x="6930725" y="22439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4" name="Straight Connector 93">
            <a:extLst>
              <a:ext uri="{FF2B5EF4-FFF2-40B4-BE49-F238E27FC236}">
                <a16:creationId xmlns:a16="http://schemas.microsoft.com/office/drawing/2014/main" id="{45C29258-E160-C649-965C-4CFF3804DED2}"/>
              </a:ext>
            </a:extLst>
          </p:cNvPr>
          <p:cNvCxnSpPr/>
          <p:nvPr/>
        </p:nvCxnSpPr>
        <p:spPr>
          <a:xfrm>
            <a:off x="7175387" y="226869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5" name="Straight Connector 94">
            <a:extLst>
              <a:ext uri="{FF2B5EF4-FFF2-40B4-BE49-F238E27FC236}">
                <a16:creationId xmlns:a16="http://schemas.microsoft.com/office/drawing/2014/main" id="{E6216FA6-7CCA-0D40-A564-42F02D322712}"/>
              </a:ext>
            </a:extLst>
          </p:cNvPr>
          <p:cNvCxnSpPr/>
          <p:nvPr/>
        </p:nvCxnSpPr>
        <p:spPr>
          <a:xfrm>
            <a:off x="7445251" y="226869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6" name="Straight Connector 95">
            <a:extLst>
              <a:ext uri="{FF2B5EF4-FFF2-40B4-BE49-F238E27FC236}">
                <a16:creationId xmlns:a16="http://schemas.microsoft.com/office/drawing/2014/main" id="{8F326D0F-60C5-3D43-8647-15A581E0F2AF}"/>
              </a:ext>
            </a:extLst>
          </p:cNvPr>
          <p:cNvCxnSpPr/>
          <p:nvPr/>
        </p:nvCxnSpPr>
        <p:spPr>
          <a:xfrm>
            <a:off x="7715115" y="226869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7" name="Rectangle 10">
            <a:extLst>
              <a:ext uri="{FF2B5EF4-FFF2-40B4-BE49-F238E27FC236}">
                <a16:creationId xmlns:a16="http://schemas.microsoft.com/office/drawing/2014/main" id="{A8F48FFD-4916-C241-990E-D0FD0F599C81}"/>
              </a:ext>
            </a:extLst>
          </p:cNvPr>
          <p:cNvSpPr txBox="1">
            <a:spLocks/>
          </p:cNvSpPr>
          <p:nvPr/>
        </p:nvSpPr>
        <p:spPr>
          <a:xfrm>
            <a:off x="7202217" y="201066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88" name="Straight Connector 66">
            <a:extLst>
              <a:ext uri="{FF2B5EF4-FFF2-40B4-BE49-F238E27FC236}">
                <a16:creationId xmlns:a16="http://schemas.microsoft.com/office/drawing/2014/main" id="{DB725BF6-0EE9-8B4E-B328-02D03112B45B}"/>
              </a:ext>
            </a:extLst>
          </p:cNvPr>
          <p:cNvCxnSpPr>
            <a:cxnSpLocks/>
          </p:cNvCxnSpPr>
          <p:nvPr/>
        </p:nvCxnSpPr>
        <p:spPr>
          <a:xfrm flipH="1">
            <a:off x="7202217" y="224494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89" name="Rectangle 10">
            <a:extLst>
              <a:ext uri="{FF2B5EF4-FFF2-40B4-BE49-F238E27FC236}">
                <a16:creationId xmlns:a16="http://schemas.microsoft.com/office/drawing/2014/main" id="{99B359A9-B674-A045-B018-506DF5C26556}"/>
              </a:ext>
            </a:extLst>
          </p:cNvPr>
          <p:cNvSpPr txBox="1">
            <a:spLocks/>
          </p:cNvSpPr>
          <p:nvPr/>
        </p:nvSpPr>
        <p:spPr>
          <a:xfrm>
            <a:off x="7472082" y="201066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190" name="Straight Connector 69">
            <a:extLst>
              <a:ext uri="{FF2B5EF4-FFF2-40B4-BE49-F238E27FC236}">
                <a16:creationId xmlns:a16="http://schemas.microsoft.com/office/drawing/2014/main" id="{8417EFE5-5419-EB4E-8E81-7F84E5BD5991}"/>
              </a:ext>
            </a:extLst>
          </p:cNvPr>
          <p:cNvCxnSpPr>
            <a:cxnSpLocks/>
          </p:cNvCxnSpPr>
          <p:nvPr/>
        </p:nvCxnSpPr>
        <p:spPr>
          <a:xfrm flipH="1">
            <a:off x="7472082" y="224494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3" name="Straight Connector 94">
            <a:extLst>
              <a:ext uri="{FF2B5EF4-FFF2-40B4-BE49-F238E27FC236}">
                <a16:creationId xmlns:a16="http://schemas.microsoft.com/office/drawing/2014/main" id="{A02AE396-8CD3-6443-AA87-9A8D255E2A96}"/>
              </a:ext>
            </a:extLst>
          </p:cNvPr>
          <p:cNvCxnSpPr/>
          <p:nvPr/>
        </p:nvCxnSpPr>
        <p:spPr>
          <a:xfrm>
            <a:off x="7987051" y="2269341"/>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95" name="Rectangle 10">
            <a:extLst>
              <a:ext uri="{FF2B5EF4-FFF2-40B4-BE49-F238E27FC236}">
                <a16:creationId xmlns:a16="http://schemas.microsoft.com/office/drawing/2014/main" id="{AFC7F356-4B37-7B4F-AC51-49E6AEA3A7FB}"/>
              </a:ext>
            </a:extLst>
          </p:cNvPr>
          <p:cNvSpPr txBox="1">
            <a:spLocks/>
          </p:cNvSpPr>
          <p:nvPr/>
        </p:nvSpPr>
        <p:spPr>
          <a:xfrm>
            <a:off x="7744017" y="2011306"/>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196" name="Straight Connector 66">
            <a:extLst>
              <a:ext uri="{FF2B5EF4-FFF2-40B4-BE49-F238E27FC236}">
                <a16:creationId xmlns:a16="http://schemas.microsoft.com/office/drawing/2014/main" id="{11831A37-DDE7-ED4C-B96D-2BB2242E8FE2}"/>
              </a:ext>
            </a:extLst>
          </p:cNvPr>
          <p:cNvCxnSpPr>
            <a:cxnSpLocks/>
          </p:cNvCxnSpPr>
          <p:nvPr/>
        </p:nvCxnSpPr>
        <p:spPr>
          <a:xfrm flipH="1">
            <a:off x="7744017" y="2245591"/>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02" name="Группа 201">
            <a:extLst>
              <a:ext uri="{FF2B5EF4-FFF2-40B4-BE49-F238E27FC236}">
                <a16:creationId xmlns:a16="http://schemas.microsoft.com/office/drawing/2014/main" id="{E2A7F6E8-6AD4-2B40-BA4A-BF2BDCFAF980}"/>
              </a:ext>
            </a:extLst>
          </p:cNvPr>
          <p:cNvGrpSpPr/>
          <p:nvPr/>
        </p:nvGrpSpPr>
        <p:grpSpPr>
          <a:xfrm>
            <a:off x="5452743" y="1034978"/>
            <a:ext cx="6399824" cy="503552"/>
            <a:chOff x="5406358" y="998167"/>
            <a:chExt cx="6399824" cy="503552"/>
          </a:xfrm>
        </p:grpSpPr>
        <p:sp>
          <p:nvSpPr>
            <p:cNvPr id="203" name="Rectangle 116">
              <a:extLst>
                <a:ext uri="{FF2B5EF4-FFF2-40B4-BE49-F238E27FC236}">
                  <a16:creationId xmlns:a16="http://schemas.microsoft.com/office/drawing/2014/main" id="{FFC55582-AE0A-9B4B-B092-D01071734F90}"/>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December 2021</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204" name="Rectangle 116">
              <a:extLst>
                <a:ext uri="{FF2B5EF4-FFF2-40B4-BE49-F238E27FC236}">
                  <a16:creationId xmlns:a16="http://schemas.microsoft.com/office/drawing/2014/main" id="{29722DD0-4051-5947-93B0-03C25A271343}"/>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205" name="Rectangle 116">
              <a:extLst>
                <a:ext uri="{FF2B5EF4-FFF2-40B4-BE49-F238E27FC236}">
                  <a16:creationId xmlns:a16="http://schemas.microsoft.com/office/drawing/2014/main" id="{330AD27D-C57B-6441-AF26-4A3292796D0A}"/>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October 2020</a:t>
              </a:r>
            </a:p>
          </p:txBody>
        </p:sp>
        <p:sp>
          <p:nvSpPr>
            <p:cNvPr id="206" name="Rectangle 116">
              <a:extLst>
                <a:ext uri="{FF2B5EF4-FFF2-40B4-BE49-F238E27FC236}">
                  <a16:creationId xmlns:a16="http://schemas.microsoft.com/office/drawing/2014/main" id="{89897678-186D-0640-9D4F-0C30407CBE51}"/>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207" name="Rectangle 116">
              <a:extLst>
                <a:ext uri="{FF2B5EF4-FFF2-40B4-BE49-F238E27FC236}">
                  <a16:creationId xmlns:a16="http://schemas.microsoft.com/office/drawing/2014/main" id="{8934410A-2093-1D44-8C06-67CE258D6575}"/>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2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208" name="Rectangle 116">
              <a:extLst>
                <a:ext uri="{FF2B5EF4-FFF2-40B4-BE49-F238E27FC236}">
                  <a16:creationId xmlns:a16="http://schemas.microsoft.com/office/drawing/2014/main" id="{F4DEA5CB-7B51-F94D-B98A-939D9476D5F5}"/>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spTree>
    <p:extLst>
      <p:ext uri="{BB962C8B-B14F-4D97-AF65-F5344CB8AC3E}">
        <p14:creationId xmlns:p14="http://schemas.microsoft.com/office/powerpoint/2010/main" val="3821211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28D29DE1-2C4C-4B1F-A21E-7D541DC6E527}"/>
              </a:ext>
            </a:extLst>
          </p:cNvPr>
          <p:cNvSpPr txBox="1">
            <a:spLocks/>
          </p:cNvSpPr>
          <p:nvPr/>
        </p:nvSpPr>
        <p:spPr bwMode="gray">
          <a:xfrm>
            <a:off x="540070" y="205857"/>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kumimoji="0" lang="en-US" sz="2800" b="0" i="0" u="none" strike="noStrike" kern="1200" cap="all" spc="0" normalizeH="0" baseline="0" noProof="0" dirty="0">
                <a:ln>
                  <a:noFill/>
                </a:ln>
                <a:effectLst/>
                <a:uLnTx/>
                <a:uFillTx/>
                <a:latin typeface="Calibri"/>
                <a:ea typeface="+mj-ea"/>
                <a:cs typeface="+mj-cs"/>
              </a:rPr>
              <a:t>Strategy &amp;</a:t>
            </a:r>
            <a:r>
              <a:rPr kumimoji="0" lang="en-US" sz="2800" b="0" i="0" u="none" strike="noStrike" kern="1200" cap="all" spc="0" normalizeH="0" noProof="0" dirty="0">
                <a:ln>
                  <a:noFill/>
                </a:ln>
                <a:effectLst/>
                <a:uLnTx/>
                <a:uFillTx/>
                <a:latin typeface="Calibri"/>
                <a:ea typeface="+mj-ea"/>
                <a:cs typeface="+mj-cs"/>
              </a:rPr>
              <a:t> Business Planning project</a:t>
            </a:r>
            <a:endParaRPr kumimoji="0" lang="en-US" sz="2800" b="0" i="0" u="none" strike="noStrike" kern="1200" cap="all" spc="0" normalizeH="0" baseline="0" noProof="0" dirty="0">
              <a:ln>
                <a:noFill/>
              </a:ln>
              <a:effectLst/>
              <a:uLnTx/>
              <a:uFillTx/>
              <a:latin typeface="Calibri"/>
              <a:ea typeface="+mj-ea"/>
              <a:cs typeface="+mj-cs"/>
            </a:endParaRPr>
          </a:p>
        </p:txBody>
      </p:sp>
      <p:sp>
        <p:nvSpPr>
          <p:cNvPr id="37" name="Textplatzhalter 2">
            <a:extLst>
              <a:ext uri="{FF2B5EF4-FFF2-40B4-BE49-F238E27FC236}">
                <a16:creationId xmlns:a16="http://schemas.microsoft.com/office/drawing/2014/main" id="{EBEC6FE6-5556-45D6-AD40-343300C41BF9}"/>
              </a:ext>
            </a:extLst>
          </p:cNvPr>
          <p:cNvSpPr txBox="1">
            <a:spLocks/>
          </p:cNvSpPr>
          <p:nvPr/>
        </p:nvSpPr>
        <p:spPr bwMode="gray">
          <a:xfrm>
            <a:off x="540070" y="598377"/>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kumimoji="0" lang="en-US" sz="2200" b="0" i="0" u="none" strike="noStrike" kern="1200" cap="none" spc="0" normalizeH="0" baseline="0" noProof="0" dirty="0">
                <a:ln>
                  <a:noFill/>
                </a:ln>
                <a:solidFill>
                  <a:sysClr val="window" lastClr="FFFFFF">
                    <a:lumMod val="50000"/>
                  </a:sysClr>
                </a:solidFill>
                <a:effectLst/>
                <a:uLnTx/>
                <a:uFillTx/>
                <a:latin typeface="Calibri Light"/>
                <a:ea typeface="+mn-ea"/>
                <a:cs typeface="+mn-cs"/>
              </a:rPr>
              <a:t>Project Charter</a:t>
            </a:r>
          </a:p>
        </p:txBody>
      </p:sp>
      <p:graphicFrame>
        <p:nvGraphicFramePr>
          <p:cNvPr id="38" name="Inhaltsplatzhalter 7">
            <a:extLst>
              <a:ext uri="{FF2B5EF4-FFF2-40B4-BE49-F238E27FC236}">
                <a16:creationId xmlns:a16="http://schemas.microsoft.com/office/drawing/2014/main" id="{E82B92F4-3F9F-4B72-8F94-A0D631171498}"/>
              </a:ext>
            </a:extLst>
          </p:cNvPr>
          <p:cNvGraphicFramePr>
            <a:graphicFrameLocks/>
          </p:cNvGraphicFramePr>
          <p:nvPr/>
        </p:nvGraphicFramePr>
        <p:xfrm>
          <a:off x="539749" y="911534"/>
          <a:ext cx="11111030" cy="2376000"/>
        </p:xfrm>
        <a:graphic>
          <a:graphicData uri="http://schemas.openxmlformats.org/drawingml/2006/table">
            <a:tbl>
              <a:tblPr firstRow="1" bandRow="1"/>
              <a:tblGrid>
                <a:gridCol w="1967477">
                  <a:extLst>
                    <a:ext uri="{9D8B030D-6E8A-4147-A177-3AD203B41FA5}">
                      <a16:colId xmlns:a16="http://schemas.microsoft.com/office/drawing/2014/main" val="263815621"/>
                    </a:ext>
                  </a:extLst>
                </a:gridCol>
                <a:gridCol w="2241755">
                  <a:extLst>
                    <a:ext uri="{9D8B030D-6E8A-4147-A177-3AD203B41FA5}">
                      <a16:colId xmlns:a16="http://schemas.microsoft.com/office/drawing/2014/main" val="2456201543"/>
                    </a:ext>
                  </a:extLst>
                </a:gridCol>
                <a:gridCol w="3549445">
                  <a:extLst>
                    <a:ext uri="{9D8B030D-6E8A-4147-A177-3AD203B41FA5}">
                      <a16:colId xmlns:a16="http://schemas.microsoft.com/office/drawing/2014/main" val="2699711611"/>
                    </a:ext>
                  </a:extLst>
                </a:gridCol>
                <a:gridCol w="3352353">
                  <a:extLst>
                    <a:ext uri="{9D8B030D-6E8A-4147-A177-3AD203B41FA5}">
                      <a16:colId xmlns:a16="http://schemas.microsoft.com/office/drawing/2014/main" val="1330925591"/>
                    </a:ext>
                  </a:extLst>
                </a:gridCol>
              </a:tblGrid>
              <a:tr h="360000">
                <a:tc gridSpan="2">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ject nam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hMerge="1">
                  <a:txBody>
                    <a:bodyPr/>
                    <a:lstStyle/>
                    <a:p>
                      <a:endParaRPr lang="de-DE"/>
                    </a:p>
                  </a:txBody>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ject Purpos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Main Deliverables</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246913833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 Chief</a:t>
                      </a:r>
                      <a:r>
                        <a:rPr lang="en-US" sz="1400" b="1" kern="1200" baseline="0" noProof="0" dirty="0">
                          <a:solidFill>
                            <a:schemeClr val="tx1"/>
                          </a:solidFill>
                          <a:latin typeface="+mj-lt"/>
                          <a:ea typeface="+mn-ea"/>
                          <a:cs typeface="+mn-cs"/>
                        </a:rPr>
                        <a:t> Custome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Transformation</a:t>
                      </a:r>
                      <a:r>
                        <a:rPr lang="en-US" sz="1400" b="0" kern="1200" baseline="0" noProof="0" dirty="0">
                          <a:solidFill>
                            <a:schemeClr val="tx1"/>
                          </a:solidFill>
                          <a:latin typeface="+mn-lt"/>
                          <a:ea typeface="+mn-ea"/>
                          <a:cs typeface="+mn-cs"/>
                        </a:rPr>
                        <a:t> Committee</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7">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Enhancement of Corporate</a:t>
                      </a:r>
                      <a:r>
                        <a:rPr lang="en-US" sz="1200" b="0" i="0" u="none" strike="noStrike" kern="1200" baseline="0" dirty="0">
                          <a:solidFill>
                            <a:schemeClr val="dk1"/>
                          </a:solidFill>
                          <a:effectLst/>
                          <a:latin typeface="Calibri Light"/>
                          <a:ea typeface="+mn-ea"/>
                          <a:cs typeface="+mn-cs"/>
                        </a:rPr>
                        <a:t> Governance by applying  best practices in strategic &amp; business planning </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Increase</a:t>
                      </a:r>
                      <a:r>
                        <a:rPr lang="en-US" sz="1200" b="0" i="0" u="none" strike="noStrike" kern="1200" baseline="0" dirty="0">
                          <a:solidFill>
                            <a:schemeClr val="dk1"/>
                          </a:solidFill>
                          <a:effectLst/>
                          <a:latin typeface="Calibri Light"/>
                          <a:ea typeface="+mn-ea"/>
                          <a:cs typeface="+mn-cs"/>
                        </a:rPr>
                        <a:t> the e</a:t>
                      </a:r>
                      <a:r>
                        <a:rPr lang="en-US" sz="1200" b="0" i="0" u="none" strike="noStrike" kern="1200" dirty="0">
                          <a:solidFill>
                            <a:schemeClr val="dk1"/>
                          </a:solidFill>
                          <a:effectLst/>
                          <a:latin typeface="Calibri Light"/>
                          <a:ea typeface="+mn-ea"/>
                          <a:cs typeface="+mn-cs"/>
                        </a:rPr>
                        <a:t>ffectiveness of strategy execution process (Strategy &amp; Budget</a:t>
                      </a:r>
                      <a:r>
                        <a:rPr lang="en-US" sz="1200" b="0" i="0" u="none" strike="noStrike" kern="1200" baseline="0" dirty="0">
                          <a:solidFill>
                            <a:schemeClr val="dk1"/>
                          </a:solidFill>
                          <a:effectLst/>
                          <a:latin typeface="Calibri Light"/>
                          <a:ea typeface="+mn-ea"/>
                          <a:cs typeface="+mn-cs"/>
                        </a:rPr>
                        <a:t> Committee, </a:t>
                      </a:r>
                      <a:r>
                        <a:rPr lang="en-US" sz="1200" b="0" i="0" u="none" strike="noStrike" kern="1200" dirty="0">
                          <a:solidFill>
                            <a:schemeClr val="dk1"/>
                          </a:solidFill>
                          <a:effectLst/>
                          <a:latin typeface="Calibri Light"/>
                          <a:ea typeface="+mn-ea"/>
                          <a:cs typeface="+mn-cs"/>
                        </a:rPr>
                        <a:t>quarterly business reviews</a:t>
                      </a:r>
                      <a:r>
                        <a:rPr lang="en-US" sz="1200" b="0" i="0" u="none" strike="noStrike" kern="1200" baseline="0" dirty="0">
                          <a:solidFill>
                            <a:schemeClr val="dk1"/>
                          </a:solidFill>
                          <a:effectLst/>
                          <a:latin typeface="Calibri Light"/>
                          <a:ea typeface="+mn-ea"/>
                          <a:cs typeface="+mn-cs"/>
                        </a:rPr>
                        <a:t> etc.)</a:t>
                      </a:r>
                      <a:endParaRPr lang="en-US" sz="1200" b="0" i="0" u="none" strike="noStrike" kern="120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Development of strategic planning and execution related competencies of main stakeholders</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noProof="0" dirty="0">
                          <a:solidFill>
                            <a:schemeClr val="dk1"/>
                          </a:solidFill>
                          <a:effectLst/>
                          <a:latin typeface="Calibri Light"/>
                          <a:ea typeface="+mn-ea"/>
                          <a:cs typeface="+mn-cs"/>
                        </a:rPr>
                        <a:t>Establishment of internal Center of Expertise to facilitate and run annual Strategy Planning process (including AOP, objectives cascading etc.) </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7">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Corporate</a:t>
                      </a:r>
                      <a:r>
                        <a:rPr lang="en-US" sz="1200" b="0" i="0" u="none" strike="noStrike" kern="1200" baseline="0" dirty="0">
                          <a:solidFill>
                            <a:schemeClr val="dk1"/>
                          </a:solidFill>
                          <a:effectLst/>
                          <a:latin typeface="Calibri Light"/>
                          <a:ea typeface="+mn-ea"/>
                          <a:cs typeface="+mn-cs"/>
                        </a:rPr>
                        <a:t> Governance &amp; i</a:t>
                      </a:r>
                      <a:r>
                        <a:rPr lang="en-US" sz="1200" b="0" i="0" u="none" strike="noStrike" kern="1200" dirty="0">
                          <a:solidFill>
                            <a:schemeClr val="dk1"/>
                          </a:solidFill>
                          <a:effectLst/>
                          <a:latin typeface="Calibri Light"/>
                          <a:ea typeface="+mn-ea"/>
                          <a:cs typeface="+mn-cs"/>
                        </a:rPr>
                        <a:t>ntegrated approach to strategic planning &amp; management</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Dynamic financial model,</a:t>
                      </a:r>
                      <a:r>
                        <a:rPr lang="en-US" sz="1200" b="0" i="0" u="none" strike="noStrike" kern="1200" baseline="0" dirty="0">
                          <a:solidFill>
                            <a:schemeClr val="dk1"/>
                          </a:solidFill>
                          <a:effectLst/>
                          <a:latin typeface="Calibri Light"/>
                          <a:ea typeface="+mn-ea"/>
                          <a:cs typeface="+mn-cs"/>
                        </a:rPr>
                        <a:t> reali</a:t>
                      </a:r>
                      <a:r>
                        <a:rPr lang="en-US" sz="1200" b="0" i="0" u="none" strike="noStrike" kern="1200" dirty="0">
                          <a:solidFill>
                            <a:schemeClr val="dk1"/>
                          </a:solidFill>
                          <a:effectLst/>
                          <a:latin typeface="Calibri Light"/>
                          <a:ea typeface="+mn-ea"/>
                          <a:cs typeface="+mn-cs"/>
                        </a:rPr>
                        <a:t>stic</a:t>
                      </a:r>
                      <a:r>
                        <a:rPr lang="en-US" sz="1200" b="0" i="0" u="none" strike="noStrike" kern="1200" baseline="0" dirty="0">
                          <a:solidFill>
                            <a:schemeClr val="dk1"/>
                          </a:solidFill>
                          <a:effectLst/>
                          <a:latin typeface="Calibri Light"/>
                          <a:ea typeface="+mn-ea"/>
                          <a:cs typeface="+mn-cs"/>
                        </a:rPr>
                        <a:t> roadmaps &amp; e</a:t>
                      </a:r>
                      <a:r>
                        <a:rPr lang="en-US" sz="1200" b="0" i="0" u="none" strike="noStrike" kern="1200" dirty="0">
                          <a:solidFill>
                            <a:schemeClr val="dk1"/>
                          </a:solidFill>
                          <a:effectLst/>
                          <a:latin typeface="Calibri Light"/>
                          <a:ea typeface="+mn-ea"/>
                          <a:cs typeface="+mn-cs"/>
                        </a:rPr>
                        <a:t>ffective process of monitoring </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I</a:t>
                      </a:r>
                      <a:r>
                        <a:rPr lang="en-US" sz="1200" b="0" i="0" u="none" strike="noStrike" kern="1200" dirty="0">
                          <a:solidFill>
                            <a:schemeClr val="dk1"/>
                          </a:solidFill>
                          <a:effectLst/>
                          <a:latin typeface="Calibri Light"/>
                          <a:ea typeface="+mn-ea"/>
                          <a:cs typeface="+mn-cs"/>
                        </a:rPr>
                        <a:t>ntegration with performance</a:t>
                      </a:r>
                      <a:r>
                        <a:rPr lang="en-US" sz="1200" b="0" i="0" u="none" strike="noStrike" kern="1200" baseline="0" dirty="0">
                          <a:solidFill>
                            <a:schemeClr val="dk1"/>
                          </a:solidFill>
                          <a:effectLst/>
                          <a:latin typeface="Calibri Light"/>
                          <a:ea typeface="+mn-ea"/>
                          <a:cs typeface="+mn-cs"/>
                        </a:rPr>
                        <a:t> management</a:t>
                      </a:r>
                      <a:r>
                        <a:rPr lang="en-US" sz="1200" b="0" i="0" u="none" strike="noStrike" kern="1200" dirty="0">
                          <a:solidFill>
                            <a:schemeClr val="dk1"/>
                          </a:solidFill>
                          <a:effectLst/>
                          <a:latin typeface="Calibri Light"/>
                          <a:ea typeface="+mn-ea"/>
                          <a:cs typeface="+mn-cs"/>
                        </a:rPr>
                        <a:t> system</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Strategy Planning</a:t>
                      </a:r>
                      <a:r>
                        <a:rPr lang="en-US" sz="1200" b="0" i="0" u="none" strike="noStrike" kern="1200" baseline="0" dirty="0">
                          <a:solidFill>
                            <a:schemeClr val="dk1"/>
                          </a:solidFill>
                          <a:effectLst/>
                          <a:latin typeface="Calibri Light"/>
                          <a:ea typeface="+mn-ea"/>
                          <a:cs typeface="+mn-cs"/>
                        </a:rPr>
                        <a:t> Toolkit </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Strategy Planning Trainings (main stakeholders, project team)</a:t>
                      </a:r>
                      <a:r>
                        <a:rPr lang="en-US" sz="1200" b="0" i="0" u="none" strike="noStrike" kern="1200" dirty="0">
                          <a:solidFill>
                            <a:schemeClr val="dk1"/>
                          </a:solidFill>
                          <a:effectLst/>
                          <a:latin typeface="Calibri Light"/>
                          <a:ea typeface="+mn-ea"/>
                          <a:cs typeface="+mn-cs"/>
                        </a:rPr>
                        <a:t> </a:t>
                      </a:r>
                      <a:endParaRPr lang="en-US" sz="12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61786"/>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Spons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Farid Abushov</a:t>
                      </a:r>
                      <a:r>
                        <a:rPr lang="en-US" sz="1400" b="0" kern="1200" baseline="0" noProof="0" dirty="0">
                          <a:solidFill>
                            <a:schemeClr val="tx1"/>
                          </a:solidFill>
                          <a:latin typeface="+mn-lt"/>
                          <a:ea typeface="+mn-ea"/>
                          <a:cs typeface="+mn-cs"/>
                        </a:rPr>
                        <a:t> </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Manage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Sevda Aliyeva</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Coordinat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Samir Hasanov</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918820192"/>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Main</a:t>
                      </a:r>
                      <a:r>
                        <a:rPr lang="en-US" sz="1400" b="1" kern="1200" baseline="0" noProof="0" dirty="0">
                          <a:solidFill>
                            <a:schemeClr val="tx1"/>
                          </a:solidFill>
                          <a:latin typeface="+mj-lt"/>
                          <a:ea typeface="+mn-ea"/>
                          <a:cs typeface="+mn-cs"/>
                        </a:rPr>
                        <a:t> Stakeholders</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baseline="0" noProof="0" dirty="0">
                          <a:solidFill>
                            <a:schemeClr val="tx1"/>
                          </a:solidFill>
                          <a:latin typeface="+mn-lt"/>
                          <a:ea typeface="+mn-ea"/>
                          <a:cs typeface="+mn-cs"/>
                        </a:rPr>
                        <a:t>FIN, C-level, Directors</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Selected</a:t>
                      </a:r>
                      <a:r>
                        <a:rPr lang="en-US" sz="1400" b="1" kern="1200" baseline="0" noProof="0" dirty="0">
                          <a:solidFill>
                            <a:schemeClr val="tx1"/>
                          </a:solidFill>
                          <a:latin typeface="+mj-lt"/>
                          <a:ea typeface="+mn-ea"/>
                          <a:cs typeface="+mn-cs"/>
                        </a:rPr>
                        <a:t> Vendo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TA Consult/ EBRD</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6"/>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Expected Start Date</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September’ 2020</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617183572"/>
                  </a:ext>
                </a:extLst>
              </a:tr>
            </a:tbl>
          </a:graphicData>
        </a:graphic>
      </p:graphicFrame>
      <p:graphicFrame>
        <p:nvGraphicFramePr>
          <p:cNvPr id="5" name="Table 4"/>
          <p:cNvGraphicFramePr>
            <a:graphicFrameLocks noGrp="1"/>
          </p:cNvGraphicFramePr>
          <p:nvPr/>
        </p:nvGraphicFramePr>
        <p:xfrm>
          <a:off x="540070" y="5483213"/>
          <a:ext cx="11111046" cy="936000"/>
        </p:xfrm>
        <a:graphic>
          <a:graphicData uri="http://schemas.openxmlformats.org/drawingml/2006/table">
            <a:tbl>
              <a:tblPr firstRow="1" bandRow="1"/>
              <a:tblGrid>
                <a:gridCol w="3088033">
                  <a:extLst>
                    <a:ext uri="{9D8B030D-6E8A-4147-A177-3AD203B41FA5}">
                      <a16:colId xmlns:a16="http://schemas.microsoft.com/office/drawing/2014/main" val="20000"/>
                    </a:ext>
                  </a:extLst>
                </a:gridCol>
                <a:gridCol w="3864078">
                  <a:extLst>
                    <a:ext uri="{9D8B030D-6E8A-4147-A177-3AD203B41FA5}">
                      <a16:colId xmlns:a16="http://schemas.microsoft.com/office/drawing/2014/main" val="20001"/>
                    </a:ext>
                  </a:extLst>
                </a:gridCol>
                <a:gridCol w="4158935">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Budget:</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Risk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marR="0" lvl="0" indent="0" algn="l" defTabSz="914400" rtl="0" eaLnBrk="1" fontAlgn="auto" latinLnBrk="0" hangingPunct="1">
                        <a:lnSpc>
                          <a:spcPct val="90000"/>
                        </a:lnSpc>
                        <a:spcBef>
                          <a:spcPts val="0"/>
                        </a:spcBef>
                        <a:spcAft>
                          <a:spcPts val="1000"/>
                        </a:spcAft>
                        <a:buClrTx/>
                        <a:buSzTx/>
                        <a:buFontTx/>
                        <a:buNone/>
                        <a:tabLst/>
                        <a:defRPr/>
                      </a:pPr>
                      <a:r>
                        <a:rPr lang="en-US" sz="1800" b="0" dirty="0">
                          <a:solidFill>
                            <a:schemeClr val="bg1"/>
                          </a:solidFill>
                          <a:latin typeface="+mj-lt"/>
                        </a:rPr>
                        <a:t>Dependencie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Proposed Total Budget: 99 338 Euro</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Unpredictable</a:t>
                      </a:r>
                      <a:r>
                        <a:rPr lang="en-US" sz="1200" baseline="0" dirty="0">
                          <a:latin typeface="+mj-lt"/>
                        </a:rPr>
                        <a:t> market situation and as a result low-quality outputs of the 1</a:t>
                      </a:r>
                      <a:r>
                        <a:rPr lang="en-US" sz="1200" baseline="30000" dirty="0">
                          <a:latin typeface="+mj-lt"/>
                        </a:rPr>
                        <a:t>st</a:t>
                      </a:r>
                      <a:r>
                        <a:rPr lang="en-US" sz="1200" baseline="0" dirty="0">
                          <a:latin typeface="+mj-lt"/>
                        </a:rPr>
                        <a:t> phase (moderate)</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Involvement</a:t>
                      </a:r>
                      <a:r>
                        <a:rPr lang="en-US" sz="1200" baseline="0" dirty="0">
                          <a:latin typeface="+mj-lt"/>
                        </a:rPr>
                        <a:t> and commitment of C-level and Directors are success critical for the project implementation</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baseline="0" dirty="0">
                          <a:latin typeface="+mj-lt"/>
                        </a:rPr>
                        <a:t>Budget to be paid by </a:t>
                      </a:r>
                      <a:r>
                        <a:rPr lang="en-US" sz="1200" baseline="0" dirty="0" err="1">
                          <a:latin typeface="+mj-lt"/>
                        </a:rPr>
                        <a:t>UniBank</a:t>
                      </a:r>
                      <a:r>
                        <a:rPr lang="en-US" sz="1200" baseline="0" dirty="0">
                          <a:latin typeface="+mj-lt"/>
                        </a:rPr>
                        <a:t>: 12 920 Euro</a:t>
                      </a:r>
                      <a:r>
                        <a:rPr lang="en-US" sz="1200" dirty="0">
                          <a:latin typeface="+mj-lt"/>
                        </a:rPr>
                        <a:t>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indent="0" algn="l" defTabSz="914400" rtl="0" eaLnBrk="1" fontAlgn="auto" latinLnBrk="0" hangingPunct="1">
                        <a:lnSpc>
                          <a:spcPct val="90000"/>
                        </a:lnSpc>
                        <a:spcBef>
                          <a:spcPts val="0"/>
                        </a:spcBef>
                        <a:spcAft>
                          <a:spcPts val="1000"/>
                        </a:spcAft>
                        <a:buClrTx/>
                        <a:buSzTx/>
                        <a:buFontTx/>
                        <a:buNone/>
                        <a:tabLst/>
                        <a:defRPr/>
                      </a:pPr>
                      <a:endParaRPr lang="en-US" sz="1200" kern="1200" baseline="0" dirty="0">
                        <a:solidFill>
                          <a:schemeClr val="dk1"/>
                        </a:solidFill>
                        <a:latin typeface="Calibri Light"/>
                        <a:ea typeface="+mn-ea"/>
                        <a:cs typeface="+mn-cs"/>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lnSpc>
                          <a:spcPct val="90000"/>
                        </a:lnSpc>
                        <a:spcAft>
                          <a:spcPts val="1000"/>
                        </a:spcAft>
                      </a:pPr>
                      <a:endParaRPr lang="en-US" sz="1100" dirty="0">
                        <a:latin typeface="+mj-lt"/>
                      </a:endParaRPr>
                    </a:p>
                  </a:txBody>
                  <a:tcPr marL="121904" marR="121904" marT="60960" marB="60960"/>
                </a:tc>
                <a:extLst>
                  <a:ext uri="{0D108BD9-81ED-4DB2-BD59-A6C34878D82A}">
                    <a16:rowId xmlns:a16="http://schemas.microsoft.com/office/drawing/2014/main" val="10002"/>
                  </a:ext>
                </a:extLst>
              </a:tr>
            </a:tbl>
          </a:graphicData>
        </a:graphic>
      </p:graphicFrame>
      <p:grpSp>
        <p:nvGrpSpPr>
          <p:cNvPr id="78" name="Gruppieren 30">
            <a:extLst>
              <a:ext uri="{FF2B5EF4-FFF2-40B4-BE49-F238E27FC236}">
                <a16:creationId xmlns:a16="http://schemas.microsoft.com/office/drawing/2014/main" id="{A4AD4FAB-FCC8-4F7D-835B-55A25C89CC75}"/>
              </a:ext>
            </a:extLst>
          </p:cNvPr>
          <p:cNvGrpSpPr>
            <a:grpSpLocks noChangeAspect="1"/>
          </p:cNvGrpSpPr>
          <p:nvPr/>
        </p:nvGrpSpPr>
        <p:grpSpPr bwMode="gray">
          <a:xfrm>
            <a:off x="540070" y="3498739"/>
            <a:ext cx="1092494" cy="1655926"/>
            <a:chOff x="455541" y="2960951"/>
            <a:chExt cx="1092494" cy="1655926"/>
          </a:xfrm>
        </p:grpSpPr>
        <p:sp>
          <p:nvSpPr>
            <p:cNvPr id="79" name="Rechteck 10">
              <a:extLst>
                <a:ext uri="{FF2B5EF4-FFF2-40B4-BE49-F238E27FC236}">
                  <a16:creationId xmlns:a16="http://schemas.microsoft.com/office/drawing/2014/main" id="{4DA48D98-D2A9-4E83-AE37-8B2A7281B75E}"/>
                </a:ext>
              </a:extLst>
            </p:cNvPr>
            <p:cNvSpPr/>
            <p:nvPr/>
          </p:nvSpPr>
          <p:spPr bwMode="gray">
            <a:xfrm>
              <a:off x="468035" y="3925031"/>
              <a:ext cx="1080000" cy="540000"/>
            </a:xfrm>
            <a:prstGeom prst="rect">
              <a:avLst/>
            </a:prstGeom>
            <a:noFill/>
            <a:ln w="25400" cap="flat" cmpd="sng" algn="ctr">
              <a:noFill/>
              <a:prstDash val="solid"/>
            </a:ln>
            <a:effectLst/>
          </p:spPr>
          <p:txBody>
            <a:bodyPr lIns="0" tIns="0" rIns="0" bIns="0" spcCol="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BBB59">
                      <a:lumMod val="50000"/>
                    </a:srgbClr>
                  </a:solidFill>
                  <a:effectLst/>
                  <a:uLnTx/>
                  <a:uFillTx/>
                  <a:latin typeface="Bebas Neue" panose="020B0506020202020201" pitchFamily="34" charset="0"/>
                  <a:ea typeface="+mn-ea"/>
                  <a:cs typeface="+mn-cs"/>
                </a:rPr>
                <a:t>Tentative Plan </a:t>
              </a:r>
              <a:endParaRPr kumimoji="0" lang="en-US" sz="1400" b="0" i="0" u="none" strike="noStrike" kern="0" cap="none" spc="0" normalizeH="0" baseline="0" noProof="0" dirty="0">
                <a:ln>
                  <a:noFill/>
                </a:ln>
                <a:solidFill>
                  <a:srgbClr val="9BBB59">
                    <a:lumMod val="50000"/>
                  </a:srgbClr>
                </a:solidFill>
                <a:effectLst/>
                <a:uLnTx/>
                <a:uFillTx/>
                <a:latin typeface="Calibri Light"/>
                <a:ea typeface="+mn-ea"/>
                <a:cs typeface="+mn-cs"/>
              </a:endParaRPr>
            </a:p>
          </p:txBody>
        </p:sp>
        <p:grpSp>
          <p:nvGrpSpPr>
            <p:cNvPr id="80" name="Gruppieren 25">
              <a:extLst>
                <a:ext uri="{FF2B5EF4-FFF2-40B4-BE49-F238E27FC236}">
                  <a16:creationId xmlns:a16="http://schemas.microsoft.com/office/drawing/2014/main" id="{48ABBB53-85BF-4500-8DA1-056FEE8D3C8C}"/>
                </a:ext>
              </a:extLst>
            </p:cNvPr>
            <p:cNvGrpSpPr>
              <a:grpSpLocks noChangeAspect="1"/>
            </p:cNvGrpSpPr>
            <p:nvPr/>
          </p:nvGrpSpPr>
          <p:grpSpPr bwMode="gray">
            <a:xfrm>
              <a:off x="455541" y="2960951"/>
              <a:ext cx="1092494" cy="1655926"/>
              <a:chOff x="455541" y="2960951"/>
              <a:chExt cx="1092494" cy="1655926"/>
            </a:xfrm>
          </p:grpSpPr>
          <p:sp>
            <p:nvSpPr>
              <p:cNvPr id="81" name="Ellipse 5">
                <a:extLst>
                  <a:ext uri="{FF2B5EF4-FFF2-40B4-BE49-F238E27FC236}">
                    <a16:creationId xmlns:a16="http://schemas.microsoft.com/office/drawing/2014/main" id="{2F4D8319-9F4B-43D7-90FA-278EC196E006}"/>
                  </a:ext>
                </a:extLst>
              </p:cNvPr>
              <p:cNvSpPr>
                <a:spLocks noChangeAspect="1"/>
              </p:cNvSpPr>
              <p:nvPr/>
            </p:nvSpPr>
            <p:spPr bwMode="gray">
              <a:xfrm>
                <a:off x="455541" y="3256056"/>
                <a:ext cx="468000" cy="468000"/>
              </a:xfrm>
              <a:prstGeom prst="ellipse">
                <a:avLst/>
              </a:prstGeom>
              <a:solidFill>
                <a:srgbClr val="9BBB59">
                  <a:lumMod val="20000"/>
                  <a:lumOff val="80000"/>
                </a:srgbClr>
              </a:solidFill>
              <a:ln w="254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82" name="Gruppieren 86">
                <a:extLst>
                  <a:ext uri="{FF2B5EF4-FFF2-40B4-BE49-F238E27FC236}">
                    <a16:creationId xmlns:a16="http://schemas.microsoft.com/office/drawing/2014/main" id="{896C9FC7-D7D6-4522-8778-AC586851BCD2}"/>
                  </a:ext>
                </a:extLst>
              </p:cNvPr>
              <p:cNvGrpSpPr>
                <a:grpSpLocks noChangeAspect="1"/>
              </p:cNvGrpSpPr>
              <p:nvPr/>
            </p:nvGrpSpPr>
            <p:grpSpPr bwMode="gray">
              <a:xfrm>
                <a:off x="540070" y="2960951"/>
                <a:ext cx="721214" cy="611922"/>
                <a:chOff x="6254298" y="14463442"/>
                <a:chExt cx="787100" cy="667824"/>
              </a:xfrm>
            </p:grpSpPr>
            <p:sp>
              <p:nvSpPr>
                <p:cNvPr id="84" name="Freihandform: Form 95">
                  <a:extLst>
                    <a:ext uri="{FF2B5EF4-FFF2-40B4-BE49-F238E27FC236}">
                      <a16:creationId xmlns:a16="http://schemas.microsoft.com/office/drawing/2014/main" id="{FAA7C7F2-A1FC-4F87-83DF-D995F7EEED9C}"/>
                    </a:ext>
                  </a:extLst>
                </p:cNvPr>
                <p:cNvSpPr/>
                <p:nvPr/>
              </p:nvSpPr>
              <p:spPr bwMode="gray">
                <a:xfrm>
                  <a:off x="6254298" y="14671115"/>
                  <a:ext cx="787100" cy="460151"/>
                </a:xfrm>
                <a:custGeom>
                  <a:avLst/>
                  <a:gdLst>
                    <a:gd name="connsiteX0" fmla="*/ 1046212 w 1058836"/>
                    <a:gd name="connsiteY0" fmla="*/ 18326 h 619011"/>
                    <a:gd name="connsiteX1" fmla="*/ 1046212 w 1058836"/>
                    <a:gd name="connsiteY1" fmla="*/ 550187 h 619011"/>
                    <a:gd name="connsiteX2" fmla="*/ 995713 w 1058836"/>
                    <a:gd name="connsiteY2" fmla="*/ 600686 h 619011"/>
                    <a:gd name="connsiteX3" fmla="*/ 68824 w 1058836"/>
                    <a:gd name="connsiteY3" fmla="*/ 600686 h 619011"/>
                    <a:gd name="connsiteX4" fmla="*/ 18326 w 1058836"/>
                    <a:gd name="connsiteY4" fmla="*/ 550187 h 619011"/>
                    <a:gd name="connsiteX5" fmla="*/ 18326 w 1058836"/>
                    <a:gd name="connsiteY5" fmla="*/ 18326 h 6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836" h="619011">
                      <a:moveTo>
                        <a:pt x="1046212" y="18326"/>
                      </a:moveTo>
                      <a:lnTo>
                        <a:pt x="1046212" y="550187"/>
                      </a:lnTo>
                      <a:cubicBezTo>
                        <a:pt x="1046212" y="577880"/>
                        <a:pt x="1023406" y="600686"/>
                        <a:pt x="995713" y="600686"/>
                      </a:cubicBezTo>
                      <a:lnTo>
                        <a:pt x="68824" y="600686"/>
                      </a:lnTo>
                      <a:cubicBezTo>
                        <a:pt x="41132" y="600686"/>
                        <a:pt x="18326" y="577880"/>
                        <a:pt x="18326" y="550187"/>
                      </a:cubicBezTo>
                      <a:lnTo>
                        <a:pt x="18326" y="18326"/>
                      </a:lnTo>
                    </a:path>
                  </a:pathLst>
                </a:custGeom>
                <a:noFill/>
                <a:ln w="254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5" name="Freihandform: Form 96">
                  <a:extLst>
                    <a:ext uri="{FF2B5EF4-FFF2-40B4-BE49-F238E27FC236}">
                      <a16:creationId xmlns:a16="http://schemas.microsoft.com/office/drawing/2014/main" id="{C7CD4F6F-3ECA-455C-AB69-017B06E8E3BA}"/>
                    </a:ext>
                  </a:extLst>
                </p:cNvPr>
                <p:cNvSpPr/>
                <p:nvPr/>
              </p:nvSpPr>
              <p:spPr bwMode="gray">
                <a:xfrm>
                  <a:off x="6382051" y="14533675"/>
                  <a:ext cx="96874" cy="72656"/>
                </a:xfrm>
                <a:custGeom>
                  <a:avLst/>
                  <a:gdLst>
                    <a:gd name="connsiteX0" fmla="*/ 22398 w 130318"/>
                    <a:gd name="connsiteY0" fmla="*/ 18326 h 97738"/>
                    <a:gd name="connsiteX1" fmla="*/ 18326 w 130318"/>
                    <a:gd name="connsiteY1" fmla="*/ 36245 h 97738"/>
                    <a:gd name="connsiteX2" fmla="*/ 65566 w 130318"/>
                    <a:gd name="connsiteY2" fmla="*/ 83485 h 97738"/>
                    <a:gd name="connsiteX3" fmla="*/ 112807 w 130318"/>
                    <a:gd name="connsiteY3" fmla="*/ 36245 h 97738"/>
                    <a:gd name="connsiteX4" fmla="*/ 108734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22398" y="18326"/>
                      </a:moveTo>
                      <a:cubicBezTo>
                        <a:pt x="19955" y="24028"/>
                        <a:pt x="18326" y="29729"/>
                        <a:pt x="18326" y="36245"/>
                      </a:cubicBezTo>
                      <a:cubicBezTo>
                        <a:pt x="18326" y="62309"/>
                        <a:pt x="39503" y="83485"/>
                        <a:pt x="65566" y="83485"/>
                      </a:cubicBezTo>
                      <a:cubicBezTo>
                        <a:pt x="91630" y="83485"/>
                        <a:pt x="112807" y="62309"/>
                        <a:pt x="112807" y="36245"/>
                      </a:cubicBezTo>
                      <a:cubicBezTo>
                        <a:pt x="112807" y="29729"/>
                        <a:pt x="111178" y="23213"/>
                        <a:pt x="108734"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6" name="Freihandform: Form 113">
                  <a:extLst>
                    <a:ext uri="{FF2B5EF4-FFF2-40B4-BE49-F238E27FC236}">
                      <a16:creationId xmlns:a16="http://schemas.microsoft.com/office/drawing/2014/main" id="{7F1E6192-8D5E-475E-AA43-FD1117977360}"/>
                    </a:ext>
                  </a:extLst>
                </p:cNvPr>
                <p:cNvSpPr/>
                <p:nvPr/>
              </p:nvSpPr>
              <p:spPr bwMode="gray">
                <a:xfrm>
                  <a:off x="6417773"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7" name="Freihandform: Form 114">
                  <a:extLst>
                    <a:ext uri="{FF2B5EF4-FFF2-40B4-BE49-F238E27FC236}">
                      <a16:creationId xmlns:a16="http://schemas.microsoft.com/office/drawing/2014/main" id="{7FA32BF6-3BC9-4EB9-9B7D-84DE5D61B1C1}"/>
                    </a:ext>
                  </a:extLst>
                </p:cNvPr>
                <p:cNvSpPr/>
                <p:nvPr/>
              </p:nvSpPr>
              <p:spPr bwMode="gray">
                <a:xfrm>
                  <a:off x="6820405" y="14533675"/>
                  <a:ext cx="96874" cy="72656"/>
                </a:xfrm>
                <a:custGeom>
                  <a:avLst/>
                  <a:gdLst>
                    <a:gd name="connsiteX0" fmla="*/ 108734 w 130318"/>
                    <a:gd name="connsiteY0" fmla="*/ 18326 h 97738"/>
                    <a:gd name="connsiteX1" fmla="*/ 112807 w 130318"/>
                    <a:gd name="connsiteY1" fmla="*/ 36245 h 97738"/>
                    <a:gd name="connsiteX2" fmla="*/ 65566 w 130318"/>
                    <a:gd name="connsiteY2" fmla="*/ 83485 h 97738"/>
                    <a:gd name="connsiteX3" fmla="*/ 18326 w 130318"/>
                    <a:gd name="connsiteY3" fmla="*/ 36245 h 97738"/>
                    <a:gd name="connsiteX4" fmla="*/ 22398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108734" y="18326"/>
                      </a:moveTo>
                      <a:cubicBezTo>
                        <a:pt x="111178" y="24028"/>
                        <a:pt x="112807" y="29729"/>
                        <a:pt x="112807" y="36245"/>
                      </a:cubicBezTo>
                      <a:cubicBezTo>
                        <a:pt x="112807" y="62309"/>
                        <a:pt x="91630" y="83485"/>
                        <a:pt x="65566" y="83485"/>
                      </a:cubicBezTo>
                      <a:cubicBezTo>
                        <a:pt x="39503" y="83485"/>
                        <a:pt x="18326" y="62309"/>
                        <a:pt x="18326" y="36245"/>
                      </a:cubicBezTo>
                      <a:cubicBezTo>
                        <a:pt x="18326" y="29729"/>
                        <a:pt x="19955" y="23213"/>
                        <a:pt x="22398"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8" name="Freihandform: Form 115">
                  <a:extLst>
                    <a:ext uri="{FF2B5EF4-FFF2-40B4-BE49-F238E27FC236}">
                      <a16:creationId xmlns:a16="http://schemas.microsoft.com/office/drawing/2014/main" id="{43DE409F-110F-4048-9552-1697497698AB}"/>
                    </a:ext>
                  </a:extLst>
                </p:cNvPr>
                <p:cNvSpPr/>
                <p:nvPr/>
              </p:nvSpPr>
              <p:spPr bwMode="gray">
                <a:xfrm>
                  <a:off x="6854916"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9" name="Freihandform: Form 116">
                  <a:extLst>
                    <a:ext uri="{FF2B5EF4-FFF2-40B4-BE49-F238E27FC236}">
                      <a16:creationId xmlns:a16="http://schemas.microsoft.com/office/drawing/2014/main" id="{A9052A0E-050E-47FA-BDD5-B661298FA3ED}"/>
                    </a:ext>
                  </a:extLst>
                </p:cNvPr>
                <p:cNvSpPr/>
                <p:nvPr/>
              </p:nvSpPr>
              <p:spPr bwMode="gray">
                <a:xfrm>
                  <a:off x="6457128" y="14486450"/>
                  <a:ext cx="381441" cy="24219"/>
                </a:xfrm>
                <a:custGeom>
                  <a:avLst/>
                  <a:gdLst>
                    <a:gd name="connsiteX0" fmla="*/ 501318 w 513128"/>
                    <a:gd name="connsiteY0" fmla="*/ 18326 h 32579"/>
                    <a:gd name="connsiteX1" fmla="*/ 18326 w 513128"/>
                    <a:gd name="connsiteY1" fmla="*/ 18326 h 32579"/>
                  </a:gdLst>
                  <a:ahLst/>
                  <a:cxnLst>
                    <a:cxn ang="0">
                      <a:pos x="connsiteX0" y="connsiteY0"/>
                    </a:cxn>
                    <a:cxn ang="0">
                      <a:pos x="connsiteX1" y="connsiteY1"/>
                    </a:cxn>
                  </a:cxnLst>
                  <a:rect l="l" t="t" r="r" b="b"/>
                  <a:pathLst>
                    <a:path w="513128" h="32579">
                      <a:moveTo>
                        <a:pt x="501318" y="18326"/>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0" name="Freihandform: Form 117">
                  <a:extLst>
                    <a:ext uri="{FF2B5EF4-FFF2-40B4-BE49-F238E27FC236}">
                      <a16:creationId xmlns:a16="http://schemas.microsoft.com/office/drawing/2014/main" id="{E66FB6D5-502A-4134-A4DB-6D030E0DFB03}"/>
                    </a:ext>
                  </a:extLst>
                </p:cNvPr>
                <p:cNvSpPr/>
                <p:nvPr/>
              </p:nvSpPr>
              <p:spPr bwMode="gray">
                <a:xfrm>
                  <a:off x="6254298" y="14486450"/>
                  <a:ext cx="787100" cy="211911"/>
                </a:xfrm>
                <a:custGeom>
                  <a:avLst/>
                  <a:gdLst>
                    <a:gd name="connsiteX0" fmla="*/ 186111 w 1058836"/>
                    <a:gd name="connsiteY0" fmla="*/ 18326 h 285071"/>
                    <a:gd name="connsiteX1" fmla="*/ 68824 w 1058836"/>
                    <a:gd name="connsiteY1" fmla="*/ 18326 h 285071"/>
                    <a:gd name="connsiteX2" fmla="*/ 18326 w 1058836"/>
                    <a:gd name="connsiteY2" fmla="*/ 68824 h 285071"/>
                    <a:gd name="connsiteX3" fmla="*/ 18326 w 1058836"/>
                    <a:gd name="connsiteY3" fmla="*/ 266745 h 285071"/>
                    <a:gd name="connsiteX4" fmla="*/ 1046212 w 1058836"/>
                    <a:gd name="connsiteY4" fmla="*/ 266745 h 285071"/>
                    <a:gd name="connsiteX5" fmla="*/ 1046212 w 1058836"/>
                    <a:gd name="connsiteY5" fmla="*/ 68824 h 285071"/>
                    <a:gd name="connsiteX6" fmla="*/ 995713 w 1058836"/>
                    <a:gd name="connsiteY6" fmla="*/ 18326 h 285071"/>
                    <a:gd name="connsiteX7" fmla="*/ 878427 w 1058836"/>
                    <a:gd name="connsiteY7" fmla="*/ 18326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836" h="285071">
                      <a:moveTo>
                        <a:pt x="186111" y="18326"/>
                      </a:moveTo>
                      <a:lnTo>
                        <a:pt x="68824" y="18326"/>
                      </a:lnTo>
                      <a:cubicBezTo>
                        <a:pt x="41132" y="18326"/>
                        <a:pt x="18326" y="41132"/>
                        <a:pt x="18326" y="68824"/>
                      </a:cubicBezTo>
                      <a:lnTo>
                        <a:pt x="18326" y="266745"/>
                      </a:lnTo>
                      <a:lnTo>
                        <a:pt x="1046212" y="266745"/>
                      </a:lnTo>
                      <a:lnTo>
                        <a:pt x="1046212" y="68824"/>
                      </a:lnTo>
                      <a:cubicBezTo>
                        <a:pt x="1046212" y="41132"/>
                        <a:pt x="1023406" y="18326"/>
                        <a:pt x="995713" y="18326"/>
                      </a:cubicBezTo>
                      <a:lnTo>
                        <a:pt x="878427" y="18326"/>
                      </a:ln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1" name="Freihandform: Form 118">
                  <a:extLst>
                    <a:ext uri="{FF2B5EF4-FFF2-40B4-BE49-F238E27FC236}">
                      <a16:creationId xmlns:a16="http://schemas.microsoft.com/office/drawing/2014/main" id="{8C9632E8-EC46-4B4A-8D59-677454E6CF33}"/>
                    </a:ext>
                  </a:extLst>
                </p:cNvPr>
                <p:cNvSpPr/>
                <p:nvPr/>
              </p:nvSpPr>
              <p:spPr bwMode="gray">
                <a:xfrm>
                  <a:off x="6481952" y="14733478"/>
                  <a:ext cx="333004" cy="333004"/>
                </a:xfrm>
                <a:custGeom>
                  <a:avLst/>
                  <a:gdLst>
                    <a:gd name="connsiteX0" fmla="*/ 433716 w 447969"/>
                    <a:gd name="connsiteY0" fmla="*/ 226021 h 447969"/>
                    <a:gd name="connsiteX1" fmla="*/ 226021 w 447969"/>
                    <a:gd name="connsiteY1" fmla="*/ 433715 h 447969"/>
                    <a:gd name="connsiteX2" fmla="*/ 18326 w 447969"/>
                    <a:gd name="connsiteY2" fmla="*/ 226021 h 447969"/>
                    <a:gd name="connsiteX3" fmla="*/ 226021 w 447969"/>
                    <a:gd name="connsiteY3" fmla="*/ 18326 h 447969"/>
                    <a:gd name="connsiteX4" fmla="*/ 433716 w 447969"/>
                    <a:gd name="connsiteY4" fmla="*/ 226021 h 44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969" h="447969">
                      <a:moveTo>
                        <a:pt x="433716" y="226021"/>
                      </a:moveTo>
                      <a:cubicBezTo>
                        <a:pt x="433716" y="340727"/>
                        <a:pt x="340727" y="433715"/>
                        <a:pt x="226021" y="433715"/>
                      </a:cubicBezTo>
                      <a:cubicBezTo>
                        <a:pt x="111314" y="433715"/>
                        <a:pt x="18326" y="340727"/>
                        <a:pt x="18326" y="226021"/>
                      </a:cubicBezTo>
                      <a:cubicBezTo>
                        <a:pt x="18326" y="111314"/>
                        <a:pt x="111314" y="18326"/>
                        <a:pt x="226021" y="18326"/>
                      </a:cubicBezTo>
                      <a:cubicBezTo>
                        <a:pt x="340727" y="18326"/>
                        <a:pt x="433716" y="111314"/>
                        <a:pt x="433716" y="226021"/>
                      </a:cubicBezTo>
                      <a:close/>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2" name="Freihandform: Form 119">
                  <a:extLst>
                    <a:ext uri="{FF2B5EF4-FFF2-40B4-BE49-F238E27FC236}">
                      <a16:creationId xmlns:a16="http://schemas.microsoft.com/office/drawing/2014/main" id="{B6E8E987-E9D1-4910-9745-1F304319BD73}"/>
                    </a:ext>
                  </a:extLst>
                </p:cNvPr>
                <p:cNvSpPr/>
                <p:nvPr/>
              </p:nvSpPr>
              <p:spPr bwMode="gray">
                <a:xfrm rot="2700000">
                  <a:off x="6670910" y="14822908"/>
                  <a:ext cx="24219" cy="181638"/>
                </a:xfrm>
                <a:custGeom>
                  <a:avLst/>
                  <a:gdLst>
                    <a:gd name="connsiteX0" fmla="*/ 18326 w 32579"/>
                    <a:gd name="connsiteY0" fmla="*/ 18326 h 244346"/>
                    <a:gd name="connsiteX1" fmla="*/ 18326 w 32579"/>
                    <a:gd name="connsiteY1" fmla="*/ 227650 h 244346"/>
                  </a:gdLst>
                  <a:ahLst/>
                  <a:cxnLst>
                    <a:cxn ang="0">
                      <a:pos x="connsiteX0" y="connsiteY0"/>
                    </a:cxn>
                    <a:cxn ang="0">
                      <a:pos x="connsiteX1" y="connsiteY1"/>
                    </a:cxn>
                  </a:cxnLst>
                  <a:rect l="l" t="t" r="r" b="b"/>
                  <a:pathLst>
                    <a:path w="32579" h="244346">
                      <a:moveTo>
                        <a:pt x="18326" y="18326"/>
                      </a:moveTo>
                      <a:lnTo>
                        <a:pt x="18326" y="227650"/>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3" name="Freihandform: Form 120">
                  <a:extLst>
                    <a:ext uri="{FF2B5EF4-FFF2-40B4-BE49-F238E27FC236}">
                      <a16:creationId xmlns:a16="http://schemas.microsoft.com/office/drawing/2014/main" id="{ED14B6BD-DC59-4314-BB9A-E3EE8AFF0A0C}"/>
                    </a:ext>
                  </a:extLst>
                </p:cNvPr>
                <p:cNvSpPr/>
                <p:nvPr/>
              </p:nvSpPr>
              <p:spPr bwMode="gray">
                <a:xfrm rot="2700000">
                  <a:off x="6554892" y="14906651"/>
                  <a:ext cx="90733" cy="58568"/>
                </a:xfrm>
                <a:custGeom>
                  <a:avLst/>
                  <a:gdLst>
                    <a:gd name="connsiteX0" fmla="*/ 18326 w 244346"/>
                    <a:gd name="connsiteY0" fmla="*/ 18326 h 32579"/>
                    <a:gd name="connsiteX1" fmla="*/ 227650 w 244346"/>
                    <a:gd name="connsiteY1" fmla="*/ 18326 h 32579"/>
                  </a:gdLst>
                  <a:ahLst/>
                  <a:cxnLst>
                    <a:cxn ang="0">
                      <a:pos x="connsiteX0" y="connsiteY0"/>
                    </a:cxn>
                    <a:cxn ang="0">
                      <a:pos x="connsiteX1" y="connsiteY1"/>
                    </a:cxn>
                  </a:cxnLst>
                  <a:rect l="l" t="t" r="r" b="b"/>
                  <a:pathLst>
                    <a:path w="244346" h="32579">
                      <a:moveTo>
                        <a:pt x="18326" y="18326"/>
                      </a:moveTo>
                      <a:lnTo>
                        <a:pt x="227650"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cxnSp>
            <p:nvCxnSpPr>
              <p:cNvPr id="83" name="Gerader Verbinder 121">
                <a:extLst>
                  <a:ext uri="{FF2B5EF4-FFF2-40B4-BE49-F238E27FC236}">
                    <a16:creationId xmlns:a16="http://schemas.microsoft.com/office/drawing/2014/main" id="{7A668557-0AA1-469C-BB26-F222F25AD340}"/>
                  </a:ext>
                </a:extLst>
              </p:cNvPr>
              <p:cNvCxnSpPr>
                <a:cxnSpLocks/>
              </p:cNvCxnSpPr>
              <p:nvPr/>
            </p:nvCxnSpPr>
            <p:spPr bwMode="gray">
              <a:xfrm rot="5400000">
                <a:off x="738035" y="3806877"/>
                <a:ext cx="1620000" cy="0"/>
              </a:xfrm>
              <a:prstGeom prst="line">
                <a:avLst/>
              </a:prstGeom>
              <a:noFill/>
              <a:ln w="6350" cap="flat" cmpd="sng" algn="ctr">
                <a:solidFill>
                  <a:srgbClr val="9BBB59">
                    <a:lumMod val="75000"/>
                  </a:srgbClr>
                </a:solidFill>
                <a:prstDash val="solid"/>
                <a:tailEnd type="none"/>
              </a:ln>
              <a:effectLst/>
            </p:spPr>
          </p:cxnSp>
        </p:grpSp>
      </p:grpSp>
      <p:graphicFrame>
        <p:nvGraphicFramePr>
          <p:cNvPr id="12" name="Table 11"/>
          <p:cNvGraphicFramePr>
            <a:graphicFrameLocks noGrp="1"/>
          </p:cNvGraphicFramePr>
          <p:nvPr/>
        </p:nvGraphicFramePr>
        <p:xfrm>
          <a:off x="1977085" y="3313346"/>
          <a:ext cx="9674033" cy="1976408"/>
        </p:xfrm>
        <a:graphic>
          <a:graphicData uri="http://schemas.openxmlformats.org/drawingml/2006/table">
            <a:tbl>
              <a:tblPr/>
              <a:tblGrid>
                <a:gridCol w="5185713">
                  <a:extLst>
                    <a:ext uri="{9D8B030D-6E8A-4147-A177-3AD203B41FA5}">
                      <a16:colId xmlns:a16="http://schemas.microsoft.com/office/drawing/2014/main" val="20000"/>
                    </a:ext>
                  </a:extLst>
                </a:gridCol>
                <a:gridCol w="286108">
                  <a:extLst>
                    <a:ext uri="{9D8B030D-6E8A-4147-A177-3AD203B41FA5}">
                      <a16:colId xmlns:a16="http://schemas.microsoft.com/office/drawing/2014/main" val="20001"/>
                    </a:ext>
                  </a:extLst>
                </a:gridCol>
                <a:gridCol w="286108">
                  <a:extLst>
                    <a:ext uri="{9D8B030D-6E8A-4147-A177-3AD203B41FA5}">
                      <a16:colId xmlns:a16="http://schemas.microsoft.com/office/drawing/2014/main" val="20002"/>
                    </a:ext>
                  </a:extLst>
                </a:gridCol>
                <a:gridCol w="286108">
                  <a:extLst>
                    <a:ext uri="{9D8B030D-6E8A-4147-A177-3AD203B41FA5}">
                      <a16:colId xmlns:a16="http://schemas.microsoft.com/office/drawing/2014/main" val="20003"/>
                    </a:ext>
                  </a:extLst>
                </a:gridCol>
                <a:gridCol w="286108">
                  <a:extLst>
                    <a:ext uri="{9D8B030D-6E8A-4147-A177-3AD203B41FA5}">
                      <a16:colId xmlns:a16="http://schemas.microsoft.com/office/drawing/2014/main" val="20004"/>
                    </a:ext>
                  </a:extLst>
                </a:gridCol>
                <a:gridCol w="286108">
                  <a:extLst>
                    <a:ext uri="{9D8B030D-6E8A-4147-A177-3AD203B41FA5}">
                      <a16:colId xmlns:a16="http://schemas.microsoft.com/office/drawing/2014/main" val="20005"/>
                    </a:ext>
                  </a:extLst>
                </a:gridCol>
                <a:gridCol w="286108">
                  <a:extLst>
                    <a:ext uri="{9D8B030D-6E8A-4147-A177-3AD203B41FA5}">
                      <a16:colId xmlns:a16="http://schemas.microsoft.com/office/drawing/2014/main" val="20006"/>
                    </a:ext>
                  </a:extLst>
                </a:gridCol>
                <a:gridCol w="286108">
                  <a:extLst>
                    <a:ext uri="{9D8B030D-6E8A-4147-A177-3AD203B41FA5}">
                      <a16:colId xmlns:a16="http://schemas.microsoft.com/office/drawing/2014/main" val="20007"/>
                    </a:ext>
                  </a:extLst>
                </a:gridCol>
                <a:gridCol w="286108">
                  <a:extLst>
                    <a:ext uri="{9D8B030D-6E8A-4147-A177-3AD203B41FA5}">
                      <a16:colId xmlns:a16="http://schemas.microsoft.com/office/drawing/2014/main" val="20008"/>
                    </a:ext>
                  </a:extLst>
                </a:gridCol>
                <a:gridCol w="286108">
                  <a:extLst>
                    <a:ext uri="{9D8B030D-6E8A-4147-A177-3AD203B41FA5}">
                      <a16:colId xmlns:a16="http://schemas.microsoft.com/office/drawing/2014/main" val="20009"/>
                    </a:ext>
                  </a:extLst>
                </a:gridCol>
                <a:gridCol w="286108">
                  <a:extLst>
                    <a:ext uri="{9D8B030D-6E8A-4147-A177-3AD203B41FA5}">
                      <a16:colId xmlns:a16="http://schemas.microsoft.com/office/drawing/2014/main" val="20010"/>
                    </a:ext>
                  </a:extLst>
                </a:gridCol>
                <a:gridCol w="286108">
                  <a:extLst>
                    <a:ext uri="{9D8B030D-6E8A-4147-A177-3AD203B41FA5}">
                      <a16:colId xmlns:a16="http://schemas.microsoft.com/office/drawing/2014/main" val="20011"/>
                    </a:ext>
                  </a:extLst>
                </a:gridCol>
                <a:gridCol w="286108">
                  <a:extLst>
                    <a:ext uri="{9D8B030D-6E8A-4147-A177-3AD203B41FA5}">
                      <a16:colId xmlns:a16="http://schemas.microsoft.com/office/drawing/2014/main" val="20012"/>
                    </a:ext>
                  </a:extLst>
                </a:gridCol>
                <a:gridCol w="286108">
                  <a:extLst>
                    <a:ext uri="{9D8B030D-6E8A-4147-A177-3AD203B41FA5}">
                      <a16:colId xmlns:a16="http://schemas.microsoft.com/office/drawing/2014/main" val="20013"/>
                    </a:ext>
                  </a:extLst>
                </a:gridCol>
                <a:gridCol w="250345">
                  <a:extLst>
                    <a:ext uri="{9D8B030D-6E8A-4147-A177-3AD203B41FA5}">
                      <a16:colId xmlns:a16="http://schemas.microsoft.com/office/drawing/2014/main" val="20014"/>
                    </a:ext>
                  </a:extLst>
                </a:gridCol>
                <a:gridCol w="250345">
                  <a:extLst>
                    <a:ext uri="{9D8B030D-6E8A-4147-A177-3AD203B41FA5}">
                      <a16:colId xmlns:a16="http://schemas.microsoft.com/office/drawing/2014/main" val="20015"/>
                    </a:ext>
                  </a:extLst>
                </a:gridCol>
                <a:gridCol w="268226">
                  <a:extLst>
                    <a:ext uri="{9D8B030D-6E8A-4147-A177-3AD203B41FA5}">
                      <a16:colId xmlns:a16="http://schemas.microsoft.com/office/drawing/2014/main" val="20016"/>
                    </a:ext>
                  </a:extLst>
                </a:gridCol>
              </a:tblGrid>
              <a:tr h="277439">
                <a:tc>
                  <a:txBody>
                    <a:bodyPr/>
                    <a:lstStyle/>
                    <a:p>
                      <a:pPr algn="l" fontAlgn="b"/>
                      <a:endParaRPr lang="en-US" sz="1400" b="0" i="0" u="none" strike="noStrike" dirty="0">
                        <a:solidFill>
                          <a:srgbClr val="000000"/>
                        </a:solidFill>
                        <a:effectLst/>
                        <a:latin typeface="+mj-lt"/>
                      </a:endParaRPr>
                    </a:p>
                  </a:txBody>
                  <a:tcPr marL="6350" marR="6350" marT="6350" marB="0" anchor="b">
                    <a:lnL>
                      <a:noFill/>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gridSpan="4">
                  <a:txBody>
                    <a:bodyPr/>
                    <a:lstStyle/>
                    <a:p>
                      <a:pPr algn="ctr" fontAlgn="ctr"/>
                      <a:r>
                        <a:rPr lang="en-US" sz="1400" b="0" i="0" u="none" strike="noStrike" dirty="0">
                          <a:solidFill>
                            <a:srgbClr val="000000"/>
                          </a:solidFill>
                          <a:effectLst/>
                          <a:latin typeface="+mj-lt"/>
                        </a:rPr>
                        <a:t>2020 (MVP)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12">
                  <a:txBody>
                    <a:bodyPr/>
                    <a:lstStyle/>
                    <a:p>
                      <a:pPr algn="ctr" fontAlgn="ctr"/>
                      <a:r>
                        <a:rPr lang="en-US" sz="1400" b="0" i="0" u="none" strike="noStrike" dirty="0">
                          <a:solidFill>
                            <a:srgbClr val="000000"/>
                          </a:solidFill>
                          <a:effectLst/>
                          <a:latin typeface="+mj-lt"/>
                        </a:rPr>
                        <a:t>2021 (full-stack</a:t>
                      </a:r>
                      <a:r>
                        <a:rPr lang="en-US" sz="1400" b="0" i="0" u="none" strike="noStrike" baseline="0" dirty="0">
                          <a:solidFill>
                            <a:srgbClr val="000000"/>
                          </a:solidFill>
                          <a:effectLst/>
                          <a:latin typeface="+mj-lt"/>
                        </a:rPr>
                        <a:t> process)</a:t>
                      </a: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a:noFill/>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58285">
                <a:tc>
                  <a:txBody>
                    <a:bodyPr/>
                    <a:lstStyle/>
                    <a:p>
                      <a:pPr algn="ctr" fontAlgn="ctr"/>
                      <a:r>
                        <a:rPr lang="en-US" sz="1400" b="0" i="0" u="none" strike="noStrike" dirty="0">
                          <a:solidFill>
                            <a:srgbClr val="FFFFFF"/>
                          </a:solidFill>
                          <a:effectLst/>
                          <a:latin typeface="+mj-lt"/>
                        </a:rPr>
                        <a:t>Project Phases/ Milestones</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50000"/>
                      </a:schemeClr>
                    </a:solidFill>
                  </a:tcPr>
                </a:tc>
                <a:tc>
                  <a:txBody>
                    <a:bodyPr/>
                    <a:lstStyle/>
                    <a:p>
                      <a:pPr algn="ctr" fontAlgn="ctr"/>
                      <a:r>
                        <a:rPr lang="en-US" sz="1400" b="0" i="0" u="none" strike="noStrike" dirty="0">
                          <a:solidFill>
                            <a:srgbClr val="FFFFFF"/>
                          </a:solidFill>
                          <a:effectLst/>
                          <a:latin typeface="+mj-lt"/>
                        </a:rPr>
                        <a:t>9</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5</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6</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7</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8</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9</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ctr" fontAlgn="ctr"/>
                      <a:r>
                        <a:rPr lang="en-US" sz="1400" b="0" i="0" u="none" strike="noStrike" dirty="0">
                          <a:solidFill>
                            <a:srgbClr val="FFFFFF"/>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extLst>
                  <a:ext uri="{0D108BD9-81ED-4DB2-BD59-A6C34878D82A}">
                    <a16:rowId xmlns:a16="http://schemas.microsoft.com/office/drawing/2014/main" val="10001"/>
                  </a:ext>
                </a:extLst>
              </a:tr>
              <a:tr h="335171">
                <a:tc gridSpan="17">
                  <a:txBody>
                    <a:bodyPr/>
                    <a:lstStyle/>
                    <a:p>
                      <a:pPr algn="l" fontAlgn="ctr"/>
                      <a:endParaRPr lang="en-US" sz="1400" b="0" i="0" u="none" strike="noStrike" dirty="0">
                        <a:solidFill>
                          <a:srgbClr val="000000"/>
                        </a:solidFill>
                        <a:effectLst/>
                        <a:latin typeface="+mj-lt"/>
                      </a:endParaRPr>
                    </a:p>
                  </a:txBody>
                  <a:tcPr marL="6350" marR="6350" marT="6350" marB="0" anchor="ctr">
                    <a:lnL>
                      <a:noFill/>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35171">
                <a:tc>
                  <a:txBody>
                    <a:bodyPr/>
                    <a:lstStyle/>
                    <a:p>
                      <a:pPr algn="l" fontAlgn="ctr"/>
                      <a:r>
                        <a:rPr lang="en-US" sz="1400" b="0" i="0" u="none" strike="noStrike" dirty="0">
                          <a:solidFill>
                            <a:srgbClr val="000000"/>
                          </a:solidFill>
                          <a:effectLst/>
                          <a:latin typeface="+mj-lt"/>
                        </a:rPr>
                        <a:t>1. Analysis of the market and the situation in the bank </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extLst>
                  <a:ext uri="{0D108BD9-81ED-4DB2-BD59-A6C34878D82A}">
                    <a16:rowId xmlns:a16="http://schemas.microsoft.com/office/drawing/2014/main" val="10003"/>
                  </a:ext>
                </a:extLst>
              </a:tr>
              <a:tr h="335171">
                <a:tc>
                  <a:txBody>
                    <a:bodyPr/>
                    <a:lstStyle/>
                    <a:p>
                      <a:pPr algn="l" fontAlgn="ctr"/>
                      <a:r>
                        <a:rPr lang="en-US" sz="1400" b="0" i="0" u="none" strike="noStrike" dirty="0">
                          <a:solidFill>
                            <a:srgbClr val="000000"/>
                          </a:solidFill>
                          <a:effectLst/>
                          <a:latin typeface="+mj-lt"/>
                        </a:rPr>
                        <a:t>2. Development of a top-level strategy</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extLst>
                  <a:ext uri="{0D108BD9-81ED-4DB2-BD59-A6C34878D82A}">
                    <a16:rowId xmlns:a16="http://schemas.microsoft.com/office/drawing/2014/main" val="10004"/>
                  </a:ext>
                </a:extLst>
              </a:tr>
              <a:tr h="335171">
                <a:tc>
                  <a:txBody>
                    <a:bodyPr/>
                    <a:lstStyle/>
                    <a:p>
                      <a:pPr algn="l" fontAlgn="ctr"/>
                      <a:r>
                        <a:rPr lang="en-US" sz="1400" b="0" i="0" u="none" strike="noStrike" dirty="0">
                          <a:solidFill>
                            <a:srgbClr val="000000"/>
                          </a:solidFill>
                          <a:effectLst/>
                          <a:latin typeface="+mj-lt"/>
                        </a:rPr>
                        <a:t>3. Detailed strategy, long-term business plan and implementation plan</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lumMod val="5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07325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28D29DE1-2C4C-4B1F-A21E-7D541DC6E527}"/>
              </a:ext>
            </a:extLst>
          </p:cNvPr>
          <p:cNvSpPr txBox="1">
            <a:spLocks/>
          </p:cNvSpPr>
          <p:nvPr/>
        </p:nvSpPr>
        <p:spPr bwMode="gray">
          <a:xfrm>
            <a:off x="540070" y="107537"/>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a:defRPr/>
            </a:pPr>
            <a:r>
              <a:rPr kumimoji="0" lang="en-US" sz="2800" b="0" i="0" u="none" strike="noStrike" kern="1200" cap="all" spc="0" normalizeH="0" baseline="0" noProof="0" dirty="0" err="1">
                <a:ln>
                  <a:noFill/>
                </a:ln>
                <a:effectLst/>
                <a:uLnTx/>
                <a:uFillTx/>
                <a:ea typeface="+mj-ea"/>
                <a:cs typeface="+mj-cs"/>
              </a:rPr>
              <a:t>U_Talent</a:t>
            </a:r>
            <a:r>
              <a:rPr kumimoji="0" lang="en-US" sz="2800" b="0" i="0" u="none" strike="noStrike" kern="1200" cap="all" spc="0" normalizeH="0" baseline="0" noProof="0" dirty="0">
                <a:ln>
                  <a:noFill/>
                </a:ln>
                <a:effectLst/>
                <a:uLnTx/>
                <a:uFillTx/>
                <a:ea typeface="+mj-ea"/>
                <a:cs typeface="+mj-cs"/>
              </a:rPr>
              <a:t> </a:t>
            </a:r>
            <a:r>
              <a:rPr kumimoji="0" lang="en-US" sz="2800" b="0" i="0" u="none" strike="noStrike" kern="1200" cap="all" spc="0" normalizeH="0" baseline="0" noProof="0" dirty="0" err="1">
                <a:ln>
                  <a:noFill/>
                </a:ln>
                <a:effectLst/>
                <a:uLnTx/>
                <a:uFillTx/>
                <a:ea typeface="+mj-ea"/>
                <a:cs typeface="+mj-cs"/>
              </a:rPr>
              <a:t>Progra</a:t>
            </a:r>
            <a:r>
              <a:rPr lang="en-US" sz="2800" dirty="0"/>
              <a:t>m </a:t>
            </a:r>
            <a:r>
              <a:rPr lang="en-US" sz="2000" kern="0" dirty="0">
                <a:solidFill>
                  <a:srgbClr val="000000">
                    <a:lumMod val="95000"/>
                    <a:lumOff val="5000"/>
                  </a:srgbClr>
                </a:solidFill>
                <a:latin typeface="Arial"/>
              </a:rPr>
              <a:t>(HR Functional Strategy Implementation)</a:t>
            </a:r>
            <a:endParaRPr lang="en-US" sz="2800" kern="0" cap="none" dirty="0">
              <a:solidFill>
                <a:srgbClr val="000000">
                  <a:lumMod val="95000"/>
                  <a:lumOff val="5000"/>
                </a:srgbClr>
              </a:solidFill>
              <a:latin typeface="Arial"/>
            </a:endParaRPr>
          </a:p>
          <a:p>
            <a:pPr marL="0" marR="0" lvl="0" indent="0" algn="l" defTabSz="914491" rtl="0" eaLnBrk="1" fontAlgn="auto" latinLnBrk="0" hangingPunct="1">
              <a:lnSpc>
                <a:spcPct val="90000"/>
              </a:lnSpc>
              <a:spcBef>
                <a:spcPct val="0"/>
              </a:spcBef>
              <a:spcAft>
                <a:spcPts val="0"/>
              </a:spcAft>
              <a:buClrTx/>
              <a:buSzTx/>
              <a:buFontTx/>
              <a:buNone/>
              <a:tabLst/>
              <a:defRPr/>
            </a:pPr>
            <a:endParaRPr kumimoji="0" lang="en-US" sz="2000" b="0" i="0" u="none" strike="noStrike" kern="1200" cap="all" spc="0" normalizeH="0" baseline="0" noProof="0" dirty="0">
              <a:ln>
                <a:noFill/>
              </a:ln>
              <a:effectLst/>
              <a:uLnTx/>
              <a:uFillTx/>
              <a:ea typeface="+mj-ea"/>
              <a:cs typeface="+mj-cs"/>
            </a:endParaRPr>
          </a:p>
        </p:txBody>
      </p:sp>
      <p:graphicFrame>
        <p:nvGraphicFramePr>
          <p:cNvPr id="38" name="Inhaltsplatzhalter 7">
            <a:extLst>
              <a:ext uri="{FF2B5EF4-FFF2-40B4-BE49-F238E27FC236}">
                <a16:creationId xmlns:a16="http://schemas.microsoft.com/office/drawing/2014/main" id="{E82B92F4-3F9F-4B72-8F94-A0D631171498}"/>
              </a:ext>
            </a:extLst>
          </p:cNvPr>
          <p:cNvGraphicFramePr>
            <a:graphicFrameLocks/>
          </p:cNvGraphicFramePr>
          <p:nvPr/>
        </p:nvGraphicFramePr>
        <p:xfrm>
          <a:off x="478676" y="520558"/>
          <a:ext cx="11172440" cy="2088000"/>
        </p:xfrm>
        <a:graphic>
          <a:graphicData uri="http://schemas.openxmlformats.org/drawingml/2006/table">
            <a:tbl>
              <a:tblPr firstRow="1" bandRow="1"/>
              <a:tblGrid>
                <a:gridCol w="2143423">
                  <a:extLst>
                    <a:ext uri="{9D8B030D-6E8A-4147-A177-3AD203B41FA5}">
                      <a16:colId xmlns:a16="http://schemas.microsoft.com/office/drawing/2014/main" val="263815621"/>
                    </a:ext>
                  </a:extLst>
                </a:gridCol>
                <a:gridCol w="2303626">
                  <a:extLst>
                    <a:ext uri="{9D8B030D-6E8A-4147-A177-3AD203B41FA5}">
                      <a16:colId xmlns:a16="http://schemas.microsoft.com/office/drawing/2014/main" val="2456201543"/>
                    </a:ext>
                  </a:extLst>
                </a:gridCol>
                <a:gridCol w="3001245">
                  <a:extLst>
                    <a:ext uri="{9D8B030D-6E8A-4147-A177-3AD203B41FA5}">
                      <a16:colId xmlns:a16="http://schemas.microsoft.com/office/drawing/2014/main" val="2699711611"/>
                    </a:ext>
                  </a:extLst>
                </a:gridCol>
                <a:gridCol w="3724146">
                  <a:extLst>
                    <a:ext uri="{9D8B030D-6E8A-4147-A177-3AD203B41FA5}">
                      <a16:colId xmlns:a16="http://schemas.microsoft.com/office/drawing/2014/main" val="1330925591"/>
                    </a:ext>
                  </a:extLst>
                </a:gridCol>
              </a:tblGrid>
              <a:tr h="360000">
                <a:tc gridSpan="2">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gram nam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hMerge="1">
                  <a:txBody>
                    <a:bodyPr/>
                    <a:lstStyle/>
                    <a:p>
                      <a:endParaRPr lang="de-DE"/>
                    </a:p>
                  </a:txBody>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gram Purpose/ Aspirations</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Main Deliverables/ KPIs</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246913833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 Chief</a:t>
                      </a:r>
                      <a:r>
                        <a:rPr lang="en-US" sz="1400" b="1" kern="1200" baseline="0" noProof="0" dirty="0">
                          <a:solidFill>
                            <a:schemeClr val="tx1"/>
                          </a:solidFill>
                          <a:latin typeface="+mj-lt"/>
                          <a:ea typeface="+mn-ea"/>
                          <a:cs typeface="+mn-cs"/>
                        </a:rPr>
                        <a:t> Custome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Executive Committee</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285750" indent="-285750" algn="l" defTabSz="914491" rtl="0" eaLnBrk="1" latinLnBrk="0" hangingPunct="1">
                        <a:lnSpc>
                          <a:spcPct val="90000"/>
                        </a:lnSpc>
                        <a:buFont typeface="Arial" panose="020B0604020202020204" pitchFamily="34" charset="0"/>
                        <a:buChar char="•"/>
                      </a:pPr>
                      <a:r>
                        <a:rPr lang="en-US" sz="1400" dirty="0"/>
                        <a:t>Apply Best Talent Management Practices &amp; Improve Employee Experience</a:t>
                      </a:r>
                    </a:p>
                    <a:p>
                      <a:pPr marL="285750" indent="-285750" algn="l" defTabSz="914491" rtl="0" eaLnBrk="1" latinLnBrk="0" hangingPunct="1">
                        <a:lnSpc>
                          <a:spcPct val="90000"/>
                        </a:lnSpc>
                        <a:buFont typeface="Arial" panose="020B0604020202020204" pitchFamily="34" charset="0"/>
                        <a:buChar char="•"/>
                      </a:pPr>
                      <a:endParaRPr lang="en-US" sz="1400" b="0" i="0" u="none" strike="noStrike" kern="1200" baseline="0" dirty="0">
                        <a:solidFill>
                          <a:schemeClr val="dk1"/>
                        </a:solidFill>
                        <a:effectLst/>
                        <a:latin typeface="+mj-lt"/>
                        <a:ea typeface="+mn-ea"/>
                        <a:cs typeface="+mn-cs"/>
                      </a:endParaRPr>
                    </a:p>
                    <a:p>
                      <a:pPr marL="285750" marR="0" lvl="1" indent="-2857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altLang="en-US" sz="1400" kern="1200" dirty="0">
                          <a:solidFill>
                            <a:schemeClr val="dk1"/>
                          </a:solidFill>
                          <a:latin typeface="Calibri Light"/>
                          <a:ea typeface="+mn-ea"/>
                          <a:cs typeface="+mn-cs"/>
                          <a:sym typeface="+mj-lt"/>
                        </a:rPr>
                        <a:t>Institutionalize HR change management capabilities &amp; competencies</a:t>
                      </a:r>
                      <a:endParaRPr lang="en-US" sz="1400" b="0" i="0" u="none" strike="noStrike" kern="1200" baseline="0" dirty="0">
                        <a:solidFill>
                          <a:schemeClr val="dk1"/>
                        </a:solidFill>
                        <a:effectLst/>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dk1"/>
                          </a:solidFill>
                          <a:effectLst/>
                          <a:latin typeface="Calibri Light"/>
                          <a:ea typeface="+mn-ea"/>
                          <a:cs typeface="+mn-cs"/>
                        </a:rPr>
                        <a:t>To become one of top 5 employers in banking</a:t>
                      </a:r>
                    </a:p>
                    <a:p>
                      <a:pPr marL="0" marR="0" indent="0" algn="l" defTabSz="914491"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400" b="0" i="0" u="none" strike="noStrike" kern="1200" baseline="0" dirty="0">
                          <a:solidFill>
                            <a:schemeClr val="dk1"/>
                          </a:solidFill>
                          <a:effectLst/>
                          <a:latin typeface="Calibri Light"/>
                          <a:ea typeface="+mn-ea"/>
                          <a:cs typeface="+mn-cs"/>
                        </a:rPr>
                        <a:t>     (based on Employer Brand Survey 2022)</a:t>
                      </a:r>
                    </a:p>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1400" b="0" i="0" u="none" strike="noStrike" kern="1200" baseline="0" dirty="0">
                        <a:solidFill>
                          <a:schemeClr val="dk1"/>
                        </a:solidFill>
                        <a:effectLst/>
                        <a:latin typeface="Calibri Light"/>
                        <a:ea typeface="+mn-ea"/>
                        <a:cs typeface="+mn-cs"/>
                      </a:endParaRPr>
                    </a:p>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dk1"/>
                          </a:solidFill>
                          <a:effectLst/>
                          <a:latin typeface="Calibri Light"/>
                          <a:ea typeface="+mn-ea"/>
                          <a:cs typeface="+mn-cs"/>
                        </a:rPr>
                        <a:t>Increased Employee Engagement Index</a:t>
                      </a:r>
                    </a:p>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1400" b="0" i="0" u="none" strike="noStrike" kern="1200" baseline="0" dirty="0">
                        <a:solidFill>
                          <a:schemeClr val="dk1"/>
                        </a:solidFill>
                        <a:effectLst/>
                        <a:latin typeface="Calibri Light"/>
                        <a:ea typeface="+mn-ea"/>
                        <a:cs typeface="+mn-cs"/>
                      </a:endParaRPr>
                    </a:p>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dk1"/>
                          </a:solidFill>
                          <a:effectLst/>
                          <a:latin typeface="Calibri Light"/>
                          <a:ea typeface="+mn-ea"/>
                          <a:cs typeface="+mn-cs"/>
                        </a:rPr>
                        <a:t>Decrease </a:t>
                      </a:r>
                      <a:r>
                        <a:rPr lang="en-US" sz="1400" b="0" i="0" u="none" strike="noStrike" kern="1200" baseline="0" dirty="0" err="1">
                          <a:solidFill>
                            <a:schemeClr val="dk1"/>
                          </a:solidFill>
                          <a:effectLst/>
                          <a:latin typeface="Calibri Light"/>
                          <a:ea typeface="+mn-ea"/>
                          <a:cs typeface="+mn-cs"/>
                        </a:rPr>
                        <a:t>HiPo</a:t>
                      </a:r>
                      <a:r>
                        <a:rPr lang="en-US" sz="1400" b="0" i="0" u="none" strike="noStrike" kern="1200" baseline="0" dirty="0">
                          <a:solidFill>
                            <a:schemeClr val="dk1"/>
                          </a:solidFill>
                          <a:effectLst/>
                          <a:latin typeface="Calibri Light"/>
                          <a:ea typeface="+mn-ea"/>
                          <a:cs typeface="+mn-cs"/>
                        </a:rPr>
                        <a:t> &amp; Key contributors turnover  </a:t>
                      </a:r>
                    </a:p>
                    <a:p>
                      <a:pPr marL="171450" marR="0" indent="-171450" algn="l" defTabSz="914491"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1200" b="0" i="0" u="none" strike="noStrike" kern="1200" baseline="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endParaRPr lang="en-US" sz="1200" b="0" i="0" u="none" strike="noStrike" kern="1200" baseline="0" dirty="0">
                        <a:solidFill>
                          <a:schemeClr val="dk1"/>
                        </a:solidFill>
                        <a:effectLst/>
                        <a:latin typeface="Calibri Ligh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61786"/>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a:t>
                      </a:r>
                      <a:r>
                        <a:rPr lang="en-US" sz="1400" b="1" kern="1200" baseline="0" noProof="0" dirty="0">
                          <a:solidFill>
                            <a:schemeClr val="tx1"/>
                          </a:solidFill>
                          <a:latin typeface="+mj-lt"/>
                          <a:ea typeface="+mn-ea"/>
                          <a:cs typeface="+mn-cs"/>
                        </a:rPr>
                        <a:t> </a:t>
                      </a:r>
                      <a:r>
                        <a:rPr lang="en-US" sz="1400" b="1" kern="1200" noProof="0" dirty="0">
                          <a:solidFill>
                            <a:schemeClr val="tx1"/>
                          </a:solidFill>
                          <a:latin typeface="+mj-lt"/>
                          <a:ea typeface="+mn-ea"/>
                          <a:cs typeface="+mn-cs"/>
                        </a:rPr>
                        <a:t>Spons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Faig</a:t>
                      </a:r>
                      <a:r>
                        <a:rPr lang="en-US" sz="1400" b="0" kern="1200" baseline="0" noProof="0" dirty="0">
                          <a:solidFill>
                            <a:schemeClr val="tx1"/>
                          </a:solidFill>
                          <a:latin typeface="+mn-lt"/>
                          <a:ea typeface="+mn-ea"/>
                          <a:cs typeface="+mn-cs"/>
                        </a:rPr>
                        <a:t> Huseynov</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 Manage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Natalya Sandle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918820192"/>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Main</a:t>
                      </a:r>
                      <a:r>
                        <a:rPr lang="en-US" sz="1400" b="1" kern="1200" baseline="0" noProof="0" dirty="0">
                          <a:solidFill>
                            <a:schemeClr val="tx1"/>
                          </a:solidFill>
                          <a:latin typeface="+mj-lt"/>
                          <a:ea typeface="+mn-ea"/>
                          <a:cs typeface="+mn-cs"/>
                        </a:rPr>
                        <a:t> Stakeholders</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All Leaders/</a:t>
                      </a:r>
                      <a:r>
                        <a:rPr lang="en-US" sz="1400" b="0" kern="1200" baseline="0" noProof="0" dirty="0">
                          <a:solidFill>
                            <a:schemeClr val="tx1"/>
                          </a:solidFill>
                          <a:latin typeface="+mn-lt"/>
                          <a:ea typeface="+mn-ea"/>
                          <a:cs typeface="+mn-cs"/>
                        </a:rPr>
                        <a:t> All Employees </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Selected</a:t>
                      </a:r>
                      <a:r>
                        <a:rPr lang="en-US" sz="1400" b="1" kern="1200" baseline="0" noProof="0" dirty="0">
                          <a:solidFill>
                            <a:schemeClr val="tx1"/>
                          </a:solidFill>
                          <a:latin typeface="+mj-lt"/>
                          <a:ea typeface="+mn-ea"/>
                          <a:cs typeface="+mn-cs"/>
                        </a:rPr>
                        <a:t> Vendo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Multi-vend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Expected Start Date</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October’ 2020</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617183572"/>
                  </a:ext>
                </a:extLst>
              </a:tr>
            </a:tbl>
          </a:graphicData>
        </a:graphic>
      </p:graphicFrame>
      <p:graphicFrame>
        <p:nvGraphicFramePr>
          <p:cNvPr id="5" name="Table 4"/>
          <p:cNvGraphicFramePr>
            <a:graphicFrameLocks noGrp="1"/>
          </p:cNvGraphicFramePr>
          <p:nvPr/>
        </p:nvGraphicFramePr>
        <p:xfrm>
          <a:off x="540070" y="5834671"/>
          <a:ext cx="11111046" cy="931118"/>
        </p:xfrm>
        <a:graphic>
          <a:graphicData uri="http://schemas.openxmlformats.org/drawingml/2006/table">
            <a:tbl>
              <a:tblPr firstRow="1" bandRow="1"/>
              <a:tblGrid>
                <a:gridCol w="3088033">
                  <a:extLst>
                    <a:ext uri="{9D8B030D-6E8A-4147-A177-3AD203B41FA5}">
                      <a16:colId xmlns:a16="http://schemas.microsoft.com/office/drawing/2014/main" val="20000"/>
                    </a:ext>
                  </a:extLst>
                </a:gridCol>
                <a:gridCol w="4581832">
                  <a:extLst>
                    <a:ext uri="{9D8B030D-6E8A-4147-A177-3AD203B41FA5}">
                      <a16:colId xmlns:a16="http://schemas.microsoft.com/office/drawing/2014/main" val="20001"/>
                    </a:ext>
                  </a:extLst>
                </a:gridCol>
                <a:gridCol w="3441181">
                  <a:extLst>
                    <a:ext uri="{9D8B030D-6E8A-4147-A177-3AD203B41FA5}">
                      <a16:colId xmlns:a16="http://schemas.microsoft.com/office/drawing/2014/main" val="20002"/>
                    </a:ext>
                  </a:extLst>
                </a:gridCol>
              </a:tblGrid>
              <a:tr h="298029">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Budget:</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Risk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marR="0" lvl="0" indent="0" algn="l" defTabSz="914400" rtl="0" eaLnBrk="1" fontAlgn="auto" latinLnBrk="0" hangingPunct="1">
                        <a:lnSpc>
                          <a:spcPct val="90000"/>
                        </a:lnSpc>
                        <a:spcBef>
                          <a:spcPts val="0"/>
                        </a:spcBef>
                        <a:spcAft>
                          <a:spcPts val="1000"/>
                        </a:spcAft>
                        <a:buClrTx/>
                        <a:buSzTx/>
                        <a:buFontTx/>
                        <a:buNone/>
                        <a:tabLst/>
                        <a:defRPr/>
                      </a:pPr>
                      <a:r>
                        <a:rPr lang="en-US" sz="1800" b="0" dirty="0">
                          <a:solidFill>
                            <a:schemeClr val="bg1"/>
                          </a:solidFill>
                          <a:latin typeface="+mj-lt"/>
                        </a:rPr>
                        <a:t>Dependencie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61223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Total Budget:</a:t>
                      </a:r>
                      <a:r>
                        <a:rPr lang="en-US" sz="1200" baseline="0" dirty="0">
                          <a:latin typeface="+mj-lt"/>
                        </a:rPr>
                        <a:t> TBD</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indent="0" algn="l" defTabSz="914400" rtl="0" eaLnBrk="1" fontAlgn="auto" latinLnBrk="0" hangingPunct="1">
                        <a:lnSpc>
                          <a:spcPct val="90000"/>
                        </a:lnSpc>
                        <a:spcBef>
                          <a:spcPts val="0"/>
                        </a:spcBef>
                        <a:spcAft>
                          <a:spcPts val="1000"/>
                        </a:spcAft>
                        <a:buClrTx/>
                        <a:buSzTx/>
                        <a:buFont typeface="Arial" panose="020B0604020202020204" pitchFamily="34" charset="0"/>
                        <a:buNone/>
                        <a:tabLst/>
                        <a:defRPr/>
                      </a:pPr>
                      <a:r>
                        <a:rPr lang="en-US" sz="1200" kern="1200" baseline="0" dirty="0">
                          <a:solidFill>
                            <a:schemeClr val="dk1"/>
                          </a:solidFill>
                          <a:latin typeface="Calibri Light"/>
                          <a:ea typeface="+mn-ea"/>
                          <a:cs typeface="+mn-cs"/>
                        </a:rPr>
                        <a:t>Budget constraints (high)</a:t>
                      </a:r>
                    </a:p>
                    <a:p>
                      <a:pPr marL="0" marR="0" indent="0" algn="l" defTabSz="914400" rtl="0" eaLnBrk="1" fontAlgn="auto" latinLnBrk="0" hangingPunct="1">
                        <a:lnSpc>
                          <a:spcPct val="90000"/>
                        </a:lnSpc>
                        <a:spcBef>
                          <a:spcPts val="0"/>
                        </a:spcBef>
                        <a:spcAft>
                          <a:spcPts val="1000"/>
                        </a:spcAft>
                        <a:buClrTx/>
                        <a:buSzTx/>
                        <a:buFont typeface="Arial" panose="020B0604020202020204" pitchFamily="34" charset="0"/>
                        <a:buNone/>
                        <a:tabLst/>
                        <a:defRPr/>
                      </a:pPr>
                      <a:r>
                        <a:rPr lang="en-US" sz="1200" kern="1200" baseline="0" dirty="0">
                          <a:solidFill>
                            <a:schemeClr val="dk1"/>
                          </a:solidFill>
                          <a:latin typeface="Calibri Light"/>
                          <a:ea typeface="+mn-ea"/>
                          <a:cs typeface="+mn-cs"/>
                        </a:rPr>
                        <a:t>Heavy Run agenda and operational load of </a:t>
                      </a:r>
                      <a:r>
                        <a:rPr lang="en-US" sz="1200" kern="1200" baseline="0" dirty="0" err="1">
                          <a:solidFill>
                            <a:schemeClr val="dk1"/>
                          </a:solidFill>
                          <a:latin typeface="Calibri Light"/>
                          <a:ea typeface="+mn-ea"/>
                          <a:cs typeface="+mn-cs"/>
                        </a:rPr>
                        <a:t>UniBank</a:t>
                      </a:r>
                      <a:r>
                        <a:rPr lang="en-US" sz="1200" kern="1200" baseline="0" dirty="0">
                          <a:solidFill>
                            <a:schemeClr val="dk1"/>
                          </a:solidFill>
                          <a:latin typeface="Calibri Light"/>
                          <a:ea typeface="+mn-ea"/>
                          <a:cs typeface="+mn-cs"/>
                        </a:rPr>
                        <a:t> leader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Trust</a:t>
                      </a:r>
                      <a:r>
                        <a:rPr lang="en-US" sz="1200" baseline="0" dirty="0">
                          <a:latin typeface="+mj-lt"/>
                        </a:rPr>
                        <a:t> &amp; Commitment of Top Team and all leaders of the bank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78" name="Gruppieren 30">
            <a:extLst>
              <a:ext uri="{FF2B5EF4-FFF2-40B4-BE49-F238E27FC236}">
                <a16:creationId xmlns:a16="http://schemas.microsoft.com/office/drawing/2014/main" id="{A4AD4FAB-FCC8-4F7D-835B-55A25C89CC75}"/>
              </a:ext>
            </a:extLst>
          </p:cNvPr>
          <p:cNvGrpSpPr>
            <a:grpSpLocks noChangeAspect="1"/>
          </p:cNvGrpSpPr>
          <p:nvPr/>
        </p:nvGrpSpPr>
        <p:grpSpPr bwMode="gray">
          <a:xfrm>
            <a:off x="540070" y="3367639"/>
            <a:ext cx="1092494" cy="1655926"/>
            <a:chOff x="455541" y="2960951"/>
            <a:chExt cx="1092494" cy="1655926"/>
          </a:xfrm>
        </p:grpSpPr>
        <p:sp>
          <p:nvSpPr>
            <p:cNvPr id="79" name="Rechteck 10">
              <a:extLst>
                <a:ext uri="{FF2B5EF4-FFF2-40B4-BE49-F238E27FC236}">
                  <a16:creationId xmlns:a16="http://schemas.microsoft.com/office/drawing/2014/main" id="{4DA48D98-D2A9-4E83-AE37-8B2A7281B75E}"/>
                </a:ext>
              </a:extLst>
            </p:cNvPr>
            <p:cNvSpPr/>
            <p:nvPr/>
          </p:nvSpPr>
          <p:spPr bwMode="gray">
            <a:xfrm>
              <a:off x="468035" y="3925031"/>
              <a:ext cx="1080000" cy="540000"/>
            </a:xfrm>
            <a:prstGeom prst="rect">
              <a:avLst/>
            </a:prstGeom>
            <a:noFill/>
            <a:ln w="25400" cap="flat" cmpd="sng" algn="ctr">
              <a:noFill/>
              <a:prstDash val="solid"/>
            </a:ln>
            <a:effectLst/>
          </p:spPr>
          <p:txBody>
            <a:bodyPr lIns="0" tIns="0" rIns="0" bIns="0" spcCol="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BBB59">
                      <a:lumMod val="50000"/>
                    </a:srgbClr>
                  </a:solidFill>
                  <a:effectLst/>
                  <a:uLnTx/>
                  <a:uFillTx/>
                  <a:latin typeface="Bebas Neue" panose="020B0506020202020201" pitchFamily="34" charset="0"/>
                  <a:ea typeface="+mn-ea"/>
                  <a:cs typeface="+mn-cs"/>
                </a:rPr>
                <a:t>Tentative Scop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BBB59">
                      <a:lumMod val="50000"/>
                    </a:srgbClr>
                  </a:solidFill>
                  <a:effectLst/>
                  <a:uLnTx/>
                  <a:uFillTx/>
                  <a:latin typeface="Bebas Neue" panose="020B0506020202020201" pitchFamily="34" charset="0"/>
                  <a:ea typeface="+mn-ea"/>
                  <a:cs typeface="+mn-cs"/>
                </a:rPr>
                <a:t>Plan </a:t>
              </a:r>
              <a:endParaRPr kumimoji="0" lang="en-US" sz="1400" b="0" i="0" u="none" strike="noStrike" kern="0" cap="none" spc="0" normalizeH="0" baseline="0" noProof="0" dirty="0">
                <a:ln>
                  <a:noFill/>
                </a:ln>
                <a:solidFill>
                  <a:srgbClr val="9BBB59">
                    <a:lumMod val="50000"/>
                  </a:srgbClr>
                </a:solidFill>
                <a:effectLst/>
                <a:uLnTx/>
                <a:uFillTx/>
                <a:latin typeface="Calibri Light"/>
                <a:ea typeface="+mn-ea"/>
                <a:cs typeface="+mn-cs"/>
              </a:endParaRPr>
            </a:p>
          </p:txBody>
        </p:sp>
        <p:grpSp>
          <p:nvGrpSpPr>
            <p:cNvPr id="80" name="Gruppieren 25">
              <a:extLst>
                <a:ext uri="{FF2B5EF4-FFF2-40B4-BE49-F238E27FC236}">
                  <a16:creationId xmlns:a16="http://schemas.microsoft.com/office/drawing/2014/main" id="{48ABBB53-85BF-4500-8DA1-056FEE8D3C8C}"/>
                </a:ext>
              </a:extLst>
            </p:cNvPr>
            <p:cNvGrpSpPr>
              <a:grpSpLocks noChangeAspect="1"/>
            </p:cNvGrpSpPr>
            <p:nvPr/>
          </p:nvGrpSpPr>
          <p:grpSpPr bwMode="gray">
            <a:xfrm>
              <a:off x="455541" y="2960951"/>
              <a:ext cx="1092494" cy="1655926"/>
              <a:chOff x="455541" y="2960951"/>
              <a:chExt cx="1092494" cy="1655926"/>
            </a:xfrm>
          </p:grpSpPr>
          <p:sp>
            <p:nvSpPr>
              <p:cNvPr id="81" name="Ellipse 5">
                <a:extLst>
                  <a:ext uri="{FF2B5EF4-FFF2-40B4-BE49-F238E27FC236}">
                    <a16:creationId xmlns:a16="http://schemas.microsoft.com/office/drawing/2014/main" id="{2F4D8319-9F4B-43D7-90FA-278EC196E006}"/>
                  </a:ext>
                </a:extLst>
              </p:cNvPr>
              <p:cNvSpPr>
                <a:spLocks noChangeAspect="1"/>
              </p:cNvSpPr>
              <p:nvPr/>
            </p:nvSpPr>
            <p:spPr bwMode="gray">
              <a:xfrm>
                <a:off x="455541" y="3256056"/>
                <a:ext cx="468000" cy="468000"/>
              </a:xfrm>
              <a:prstGeom prst="ellipse">
                <a:avLst/>
              </a:prstGeom>
              <a:solidFill>
                <a:srgbClr val="9BBB59">
                  <a:lumMod val="20000"/>
                  <a:lumOff val="80000"/>
                </a:srgbClr>
              </a:solidFill>
              <a:ln w="254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82" name="Gruppieren 86">
                <a:extLst>
                  <a:ext uri="{FF2B5EF4-FFF2-40B4-BE49-F238E27FC236}">
                    <a16:creationId xmlns:a16="http://schemas.microsoft.com/office/drawing/2014/main" id="{896C9FC7-D7D6-4522-8778-AC586851BCD2}"/>
                  </a:ext>
                </a:extLst>
              </p:cNvPr>
              <p:cNvGrpSpPr>
                <a:grpSpLocks noChangeAspect="1"/>
              </p:cNvGrpSpPr>
              <p:nvPr/>
            </p:nvGrpSpPr>
            <p:grpSpPr bwMode="gray">
              <a:xfrm>
                <a:off x="540070" y="2960951"/>
                <a:ext cx="721214" cy="611922"/>
                <a:chOff x="6254298" y="14463442"/>
                <a:chExt cx="787100" cy="667824"/>
              </a:xfrm>
            </p:grpSpPr>
            <p:sp>
              <p:nvSpPr>
                <p:cNvPr id="84" name="Freihandform: Form 95">
                  <a:extLst>
                    <a:ext uri="{FF2B5EF4-FFF2-40B4-BE49-F238E27FC236}">
                      <a16:creationId xmlns:a16="http://schemas.microsoft.com/office/drawing/2014/main" id="{FAA7C7F2-A1FC-4F87-83DF-D995F7EEED9C}"/>
                    </a:ext>
                  </a:extLst>
                </p:cNvPr>
                <p:cNvSpPr/>
                <p:nvPr/>
              </p:nvSpPr>
              <p:spPr bwMode="gray">
                <a:xfrm>
                  <a:off x="6254298" y="14671115"/>
                  <a:ext cx="787100" cy="460151"/>
                </a:xfrm>
                <a:custGeom>
                  <a:avLst/>
                  <a:gdLst>
                    <a:gd name="connsiteX0" fmla="*/ 1046212 w 1058836"/>
                    <a:gd name="connsiteY0" fmla="*/ 18326 h 619011"/>
                    <a:gd name="connsiteX1" fmla="*/ 1046212 w 1058836"/>
                    <a:gd name="connsiteY1" fmla="*/ 550187 h 619011"/>
                    <a:gd name="connsiteX2" fmla="*/ 995713 w 1058836"/>
                    <a:gd name="connsiteY2" fmla="*/ 600686 h 619011"/>
                    <a:gd name="connsiteX3" fmla="*/ 68824 w 1058836"/>
                    <a:gd name="connsiteY3" fmla="*/ 600686 h 619011"/>
                    <a:gd name="connsiteX4" fmla="*/ 18326 w 1058836"/>
                    <a:gd name="connsiteY4" fmla="*/ 550187 h 619011"/>
                    <a:gd name="connsiteX5" fmla="*/ 18326 w 1058836"/>
                    <a:gd name="connsiteY5" fmla="*/ 18326 h 6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836" h="619011">
                      <a:moveTo>
                        <a:pt x="1046212" y="18326"/>
                      </a:moveTo>
                      <a:lnTo>
                        <a:pt x="1046212" y="550187"/>
                      </a:lnTo>
                      <a:cubicBezTo>
                        <a:pt x="1046212" y="577880"/>
                        <a:pt x="1023406" y="600686"/>
                        <a:pt x="995713" y="600686"/>
                      </a:cubicBezTo>
                      <a:lnTo>
                        <a:pt x="68824" y="600686"/>
                      </a:lnTo>
                      <a:cubicBezTo>
                        <a:pt x="41132" y="600686"/>
                        <a:pt x="18326" y="577880"/>
                        <a:pt x="18326" y="550187"/>
                      </a:cubicBezTo>
                      <a:lnTo>
                        <a:pt x="18326" y="18326"/>
                      </a:lnTo>
                    </a:path>
                  </a:pathLst>
                </a:custGeom>
                <a:noFill/>
                <a:ln w="254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5" name="Freihandform: Form 96">
                  <a:extLst>
                    <a:ext uri="{FF2B5EF4-FFF2-40B4-BE49-F238E27FC236}">
                      <a16:creationId xmlns:a16="http://schemas.microsoft.com/office/drawing/2014/main" id="{C7CD4F6F-3ECA-455C-AB69-017B06E8E3BA}"/>
                    </a:ext>
                  </a:extLst>
                </p:cNvPr>
                <p:cNvSpPr/>
                <p:nvPr/>
              </p:nvSpPr>
              <p:spPr bwMode="gray">
                <a:xfrm>
                  <a:off x="6382051" y="14533675"/>
                  <a:ext cx="96874" cy="72656"/>
                </a:xfrm>
                <a:custGeom>
                  <a:avLst/>
                  <a:gdLst>
                    <a:gd name="connsiteX0" fmla="*/ 22398 w 130318"/>
                    <a:gd name="connsiteY0" fmla="*/ 18326 h 97738"/>
                    <a:gd name="connsiteX1" fmla="*/ 18326 w 130318"/>
                    <a:gd name="connsiteY1" fmla="*/ 36245 h 97738"/>
                    <a:gd name="connsiteX2" fmla="*/ 65566 w 130318"/>
                    <a:gd name="connsiteY2" fmla="*/ 83485 h 97738"/>
                    <a:gd name="connsiteX3" fmla="*/ 112807 w 130318"/>
                    <a:gd name="connsiteY3" fmla="*/ 36245 h 97738"/>
                    <a:gd name="connsiteX4" fmla="*/ 108734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22398" y="18326"/>
                      </a:moveTo>
                      <a:cubicBezTo>
                        <a:pt x="19955" y="24028"/>
                        <a:pt x="18326" y="29729"/>
                        <a:pt x="18326" y="36245"/>
                      </a:cubicBezTo>
                      <a:cubicBezTo>
                        <a:pt x="18326" y="62309"/>
                        <a:pt x="39503" y="83485"/>
                        <a:pt x="65566" y="83485"/>
                      </a:cubicBezTo>
                      <a:cubicBezTo>
                        <a:pt x="91630" y="83485"/>
                        <a:pt x="112807" y="62309"/>
                        <a:pt x="112807" y="36245"/>
                      </a:cubicBezTo>
                      <a:cubicBezTo>
                        <a:pt x="112807" y="29729"/>
                        <a:pt x="111178" y="23213"/>
                        <a:pt x="108734"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6" name="Freihandform: Form 113">
                  <a:extLst>
                    <a:ext uri="{FF2B5EF4-FFF2-40B4-BE49-F238E27FC236}">
                      <a16:creationId xmlns:a16="http://schemas.microsoft.com/office/drawing/2014/main" id="{7F1E6192-8D5E-475E-AA43-FD1117977360}"/>
                    </a:ext>
                  </a:extLst>
                </p:cNvPr>
                <p:cNvSpPr/>
                <p:nvPr/>
              </p:nvSpPr>
              <p:spPr bwMode="gray">
                <a:xfrm>
                  <a:off x="6417773"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7" name="Freihandform: Form 114">
                  <a:extLst>
                    <a:ext uri="{FF2B5EF4-FFF2-40B4-BE49-F238E27FC236}">
                      <a16:creationId xmlns:a16="http://schemas.microsoft.com/office/drawing/2014/main" id="{7FA32BF6-3BC9-4EB9-9B7D-84DE5D61B1C1}"/>
                    </a:ext>
                  </a:extLst>
                </p:cNvPr>
                <p:cNvSpPr/>
                <p:nvPr/>
              </p:nvSpPr>
              <p:spPr bwMode="gray">
                <a:xfrm>
                  <a:off x="6820405" y="14533675"/>
                  <a:ext cx="96874" cy="72656"/>
                </a:xfrm>
                <a:custGeom>
                  <a:avLst/>
                  <a:gdLst>
                    <a:gd name="connsiteX0" fmla="*/ 108734 w 130318"/>
                    <a:gd name="connsiteY0" fmla="*/ 18326 h 97738"/>
                    <a:gd name="connsiteX1" fmla="*/ 112807 w 130318"/>
                    <a:gd name="connsiteY1" fmla="*/ 36245 h 97738"/>
                    <a:gd name="connsiteX2" fmla="*/ 65566 w 130318"/>
                    <a:gd name="connsiteY2" fmla="*/ 83485 h 97738"/>
                    <a:gd name="connsiteX3" fmla="*/ 18326 w 130318"/>
                    <a:gd name="connsiteY3" fmla="*/ 36245 h 97738"/>
                    <a:gd name="connsiteX4" fmla="*/ 22398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108734" y="18326"/>
                      </a:moveTo>
                      <a:cubicBezTo>
                        <a:pt x="111178" y="24028"/>
                        <a:pt x="112807" y="29729"/>
                        <a:pt x="112807" y="36245"/>
                      </a:cubicBezTo>
                      <a:cubicBezTo>
                        <a:pt x="112807" y="62309"/>
                        <a:pt x="91630" y="83485"/>
                        <a:pt x="65566" y="83485"/>
                      </a:cubicBezTo>
                      <a:cubicBezTo>
                        <a:pt x="39503" y="83485"/>
                        <a:pt x="18326" y="62309"/>
                        <a:pt x="18326" y="36245"/>
                      </a:cubicBezTo>
                      <a:cubicBezTo>
                        <a:pt x="18326" y="29729"/>
                        <a:pt x="19955" y="23213"/>
                        <a:pt x="22398"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8" name="Freihandform: Form 115">
                  <a:extLst>
                    <a:ext uri="{FF2B5EF4-FFF2-40B4-BE49-F238E27FC236}">
                      <a16:creationId xmlns:a16="http://schemas.microsoft.com/office/drawing/2014/main" id="{43DE409F-110F-4048-9552-1697497698AB}"/>
                    </a:ext>
                  </a:extLst>
                </p:cNvPr>
                <p:cNvSpPr/>
                <p:nvPr/>
              </p:nvSpPr>
              <p:spPr bwMode="gray">
                <a:xfrm>
                  <a:off x="6854916"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9" name="Freihandform: Form 116">
                  <a:extLst>
                    <a:ext uri="{FF2B5EF4-FFF2-40B4-BE49-F238E27FC236}">
                      <a16:creationId xmlns:a16="http://schemas.microsoft.com/office/drawing/2014/main" id="{A9052A0E-050E-47FA-BDD5-B661298FA3ED}"/>
                    </a:ext>
                  </a:extLst>
                </p:cNvPr>
                <p:cNvSpPr/>
                <p:nvPr/>
              </p:nvSpPr>
              <p:spPr bwMode="gray">
                <a:xfrm>
                  <a:off x="6457128" y="14486450"/>
                  <a:ext cx="381441" cy="24219"/>
                </a:xfrm>
                <a:custGeom>
                  <a:avLst/>
                  <a:gdLst>
                    <a:gd name="connsiteX0" fmla="*/ 501318 w 513128"/>
                    <a:gd name="connsiteY0" fmla="*/ 18326 h 32579"/>
                    <a:gd name="connsiteX1" fmla="*/ 18326 w 513128"/>
                    <a:gd name="connsiteY1" fmla="*/ 18326 h 32579"/>
                  </a:gdLst>
                  <a:ahLst/>
                  <a:cxnLst>
                    <a:cxn ang="0">
                      <a:pos x="connsiteX0" y="connsiteY0"/>
                    </a:cxn>
                    <a:cxn ang="0">
                      <a:pos x="connsiteX1" y="connsiteY1"/>
                    </a:cxn>
                  </a:cxnLst>
                  <a:rect l="l" t="t" r="r" b="b"/>
                  <a:pathLst>
                    <a:path w="513128" h="32579">
                      <a:moveTo>
                        <a:pt x="501318" y="18326"/>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0" name="Freihandform: Form 117">
                  <a:extLst>
                    <a:ext uri="{FF2B5EF4-FFF2-40B4-BE49-F238E27FC236}">
                      <a16:creationId xmlns:a16="http://schemas.microsoft.com/office/drawing/2014/main" id="{E66FB6D5-502A-4134-A4DB-6D030E0DFB03}"/>
                    </a:ext>
                  </a:extLst>
                </p:cNvPr>
                <p:cNvSpPr/>
                <p:nvPr/>
              </p:nvSpPr>
              <p:spPr bwMode="gray">
                <a:xfrm>
                  <a:off x="6254298" y="14486450"/>
                  <a:ext cx="787100" cy="211911"/>
                </a:xfrm>
                <a:custGeom>
                  <a:avLst/>
                  <a:gdLst>
                    <a:gd name="connsiteX0" fmla="*/ 186111 w 1058836"/>
                    <a:gd name="connsiteY0" fmla="*/ 18326 h 285071"/>
                    <a:gd name="connsiteX1" fmla="*/ 68824 w 1058836"/>
                    <a:gd name="connsiteY1" fmla="*/ 18326 h 285071"/>
                    <a:gd name="connsiteX2" fmla="*/ 18326 w 1058836"/>
                    <a:gd name="connsiteY2" fmla="*/ 68824 h 285071"/>
                    <a:gd name="connsiteX3" fmla="*/ 18326 w 1058836"/>
                    <a:gd name="connsiteY3" fmla="*/ 266745 h 285071"/>
                    <a:gd name="connsiteX4" fmla="*/ 1046212 w 1058836"/>
                    <a:gd name="connsiteY4" fmla="*/ 266745 h 285071"/>
                    <a:gd name="connsiteX5" fmla="*/ 1046212 w 1058836"/>
                    <a:gd name="connsiteY5" fmla="*/ 68824 h 285071"/>
                    <a:gd name="connsiteX6" fmla="*/ 995713 w 1058836"/>
                    <a:gd name="connsiteY6" fmla="*/ 18326 h 285071"/>
                    <a:gd name="connsiteX7" fmla="*/ 878427 w 1058836"/>
                    <a:gd name="connsiteY7" fmla="*/ 18326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836" h="285071">
                      <a:moveTo>
                        <a:pt x="186111" y="18326"/>
                      </a:moveTo>
                      <a:lnTo>
                        <a:pt x="68824" y="18326"/>
                      </a:lnTo>
                      <a:cubicBezTo>
                        <a:pt x="41132" y="18326"/>
                        <a:pt x="18326" y="41132"/>
                        <a:pt x="18326" y="68824"/>
                      </a:cubicBezTo>
                      <a:lnTo>
                        <a:pt x="18326" y="266745"/>
                      </a:lnTo>
                      <a:lnTo>
                        <a:pt x="1046212" y="266745"/>
                      </a:lnTo>
                      <a:lnTo>
                        <a:pt x="1046212" y="68824"/>
                      </a:lnTo>
                      <a:cubicBezTo>
                        <a:pt x="1046212" y="41132"/>
                        <a:pt x="1023406" y="18326"/>
                        <a:pt x="995713" y="18326"/>
                      </a:cubicBezTo>
                      <a:lnTo>
                        <a:pt x="878427" y="18326"/>
                      </a:ln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1" name="Freihandform: Form 118">
                  <a:extLst>
                    <a:ext uri="{FF2B5EF4-FFF2-40B4-BE49-F238E27FC236}">
                      <a16:creationId xmlns:a16="http://schemas.microsoft.com/office/drawing/2014/main" id="{8C9632E8-EC46-4B4A-8D59-677454E6CF33}"/>
                    </a:ext>
                  </a:extLst>
                </p:cNvPr>
                <p:cNvSpPr/>
                <p:nvPr/>
              </p:nvSpPr>
              <p:spPr bwMode="gray">
                <a:xfrm>
                  <a:off x="6481952" y="14733478"/>
                  <a:ext cx="333004" cy="333004"/>
                </a:xfrm>
                <a:custGeom>
                  <a:avLst/>
                  <a:gdLst>
                    <a:gd name="connsiteX0" fmla="*/ 433716 w 447969"/>
                    <a:gd name="connsiteY0" fmla="*/ 226021 h 447969"/>
                    <a:gd name="connsiteX1" fmla="*/ 226021 w 447969"/>
                    <a:gd name="connsiteY1" fmla="*/ 433715 h 447969"/>
                    <a:gd name="connsiteX2" fmla="*/ 18326 w 447969"/>
                    <a:gd name="connsiteY2" fmla="*/ 226021 h 447969"/>
                    <a:gd name="connsiteX3" fmla="*/ 226021 w 447969"/>
                    <a:gd name="connsiteY3" fmla="*/ 18326 h 447969"/>
                    <a:gd name="connsiteX4" fmla="*/ 433716 w 447969"/>
                    <a:gd name="connsiteY4" fmla="*/ 226021 h 44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969" h="447969">
                      <a:moveTo>
                        <a:pt x="433716" y="226021"/>
                      </a:moveTo>
                      <a:cubicBezTo>
                        <a:pt x="433716" y="340727"/>
                        <a:pt x="340727" y="433715"/>
                        <a:pt x="226021" y="433715"/>
                      </a:cubicBezTo>
                      <a:cubicBezTo>
                        <a:pt x="111314" y="433715"/>
                        <a:pt x="18326" y="340727"/>
                        <a:pt x="18326" y="226021"/>
                      </a:cubicBezTo>
                      <a:cubicBezTo>
                        <a:pt x="18326" y="111314"/>
                        <a:pt x="111314" y="18326"/>
                        <a:pt x="226021" y="18326"/>
                      </a:cubicBezTo>
                      <a:cubicBezTo>
                        <a:pt x="340727" y="18326"/>
                        <a:pt x="433716" y="111314"/>
                        <a:pt x="433716" y="226021"/>
                      </a:cubicBezTo>
                      <a:close/>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2" name="Freihandform: Form 119">
                  <a:extLst>
                    <a:ext uri="{FF2B5EF4-FFF2-40B4-BE49-F238E27FC236}">
                      <a16:creationId xmlns:a16="http://schemas.microsoft.com/office/drawing/2014/main" id="{B6E8E987-E9D1-4910-9745-1F304319BD73}"/>
                    </a:ext>
                  </a:extLst>
                </p:cNvPr>
                <p:cNvSpPr/>
                <p:nvPr/>
              </p:nvSpPr>
              <p:spPr bwMode="gray">
                <a:xfrm rot="2700000">
                  <a:off x="6670910" y="14822908"/>
                  <a:ext cx="24219" cy="181638"/>
                </a:xfrm>
                <a:custGeom>
                  <a:avLst/>
                  <a:gdLst>
                    <a:gd name="connsiteX0" fmla="*/ 18326 w 32579"/>
                    <a:gd name="connsiteY0" fmla="*/ 18326 h 244346"/>
                    <a:gd name="connsiteX1" fmla="*/ 18326 w 32579"/>
                    <a:gd name="connsiteY1" fmla="*/ 227650 h 244346"/>
                  </a:gdLst>
                  <a:ahLst/>
                  <a:cxnLst>
                    <a:cxn ang="0">
                      <a:pos x="connsiteX0" y="connsiteY0"/>
                    </a:cxn>
                    <a:cxn ang="0">
                      <a:pos x="connsiteX1" y="connsiteY1"/>
                    </a:cxn>
                  </a:cxnLst>
                  <a:rect l="l" t="t" r="r" b="b"/>
                  <a:pathLst>
                    <a:path w="32579" h="244346">
                      <a:moveTo>
                        <a:pt x="18326" y="18326"/>
                      </a:moveTo>
                      <a:lnTo>
                        <a:pt x="18326" y="227650"/>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3" name="Freihandform: Form 120">
                  <a:extLst>
                    <a:ext uri="{FF2B5EF4-FFF2-40B4-BE49-F238E27FC236}">
                      <a16:creationId xmlns:a16="http://schemas.microsoft.com/office/drawing/2014/main" id="{ED14B6BD-DC59-4314-BB9A-E3EE8AFF0A0C}"/>
                    </a:ext>
                  </a:extLst>
                </p:cNvPr>
                <p:cNvSpPr/>
                <p:nvPr/>
              </p:nvSpPr>
              <p:spPr bwMode="gray">
                <a:xfrm rot="2700000">
                  <a:off x="6554892" y="14906651"/>
                  <a:ext cx="90733" cy="58568"/>
                </a:xfrm>
                <a:custGeom>
                  <a:avLst/>
                  <a:gdLst>
                    <a:gd name="connsiteX0" fmla="*/ 18326 w 244346"/>
                    <a:gd name="connsiteY0" fmla="*/ 18326 h 32579"/>
                    <a:gd name="connsiteX1" fmla="*/ 227650 w 244346"/>
                    <a:gd name="connsiteY1" fmla="*/ 18326 h 32579"/>
                  </a:gdLst>
                  <a:ahLst/>
                  <a:cxnLst>
                    <a:cxn ang="0">
                      <a:pos x="connsiteX0" y="connsiteY0"/>
                    </a:cxn>
                    <a:cxn ang="0">
                      <a:pos x="connsiteX1" y="connsiteY1"/>
                    </a:cxn>
                  </a:cxnLst>
                  <a:rect l="l" t="t" r="r" b="b"/>
                  <a:pathLst>
                    <a:path w="244346" h="32579">
                      <a:moveTo>
                        <a:pt x="18326" y="18326"/>
                      </a:moveTo>
                      <a:lnTo>
                        <a:pt x="227650"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cxnSp>
            <p:nvCxnSpPr>
              <p:cNvPr id="83" name="Gerader Verbinder 121">
                <a:extLst>
                  <a:ext uri="{FF2B5EF4-FFF2-40B4-BE49-F238E27FC236}">
                    <a16:creationId xmlns:a16="http://schemas.microsoft.com/office/drawing/2014/main" id="{7A668557-0AA1-469C-BB26-F222F25AD340}"/>
                  </a:ext>
                </a:extLst>
              </p:cNvPr>
              <p:cNvCxnSpPr>
                <a:cxnSpLocks/>
              </p:cNvCxnSpPr>
              <p:nvPr/>
            </p:nvCxnSpPr>
            <p:spPr bwMode="gray">
              <a:xfrm rot="5400000">
                <a:off x="738035" y="3806877"/>
                <a:ext cx="1620000" cy="0"/>
              </a:xfrm>
              <a:prstGeom prst="line">
                <a:avLst/>
              </a:prstGeom>
              <a:noFill/>
              <a:ln w="6350" cap="flat" cmpd="sng" algn="ctr">
                <a:solidFill>
                  <a:srgbClr val="9BBB59">
                    <a:lumMod val="75000"/>
                  </a:srgbClr>
                </a:solidFill>
                <a:prstDash val="solid"/>
                <a:tailEnd type="none"/>
              </a:ln>
              <a:effectLst/>
            </p:spPr>
          </p:cxnSp>
        </p:grpSp>
      </p:grpSp>
      <p:graphicFrame>
        <p:nvGraphicFramePr>
          <p:cNvPr id="12" name="Table 11"/>
          <p:cNvGraphicFramePr>
            <a:graphicFrameLocks noGrp="1"/>
          </p:cNvGraphicFramePr>
          <p:nvPr/>
        </p:nvGraphicFramePr>
        <p:xfrm>
          <a:off x="1899138" y="2722351"/>
          <a:ext cx="9751975" cy="2887357"/>
        </p:xfrm>
        <a:graphic>
          <a:graphicData uri="http://schemas.openxmlformats.org/drawingml/2006/table">
            <a:tbl>
              <a:tblPr/>
              <a:tblGrid>
                <a:gridCol w="4691665">
                  <a:extLst>
                    <a:ext uri="{9D8B030D-6E8A-4147-A177-3AD203B41FA5}">
                      <a16:colId xmlns:a16="http://schemas.microsoft.com/office/drawing/2014/main" val="20000"/>
                    </a:ext>
                  </a:extLst>
                </a:gridCol>
                <a:gridCol w="1486597">
                  <a:extLst>
                    <a:ext uri="{9D8B030D-6E8A-4147-A177-3AD203B41FA5}">
                      <a16:colId xmlns:a16="http://schemas.microsoft.com/office/drawing/2014/main" val="20001"/>
                    </a:ext>
                  </a:extLst>
                </a:gridCol>
                <a:gridCol w="324883">
                  <a:extLst>
                    <a:ext uri="{9D8B030D-6E8A-4147-A177-3AD203B41FA5}">
                      <a16:colId xmlns:a16="http://schemas.microsoft.com/office/drawing/2014/main" val="20002"/>
                    </a:ext>
                  </a:extLst>
                </a:gridCol>
                <a:gridCol w="324883">
                  <a:extLst>
                    <a:ext uri="{9D8B030D-6E8A-4147-A177-3AD203B41FA5}">
                      <a16:colId xmlns:a16="http://schemas.microsoft.com/office/drawing/2014/main" val="20003"/>
                    </a:ext>
                  </a:extLst>
                </a:gridCol>
                <a:gridCol w="324883">
                  <a:extLst>
                    <a:ext uri="{9D8B030D-6E8A-4147-A177-3AD203B41FA5}">
                      <a16:colId xmlns:a16="http://schemas.microsoft.com/office/drawing/2014/main" val="20004"/>
                    </a:ext>
                  </a:extLst>
                </a:gridCol>
                <a:gridCol w="324883">
                  <a:extLst>
                    <a:ext uri="{9D8B030D-6E8A-4147-A177-3AD203B41FA5}">
                      <a16:colId xmlns:a16="http://schemas.microsoft.com/office/drawing/2014/main" val="20005"/>
                    </a:ext>
                  </a:extLst>
                </a:gridCol>
                <a:gridCol w="324883">
                  <a:extLst>
                    <a:ext uri="{9D8B030D-6E8A-4147-A177-3AD203B41FA5}">
                      <a16:colId xmlns:a16="http://schemas.microsoft.com/office/drawing/2014/main" val="20006"/>
                    </a:ext>
                  </a:extLst>
                </a:gridCol>
                <a:gridCol w="324883">
                  <a:extLst>
                    <a:ext uri="{9D8B030D-6E8A-4147-A177-3AD203B41FA5}">
                      <a16:colId xmlns:a16="http://schemas.microsoft.com/office/drawing/2014/main" val="20007"/>
                    </a:ext>
                  </a:extLst>
                </a:gridCol>
                <a:gridCol w="324883">
                  <a:extLst>
                    <a:ext uri="{9D8B030D-6E8A-4147-A177-3AD203B41FA5}">
                      <a16:colId xmlns:a16="http://schemas.microsoft.com/office/drawing/2014/main" val="20008"/>
                    </a:ext>
                  </a:extLst>
                </a:gridCol>
                <a:gridCol w="324883">
                  <a:extLst>
                    <a:ext uri="{9D8B030D-6E8A-4147-A177-3AD203B41FA5}">
                      <a16:colId xmlns:a16="http://schemas.microsoft.com/office/drawing/2014/main" val="20009"/>
                    </a:ext>
                  </a:extLst>
                </a:gridCol>
                <a:gridCol w="324883">
                  <a:extLst>
                    <a:ext uri="{9D8B030D-6E8A-4147-A177-3AD203B41FA5}">
                      <a16:colId xmlns:a16="http://schemas.microsoft.com/office/drawing/2014/main" val="20010"/>
                    </a:ext>
                  </a:extLst>
                </a:gridCol>
                <a:gridCol w="324883">
                  <a:extLst>
                    <a:ext uri="{9D8B030D-6E8A-4147-A177-3AD203B41FA5}">
                      <a16:colId xmlns:a16="http://schemas.microsoft.com/office/drawing/2014/main" val="20011"/>
                    </a:ext>
                  </a:extLst>
                </a:gridCol>
                <a:gridCol w="324883">
                  <a:extLst>
                    <a:ext uri="{9D8B030D-6E8A-4147-A177-3AD203B41FA5}">
                      <a16:colId xmlns:a16="http://schemas.microsoft.com/office/drawing/2014/main" val="20012"/>
                    </a:ext>
                  </a:extLst>
                </a:gridCol>
              </a:tblGrid>
              <a:tr h="312476">
                <a:tc>
                  <a:txBody>
                    <a:bodyPr/>
                    <a:lstStyle/>
                    <a:p>
                      <a:pPr algn="l" fontAlgn="b"/>
                      <a:endParaRPr lang="en-US" sz="1400" b="0" i="0" u="none" strike="noStrike" dirty="0">
                        <a:solidFill>
                          <a:srgbClr val="000000"/>
                        </a:solidFill>
                        <a:effectLst/>
                        <a:latin typeface="+mj-lt"/>
                      </a:endParaRPr>
                    </a:p>
                  </a:txBody>
                  <a:tcPr marL="6350" marR="6350" marT="6350" marB="0" anchor="b">
                    <a:lnL>
                      <a:noFill/>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a:txBody>
                    <a:bodyPr/>
                    <a:lstStyle/>
                    <a:p>
                      <a:endParaRPr lang="en-US" dirty="0"/>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gridSpan="3">
                  <a:txBody>
                    <a:bodyPr/>
                    <a:lstStyle/>
                    <a:p>
                      <a:pPr algn="ctr" fontAlgn="ctr"/>
                      <a:r>
                        <a:rPr lang="en-US" sz="1400" b="0" i="0" u="none" strike="noStrike" dirty="0">
                          <a:solidFill>
                            <a:srgbClr val="000000"/>
                          </a:solidFill>
                          <a:effectLst/>
                          <a:latin typeface="+mj-lt"/>
                        </a:rPr>
                        <a:t>202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gridSpan="4">
                  <a:txBody>
                    <a:bodyPr/>
                    <a:lstStyle/>
                    <a:p>
                      <a:pPr algn="ctr" fontAlgn="ctr"/>
                      <a:r>
                        <a:rPr lang="en-US" sz="1400" b="0" i="0" u="none" strike="noStrike" dirty="0">
                          <a:solidFill>
                            <a:srgbClr val="000000"/>
                          </a:solidFill>
                          <a:effectLst/>
                          <a:latin typeface="+mj-lt"/>
                        </a:rPr>
                        <a:t>202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gridSpan="4">
                  <a:txBody>
                    <a:bodyPr/>
                    <a:lstStyle/>
                    <a:p>
                      <a:pPr algn="ctr" fontAlgn="ctr"/>
                      <a:r>
                        <a:rPr lang="en-US" sz="1400" b="0" i="0" u="none" strike="noStrike" dirty="0">
                          <a:solidFill>
                            <a:srgbClr val="000000"/>
                          </a:solidFill>
                          <a:effectLst/>
                          <a:latin typeface="+mj-lt"/>
                        </a:rPr>
                        <a:t>202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extLst>
                  <a:ext uri="{0D108BD9-81ED-4DB2-BD59-A6C34878D82A}">
                    <a16:rowId xmlns:a16="http://schemas.microsoft.com/office/drawing/2014/main" val="10000"/>
                  </a:ext>
                </a:extLst>
              </a:tr>
              <a:tr h="345388">
                <a:tc>
                  <a:txBody>
                    <a:bodyPr/>
                    <a:lstStyle/>
                    <a:p>
                      <a:pPr algn="ctr" fontAlgn="ctr"/>
                      <a:r>
                        <a:rPr lang="en-US" sz="1400" b="0" i="0" u="none" strike="noStrike" dirty="0">
                          <a:solidFill>
                            <a:schemeClr val="tx1"/>
                          </a:solidFill>
                          <a:effectLst/>
                          <a:latin typeface="+mj-lt"/>
                        </a:rPr>
                        <a:t>Projects/ Streams</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a:r>
                        <a:rPr lang="en-US" sz="1200" dirty="0">
                          <a:solidFill>
                            <a:schemeClr val="tx1"/>
                          </a:solidFill>
                          <a:latin typeface="+mj-lt"/>
                        </a:rPr>
                        <a:t>Project</a:t>
                      </a:r>
                      <a:r>
                        <a:rPr lang="en-US" sz="1200" baseline="0" dirty="0">
                          <a:solidFill>
                            <a:schemeClr val="tx1"/>
                          </a:solidFill>
                          <a:latin typeface="+mj-lt"/>
                        </a:rPr>
                        <a:t> Leaders</a:t>
                      </a:r>
                      <a:endParaRPr lang="en-US" sz="1200" dirty="0">
                        <a:solidFill>
                          <a:schemeClr val="tx1"/>
                        </a:solidFill>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extLst>
                  <a:ext uri="{0D108BD9-81ED-4DB2-BD59-A6C34878D82A}">
                    <a16:rowId xmlns:a16="http://schemas.microsoft.com/office/drawing/2014/main" val="10001"/>
                  </a:ext>
                </a:extLst>
              </a:tr>
              <a:tr h="117094">
                <a:tc gridSpan="13">
                  <a:txBody>
                    <a:bodyPr/>
                    <a:lstStyle/>
                    <a:p>
                      <a:pPr algn="ctr" fontAlgn="ctr"/>
                      <a:endParaRPr lang="en-US" sz="1000" b="0" i="0" u="none" strike="noStrike" dirty="0">
                        <a:solidFill>
                          <a:srgbClr val="000000"/>
                        </a:solidFill>
                        <a:effectLst/>
                        <a:latin typeface="+mj-lt"/>
                      </a:endParaRPr>
                    </a:p>
                  </a:txBody>
                  <a:tcPr marL="6350" marR="6350" marT="6350" marB="0" anchor="ctr">
                    <a:lnL>
                      <a:noFill/>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23105">
                <a:tc>
                  <a:txBody>
                    <a:bodyPr/>
                    <a:lstStyle/>
                    <a:p>
                      <a:pPr algn="l" fontAlgn="ctr"/>
                      <a:r>
                        <a:rPr lang="en-US" sz="1400" b="0" i="0" u="none" strike="noStrike" dirty="0">
                          <a:solidFill>
                            <a:srgbClr val="000000"/>
                          </a:solidFill>
                          <a:effectLst/>
                          <a:latin typeface="+mj-lt"/>
                          <a:cs typeface="Arial" panose="020B0604020202020204" pitchFamily="34" charset="0"/>
                        </a:rPr>
                        <a:t>1. Employer</a:t>
                      </a:r>
                      <a:r>
                        <a:rPr lang="en-US" sz="1400" b="0" i="0" u="none" strike="noStrike" baseline="0" dirty="0">
                          <a:solidFill>
                            <a:srgbClr val="000000"/>
                          </a:solidFill>
                          <a:effectLst/>
                          <a:latin typeface="+mj-lt"/>
                          <a:cs typeface="Arial" panose="020B0604020202020204" pitchFamily="34" charset="0"/>
                        </a:rPr>
                        <a:t> Brand Enhancement </a:t>
                      </a:r>
                      <a:r>
                        <a:rPr lang="en-US" sz="1400" b="0" i="0" u="none" strike="noStrike" dirty="0">
                          <a:solidFill>
                            <a:srgbClr val="000000"/>
                          </a:solidFill>
                          <a:effectLst/>
                          <a:latin typeface="+mj-lt"/>
                          <a:cs typeface="Arial" panose="020B0604020202020204" pitchFamily="34" charset="0"/>
                        </a:rPr>
                        <a:t>(acquisition,</a:t>
                      </a:r>
                      <a:r>
                        <a:rPr lang="en-US" sz="1400" b="0" i="0" u="none" strike="noStrike" baseline="0" dirty="0">
                          <a:solidFill>
                            <a:srgbClr val="000000"/>
                          </a:solidFill>
                          <a:effectLst/>
                          <a:latin typeface="+mj-lt"/>
                          <a:cs typeface="Arial" panose="020B0604020202020204" pitchFamily="34" charset="0"/>
                        </a:rPr>
                        <a:t> </a:t>
                      </a:r>
                      <a:r>
                        <a:rPr lang="en-US" sz="1400" b="0" i="0" u="none" strike="noStrike" dirty="0">
                          <a:solidFill>
                            <a:srgbClr val="000000"/>
                          </a:solidFill>
                          <a:effectLst/>
                          <a:latin typeface="+mj-lt"/>
                          <a:cs typeface="Arial" panose="020B0604020202020204" pitchFamily="34" charset="0"/>
                        </a:rPr>
                        <a:t>on-boarding</a:t>
                      </a:r>
                      <a:r>
                        <a:rPr lang="en-US" sz="1400" b="0" i="0" u="none" strike="noStrike" baseline="0" dirty="0">
                          <a:solidFill>
                            <a:srgbClr val="000000"/>
                          </a:solidFill>
                          <a:effectLst/>
                          <a:latin typeface="+mj-lt"/>
                          <a:cs typeface="Arial" panose="020B0604020202020204" pitchFamily="34" charset="0"/>
                        </a:rPr>
                        <a:t> etc.) </a:t>
                      </a:r>
                      <a:endParaRPr lang="en-US" sz="1400" b="0" i="0" u="none" strike="noStrike" dirty="0">
                        <a:solidFill>
                          <a:srgbClr val="000000"/>
                        </a:solidFill>
                        <a:effectLst/>
                        <a:latin typeface="+mj-lt"/>
                        <a:cs typeface="Arial" panose="020B0604020202020204" pitchFamily="34" charset="0"/>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Gunel G/ Nurana M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3"/>
                  </a:ext>
                </a:extLst>
              </a:tr>
              <a:tr h="323105">
                <a:tc>
                  <a:txBody>
                    <a:bodyPr/>
                    <a:lstStyle/>
                    <a:p>
                      <a:pPr algn="l" fontAlgn="ctr"/>
                      <a:r>
                        <a:rPr lang="en-US" sz="1400" b="0" i="0" u="none" strike="noStrike" dirty="0">
                          <a:solidFill>
                            <a:srgbClr val="000000"/>
                          </a:solidFill>
                          <a:effectLst/>
                          <a:latin typeface="+mj-lt"/>
                          <a:cs typeface="Arial" panose="020B0604020202020204" pitchFamily="34" charset="0"/>
                        </a:rPr>
                        <a:t>2. Job</a:t>
                      </a:r>
                      <a:r>
                        <a:rPr lang="en-US" sz="1400" b="0" i="0" u="none" strike="noStrike" baseline="0" dirty="0">
                          <a:solidFill>
                            <a:srgbClr val="000000"/>
                          </a:solidFill>
                          <a:effectLst/>
                          <a:latin typeface="+mj-lt"/>
                          <a:cs typeface="Arial" panose="020B0604020202020204" pitchFamily="34" charset="0"/>
                        </a:rPr>
                        <a:t> Evaluation &amp; Total Reward Standards </a:t>
                      </a:r>
                      <a:endParaRPr lang="en-US" sz="1400" b="0" i="0" u="none" strike="noStrike" dirty="0">
                        <a:solidFill>
                          <a:srgbClr val="000000"/>
                        </a:solidFill>
                        <a:effectLst/>
                        <a:latin typeface="+mj-lt"/>
                        <a:cs typeface="Arial" panose="020B0604020202020204" pitchFamily="34" charset="0"/>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Natalya S/ Shahla M</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4"/>
                  </a:ext>
                </a:extLst>
              </a:tr>
              <a:tr h="323105">
                <a:tc>
                  <a:txBody>
                    <a:bodyPr/>
                    <a:lstStyle/>
                    <a:p>
                      <a:pPr algn="l" fontAlgn="ctr"/>
                      <a:r>
                        <a:rPr lang="en-US" sz="1400" b="0" i="0" u="none" strike="noStrike" dirty="0">
                          <a:solidFill>
                            <a:srgbClr val="000000"/>
                          </a:solidFill>
                          <a:effectLst/>
                          <a:latin typeface="+mj-lt"/>
                          <a:cs typeface="Arial" panose="020B0604020202020204" pitchFamily="34" charset="0"/>
                        </a:rPr>
                        <a:t>3. Performance Management System implementation</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Natalya S/ Viktoriya H</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FF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FF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FF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5"/>
                  </a:ext>
                </a:extLst>
              </a:tr>
              <a:tr h="323105">
                <a:tc>
                  <a:txBody>
                    <a:bodyPr/>
                    <a:lstStyle/>
                    <a:p>
                      <a:pPr algn="l" fontAlgn="ctr"/>
                      <a:r>
                        <a:rPr lang="en-US" sz="1400" b="0" i="0" u="none" strike="noStrike" dirty="0">
                          <a:solidFill>
                            <a:srgbClr val="000000"/>
                          </a:solidFill>
                          <a:effectLst/>
                          <a:latin typeface="+mj-lt"/>
                          <a:cs typeface="Arial" panose="020B0604020202020204" pitchFamily="34" charset="0"/>
                        </a:rPr>
                        <a:t>4. Leadership Development &amp; Succession planning</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Natalya S/ Sevda A</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extLst>
                  <a:ext uri="{0D108BD9-81ED-4DB2-BD59-A6C34878D82A}">
                    <a16:rowId xmlns:a16="http://schemas.microsoft.com/office/drawing/2014/main" val="10006"/>
                  </a:ext>
                </a:extLst>
              </a:tr>
              <a:tr h="270792">
                <a:tc>
                  <a:txBody>
                    <a:bodyPr/>
                    <a:lstStyle/>
                    <a:p>
                      <a:pPr marL="0" marR="0" indent="0" algn="l" defTabSz="914377"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mj-lt"/>
                          <a:ea typeface="+mn-ea"/>
                          <a:cs typeface="Arial" panose="020B0604020202020204" pitchFamily="34" charset="0"/>
                        </a:rPr>
                        <a:t>5. Corporate Culture &amp; Employee Engagement</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Natalya S/ Viktoriya H</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000000"/>
                          </a:solidFill>
                          <a:effectLst/>
                          <a:latin typeface="Arial" panose="020B0604020202020204" pitchFamily="34" charset="0"/>
                          <a:cs typeface="Arial" panose="020B0604020202020204" pitchFamily="34" charset="0"/>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extLst>
                  <a:ext uri="{0D108BD9-81ED-4DB2-BD59-A6C34878D82A}">
                    <a16:rowId xmlns:a16="http://schemas.microsoft.com/office/drawing/2014/main" val="10007"/>
                  </a:ext>
                </a:extLst>
              </a:tr>
              <a:tr h="236739">
                <a:tc>
                  <a:txBody>
                    <a:bodyPr/>
                    <a:lstStyle/>
                    <a:p>
                      <a:pPr marL="0" marR="0" indent="0" algn="l" defTabSz="914377"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mj-lt"/>
                          <a:ea typeface="+mn-ea"/>
                          <a:cs typeface="Arial" panose="020B0604020202020204" pitchFamily="34" charset="0"/>
                        </a:rPr>
                        <a:t>6. Institutional</a:t>
                      </a:r>
                      <a:r>
                        <a:rPr lang="en-US" sz="1400" b="0" i="0" u="none" strike="noStrike" kern="1200" baseline="0" dirty="0">
                          <a:solidFill>
                            <a:srgbClr val="000000"/>
                          </a:solidFill>
                          <a:effectLst/>
                          <a:latin typeface="+mj-lt"/>
                          <a:ea typeface="+mn-ea"/>
                          <a:cs typeface="Arial" panose="020B0604020202020204" pitchFamily="34" charset="0"/>
                        </a:rPr>
                        <a:t> Development of HR Function</a:t>
                      </a:r>
                      <a:endParaRPr lang="en-US" sz="1400" b="0" i="0" u="none" strike="noStrike" kern="1200" dirty="0">
                        <a:solidFill>
                          <a:srgbClr val="000000"/>
                        </a:solidFill>
                        <a:effectLst/>
                        <a:latin typeface="+mj-lt"/>
                        <a:ea typeface="+mn-ea"/>
                        <a:cs typeface="Arial" panose="020B0604020202020204" pitchFamily="34" charset="0"/>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Sevda A/ Natalya S</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extLst>
                  <a:ext uri="{0D108BD9-81ED-4DB2-BD59-A6C34878D82A}">
                    <a16:rowId xmlns:a16="http://schemas.microsoft.com/office/drawing/2014/main" val="10008"/>
                  </a:ext>
                </a:extLst>
              </a:tr>
              <a:tr h="270792">
                <a:tc>
                  <a:txBody>
                    <a:bodyPr/>
                    <a:lstStyle/>
                    <a:p>
                      <a:pPr marL="0" marR="0" indent="0" algn="l" defTabSz="914377"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mj-lt"/>
                          <a:ea typeface="+mn-ea"/>
                          <a:cs typeface="Arial" panose="020B0604020202020204" pitchFamily="34" charset="0"/>
                        </a:rPr>
                        <a:t>7. Automation of HR processes (transactional/transformational)</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Calibri Light" panose="020F0302020204030204"/>
                          <a:ea typeface="+mn-ea"/>
                          <a:cs typeface="+mn-cs"/>
                        </a:rPr>
                        <a:t>Natalya S</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095377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a:solidFill>
                  <a:srgbClr val="000000">
                    <a:lumMod val="95000"/>
                    <a:lumOff val="5000"/>
                  </a:srgbClr>
                </a:solidFill>
                <a:latin typeface="Arial"/>
              </a:rPr>
              <a:t>U-TALENT PROGRAM (HR Functional Strategy Implementation)</a:t>
            </a:r>
            <a:endParaRPr kumimoji="0" lang="en-US" sz="2041" i="0" u="none" strike="noStrike" kern="0" cap="none" spc="0" normalizeH="0" baseline="0" noProof="0" dirty="0">
              <a:ln>
                <a:noFill/>
              </a:ln>
              <a:solidFill>
                <a:srgbClr val="000000">
                  <a:lumMod val="95000"/>
                  <a:lumOff val="5000"/>
                </a:srgbClr>
              </a:solidFill>
              <a:effectLst/>
              <a:uLnTx/>
              <a:uFillTx/>
              <a:latin typeface="Arial"/>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4" y="136603"/>
            <a:ext cx="335482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32958">
              <a:defRPr/>
            </a:pPr>
            <a:r>
              <a:rPr lang="en-US" sz="816" cap="all" dirty="0">
                <a:solidFill>
                  <a:srgbClr val="808080"/>
                </a:solidFill>
                <a:latin typeface="Arial"/>
              </a:rPr>
              <a:t>Institutional development &amp; corporate culture</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82012" y="5617056"/>
            <a:ext cx="1791689" cy="11593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 HR reorganization (OD &amp; HR BPs </a:t>
            </a:r>
          </a:p>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 Job Evaluation process started </a:t>
            </a:r>
          </a:p>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 Top Team Development (</a:t>
            </a:r>
            <a:r>
              <a:rPr lang="en-US" sz="1000" dirty="0" err="1">
                <a:solidFill>
                  <a:schemeClr val="tx1">
                    <a:lumMod val="65000"/>
                    <a:lumOff val="35000"/>
                  </a:schemeClr>
                </a:solidFill>
                <a:latin typeface="Arial" panose="020B0604020202020204" pitchFamily="34" charset="0"/>
                <a:ea typeface="Times New Roman"/>
                <a:cs typeface="Arial" panose="020B0604020202020204" pitchFamily="34" charset="0"/>
              </a:rPr>
              <a:t>Neuromap</a:t>
            </a: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82012" y="5259549"/>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882221"/>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Faig</a:t>
            </a:r>
            <a:r>
              <a:rPr kumimoji="0" lang="en-US" sz="1300" b="0" i="0" u="none" strike="noStrike" kern="0" cap="none" spc="0" normalizeH="0" noProof="0" dirty="0">
                <a:ln>
                  <a:noFill/>
                </a:ln>
                <a:solidFill>
                  <a:srgbClr val="000000"/>
                </a:solidFill>
                <a:effectLst/>
                <a:uLnTx/>
                <a:uFillTx/>
                <a:latin typeface="Arial"/>
                <a:sym typeface="+mn-lt"/>
              </a:rPr>
              <a:t> Huseyn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892177"/>
            <a:ext cx="1366988" cy="472062"/>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Natalya Sandler</a:t>
            </a: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882221"/>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gram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88561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gram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04837"/>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03162" y="1675713"/>
            <a:ext cx="1576964" cy="2299625"/>
            <a:chOff x="8203162" y="1675713"/>
            <a:chExt cx="1576964"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sp>
          <p:nvSpPr>
            <p:cNvPr id="93" name="TextBox 92">
              <a:extLst>
                <a:ext uri="{FF2B5EF4-FFF2-40B4-BE49-F238E27FC236}">
                  <a16:creationId xmlns:a16="http://schemas.microsoft.com/office/drawing/2014/main" id="{7AEB6247-2D14-5049-9F62-DF45346419F6}"/>
                </a:ext>
              </a:extLst>
            </p:cNvPr>
            <p:cNvSpPr txBox="1"/>
            <p:nvPr/>
          </p:nvSpPr>
          <p:spPr>
            <a:xfrm>
              <a:off x="8203162" y="2063940"/>
              <a:ext cx="1525931" cy="830997"/>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lanned Total * -</a:t>
              </a:r>
            </a:p>
            <a:p>
              <a:r>
                <a:rPr lang="en-US" sz="1200" dirty="0">
                  <a:latin typeface="Arial" panose="020B0604020202020204" pitchFamily="34" charset="0"/>
                  <a:cs typeface="Arial" panose="020B0604020202020204" pitchFamily="34" charset="0"/>
                </a:rPr>
                <a:t>4,028,500 AZN</a:t>
              </a:r>
            </a:p>
            <a:p>
              <a:r>
                <a:rPr lang="en-US" sz="1200" dirty="0">
                  <a:latin typeface="Arial" panose="020B0604020202020204" pitchFamily="34" charset="0"/>
                  <a:cs typeface="Arial" panose="020B0604020202020204" pitchFamily="34" charset="0"/>
                </a:rPr>
                <a:t>(1,769,500 AZN for </a:t>
              </a:r>
            </a:p>
            <a:p>
              <a:r>
                <a:rPr lang="en-US" sz="1200" dirty="0">
                  <a:latin typeface="Arial" panose="020B0604020202020204" pitchFamily="34" charset="0"/>
                  <a:cs typeface="Arial" panose="020B0604020202020204" pitchFamily="34" charset="0"/>
                </a:rPr>
                <a:t>2021 only)</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8506" y="2671382"/>
              <a:ext cx="184731" cy="246221"/>
            </a:xfrm>
            <a:prstGeom prst="rect">
              <a:avLst/>
            </a:prstGeom>
            <a:noFill/>
          </p:spPr>
          <p:txBody>
            <a:bodyPr wrap="none" rtlCol="0">
              <a:spAutoFit/>
            </a:bodyPr>
            <a:lstStyle/>
            <a:p>
              <a:endParaRPr lang="en-US" sz="1000" dirty="0">
                <a:latin typeface="Arial" panose="020B0604020202020204" pitchFamily="34" charset="0"/>
                <a:cs typeface="Arial" panose="020B0604020202020204" pitchFamily="34" charset="0"/>
              </a:endParaRP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29090" y="3057677"/>
              <a:ext cx="1332693" cy="0"/>
            </a:xfrm>
            <a:prstGeom prst="line">
              <a:avLst/>
            </a:prstGeom>
            <a:noFill/>
            <a:ln w="9525" cap="flat" cmpd="sng" algn="ctr">
              <a:solidFill>
                <a:srgbClr val="808080"/>
              </a:solidFill>
              <a:prstDash val="sysDot"/>
            </a:ln>
            <a:effectLst/>
          </p:spPr>
        </p:cxn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435604"/>
            <a:ext cx="1687343"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899440"/>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387051"/>
            <a:ext cx="1695263"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65199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226681"/>
            <a:ext cx="3601756" cy="40237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 </a:t>
            </a:r>
          </a:p>
          <a:p>
            <a:pPr fontAlgn="base">
              <a:spcBef>
                <a:spcPct val="0"/>
              </a:spcBef>
              <a:spcAft>
                <a:spcPct val="0"/>
              </a:spcAft>
              <a:buClr>
                <a:srgbClr val="FFFFFF"/>
              </a:buClr>
            </a:pPr>
            <a:r>
              <a:rPr lang="en-US" sz="1300" b="1" dirty="0">
                <a:solidFill>
                  <a:srgbClr val="FFFFFF"/>
                </a:solidFill>
                <a:latin typeface="Arial"/>
                <a:sym typeface="+mn-lt"/>
              </a:rPr>
              <a:t>(planning stage is still ongoing)</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511211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47939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84098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620402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801265"/>
            <a:ext cx="55060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CTO </a:t>
            </a:r>
            <a:endParaRPr lang="x-none"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5160366"/>
            <a:ext cx="51648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HRD</a:t>
            </a:r>
            <a:endParaRPr lang="x-none"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531885"/>
            <a:ext cx="2377574"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HR Project Managers/ Members</a:t>
            </a:r>
            <a:endParaRPr lang="x-none"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867878"/>
            <a:ext cx="94333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TO Partner</a:t>
            </a:r>
            <a:endParaRPr lang="x-none"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31062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x-none"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1236795" y="4792091"/>
            <a:ext cx="56938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X MH</a:t>
            </a:r>
            <a:endParaRPr lang="x-none"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247171" y="5553426"/>
            <a:ext cx="5666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Y MH</a:t>
            </a:r>
            <a:endParaRPr lang="x-none"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246834" y="5885138"/>
            <a:ext cx="5666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Y MH</a:t>
            </a:r>
            <a:endParaRPr lang="x-none"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1246834" y="6290070"/>
            <a:ext cx="561372"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Z MH</a:t>
            </a:r>
            <a:endParaRPr lang="x-none" sz="1200" b="1" dirty="0">
              <a:latin typeface="Arial" panose="020B0604020202020204" pitchFamily="34" charset="0"/>
              <a:cs typeface="Arial" panose="020B0604020202020204" pitchFamily="34" charset="0"/>
            </a:endParaRPr>
          </a:p>
        </p:txBody>
      </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802474" y="2043674"/>
            <a:ext cx="0" cy="294644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77306"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52137"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96642" y="2034633"/>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911755"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76632"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451464"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726295"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4001126"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75958"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550790"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825622"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100453"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375284"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650116"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924948"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199779"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474610"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749441" y="2043674"/>
            <a:ext cx="0" cy="29455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1813726" y="1480000"/>
            <a:ext cx="53751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813726" y="1714285"/>
            <a:ext cx="1332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2104629"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2104629"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2379461"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2379461"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2654293"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2654293"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2929125"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2929125"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1829797"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1829797"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3203955"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3203955"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3753619"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3753619"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4028451"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4028451"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4303283"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4303283"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4578113"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4578113"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4852945"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4852945"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5127777"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5127777"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5402609"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9</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5402609"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5677440"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5677440"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5952271"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5952271"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6227103"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6227103"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3478787"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3478787"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3203956" y="1469880"/>
            <a:ext cx="626416"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3192345" y="1714285"/>
            <a:ext cx="324333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6501935" y="1779630"/>
            <a:ext cx="220183"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6501935" y="2013915"/>
            <a:ext cx="220183"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2246" y="1423766"/>
            <a:ext cx="1259144" cy="2935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60220" y="1867138"/>
            <a:ext cx="1259144" cy="423895"/>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Employer Brand</a:t>
            </a:r>
            <a:r>
              <a:rPr kumimoji="0" lang="en-US" sz="1100" b="0" i="0" u="none" strike="noStrike" kern="1200" cap="none" spc="0" normalizeH="0" noProof="0" dirty="0">
                <a:ln>
                  <a:noFill/>
                </a:ln>
                <a:solidFill>
                  <a:srgbClr val="FFFFFF"/>
                </a:solidFill>
                <a:effectLst/>
                <a:uLnTx/>
                <a:uFillTx/>
                <a:latin typeface="Arial"/>
                <a:ea typeface="+mn-ea"/>
                <a:cs typeface="+mn-cs"/>
              </a:rPr>
              <a:t> Enhancement</a:t>
            </a:r>
            <a:endParaRPr kumimoji="0" lang="en-US"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3219684" y="2062263"/>
            <a:ext cx="3545141"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lumMod val="50000"/>
                </a:schemeClr>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72246" y="1717323"/>
            <a:ext cx="125914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1926" y="2326807"/>
            <a:ext cx="1259144" cy="43054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Job Evaluation &amp; Total Reward </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4011730" y="2908811"/>
            <a:ext cx="2734137"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60220" y="2781872"/>
            <a:ext cx="1259144" cy="53358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Performance Management System </a:t>
            </a:r>
            <a:endParaRPr kumimoji="0" lang="en-US" sz="1100" b="0" i="0" u="none" strike="noStrike" kern="1200" cap="none" spc="0" normalizeH="0" baseline="0" noProof="0" dirty="0">
              <a:ln>
                <a:noFill/>
              </a:ln>
              <a:solidFill>
                <a:srgbClr val="FFFFFF"/>
              </a:solidFill>
              <a:effectLst/>
              <a:uLnTx/>
              <a:uFillTx/>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2596642" y="3463545"/>
            <a:ext cx="4149226"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46811" y="3350555"/>
            <a:ext cx="1259144" cy="56544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Leadership Development &amp; Succession </a:t>
            </a:r>
            <a:endParaRPr kumimoji="0" lang="en-US" sz="1100" b="0" i="0" u="none" strike="noStrike" kern="1200" cap="none" spc="0" normalizeH="0" baseline="0" noProof="0" dirty="0">
              <a:ln>
                <a:noFill/>
              </a:ln>
              <a:solidFill>
                <a:srgbClr val="FFFFFF"/>
              </a:solidFill>
              <a:effectLst/>
              <a:uLnTx/>
              <a:uFillTx/>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48126" y="3940082"/>
            <a:ext cx="1259144" cy="41592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Corporate Culture Transformation</a:t>
            </a:r>
            <a:endParaRPr kumimoji="0" lang="en-US" sz="1100" b="0" i="0" u="none" strike="noStrike" kern="1200" cap="none" spc="0" normalizeH="0" baseline="0" noProof="0" dirty="0">
              <a:ln>
                <a:noFill/>
              </a:ln>
              <a:solidFill>
                <a:srgbClr val="FFFFFF"/>
              </a:solidFill>
              <a:effectLst/>
              <a:uLnTx/>
              <a:uFillTx/>
            </a:endParaRPr>
          </a:p>
        </p:txBody>
      </p:sp>
      <p:sp>
        <p:nvSpPr>
          <p:cNvPr id="167" name="TextBox 166">
            <a:extLst>
              <a:ext uri="{FF2B5EF4-FFF2-40B4-BE49-F238E27FC236}">
                <a16:creationId xmlns:a16="http://schemas.microsoft.com/office/drawing/2014/main" id="{D7D1BDE4-E611-9245-B77A-04A16CF0C215}"/>
              </a:ext>
            </a:extLst>
          </p:cNvPr>
          <p:cNvSpPr txBox="1">
            <a:spLocks/>
          </p:cNvSpPr>
          <p:nvPr/>
        </p:nvSpPr>
        <p:spPr>
          <a:xfrm>
            <a:off x="348126" y="4385999"/>
            <a:ext cx="1259144" cy="3316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Institutional Development</a:t>
            </a:r>
            <a:endParaRPr kumimoji="0" lang="en-US" sz="1100" b="0" i="0" u="none" strike="noStrike" kern="1200" cap="none" spc="0" normalizeH="0" baseline="0" noProof="0" dirty="0">
              <a:ln>
                <a:noFill/>
              </a:ln>
              <a:solidFill>
                <a:srgbClr val="FFFFFF"/>
              </a:solidFill>
              <a:effectLst/>
              <a:uLnTx/>
              <a:uFillTx/>
            </a:endParaRPr>
          </a:p>
        </p:txBody>
      </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311407" y="5624195"/>
            <a:ext cx="3758541" cy="115216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93850" y="525940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37931" y="5617055"/>
            <a:ext cx="1791689" cy="11593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 Detailed Project Plan is to be finalized by Mid-Dec’20</a:t>
            </a:r>
          </a:p>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PM process to be initiated in April after Strategy MVP</a:t>
            </a:r>
          </a:p>
          <a:p>
            <a:pPr fontAlgn="base">
              <a:spcBef>
                <a:spcPct val="0"/>
              </a:spcBef>
              <a:spcAft>
                <a:spcPct val="0"/>
              </a:spcAft>
              <a:defRPr/>
            </a:pPr>
            <a:r>
              <a:rPr lang="en-US" sz="1000" dirty="0">
                <a:solidFill>
                  <a:schemeClr val="tx1">
                    <a:lumMod val="65000"/>
                    <a:lumOff val="35000"/>
                  </a:schemeClr>
                </a:solidFill>
                <a:latin typeface="Arial" panose="020B0604020202020204" pitchFamily="34" charset="0"/>
                <a:ea typeface="Times New Roman"/>
                <a:cs typeface="Arial" panose="020B0604020202020204" pitchFamily="34" charset="0"/>
              </a:rPr>
              <a:t>- Corp Culture project will start after ID project interview stage is finalized</a:t>
            </a: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51239" y="526763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56648" y="2149033"/>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43020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Quality of planning  </a:t>
            </a:r>
            <a:endParaRPr lang="x-none"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443688"/>
            <a:ext cx="1468672" cy="430887"/>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urnover of Key HR </a:t>
            </a:r>
          </a:p>
          <a:p>
            <a:r>
              <a:rPr lang="en-US" sz="1100" dirty="0">
                <a:latin typeface="Arial" panose="020B0604020202020204" pitchFamily="34" charset="0"/>
                <a:cs typeface="Arial" panose="020B0604020202020204" pitchFamily="34" charset="0"/>
              </a:rPr>
              <a:t>personnel</a:t>
            </a:r>
            <a:endParaRPr lang="x-none"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17728"/>
            <a:ext cx="1444626" cy="430887"/>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Lack of Leadership </a:t>
            </a:r>
          </a:p>
          <a:p>
            <a:r>
              <a:rPr lang="en-US" sz="1100" dirty="0">
                <a:latin typeface="Arial" panose="020B0604020202020204" pitchFamily="34" charset="0"/>
                <a:cs typeface="Arial" panose="020B0604020202020204" pitchFamily="34" charset="0"/>
              </a:rPr>
              <a:t>(heavy run agenda) </a:t>
            </a:r>
            <a:endParaRPr lang="x-none"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17278" y="494053"/>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344" name="TextBox 343">
            <a:extLst>
              <a:ext uri="{FF2B5EF4-FFF2-40B4-BE49-F238E27FC236}">
                <a16:creationId xmlns:a16="http://schemas.microsoft.com/office/drawing/2014/main" id="{D7D1BDE4-E611-9245-B77A-04A16CF0C215}"/>
              </a:ext>
            </a:extLst>
          </p:cNvPr>
          <p:cNvSpPr txBox="1">
            <a:spLocks/>
          </p:cNvSpPr>
          <p:nvPr/>
        </p:nvSpPr>
        <p:spPr>
          <a:xfrm>
            <a:off x="344164" y="4748152"/>
            <a:ext cx="1259144" cy="3091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HR Automation</a:t>
            </a:r>
            <a:endParaRPr kumimoji="0" lang="en-US" sz="1100" b="0" i="0" u="none" strike="noStrike" kern="1200" cap="none" spc="0" normalizeH="0" baseline="0" noProof="0" dirty="0">
              <a:ln>
                <a:noFill/>
              </a:ln>
              <a:solidFill>
                <a:srgbClr val="FFFFFF"/>
              </a:solidFill>
              <a:effectLst/>
              <a:uLnTx/>
              <a:uFillTx/>
            </a:endParaRPr>
          </a:p>
        </p:txBody>
      </p:sp>
      <p:sp>
        <p:nvSpPr>
          <p:cNvPr id="345" name="Rectangle 99">
            <a:extLst>
              <a:ext uri="{FF2B5EF4-FFF2-40B4-BE49-F238E27FC236}">
                <a16:creationId xmlns:a16="http://schemas.microsoft.com/office/drawing/2014/main" id="{875EF904-C7A4-7342-934E-91E35B7FFEEC}"/>
              </a:ext>
            </a:extLst>
          </p:cNvPr>
          <p:cNvSpPr>
            <a:spLocks/>
          </p:cNvSpPr>
          <p:nvPr/>
        </p:nvSpPr>
        <p:spPr>
          <a:xfrm>
            <a:off x="2589074" y="2436269"/>
            <a:ext cx="2758397"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47" name="Rectangle 99">
            <a:extLst>
              <a:ext uri="{FF2B5EF4-FFF2-40B4-BE49-F238E27FC236}">
                <a16:creationId xmlns:a16="http://schemas.microsoft.com/office/drawing/2014/main" id="{0596E707-B512-2142-BEA7-D9C9F5E056B9}"/>
              </a:ext>
            </a:extLst>
          </p:cNvPr>
          <p:cNvSpPr>
            <a:spLocks/>
          </p:cNvSpPr>
          <p:nvPr/>
        </p:nvSpPr>
        <p:spPr>
          <a:xfrm>
            <a:off x="2590386" y="3479575"/>
            <a:ext cx="355899" cy="2160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5%</a:t>
            </a:r>
          </a:p>
        </p:txBody>
      </p:sp>
      <p:sp>
        <p:nvSpPr>
          <p:cNvPr id="348" name="Rectangle 99">
            <a:extLst>
              <a:ext uri="{FF2B5EF4-FFF2-40B4-BE49-F238E27FC236}">
                <a16:creationId xmlns:a16="http://schemas.microsoft.com/office/drawing/2014/main" id="{B8AAB2CE-D37B-894E-B004-7FDA994B5E3D}"/>
              </a:ext>
            </a:extLst>
          </p:cNvPr>
          <p:cNvSpPr>
            <a:spLocks/>
          </p:cNvSpPr>
          <p:nvPr/>
        </p:nvSpPr>
        <p:spPr>
          <a:xfrm>
            <a:off x="2911755" y="3983832"/>
            <a:ext cx="3837687"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50" name="Rectangle 99">
            <a:extLst>
              <a:ext uri="{FF2B5EF4-FFF2-40B4-BE49-F238E27FC236}">
                <a16:creationId xmlns:a16="http://schemas.microsoft.com/office/drawing/2014/main" id="{0596E707-B512-2142-BEA7-D9C9F5E056B9}"/>
              </a:ext>
            </a:extLst>
          </p:cNvPr>
          <p:cNvSpPr>
            <a:spLocks/>
          </p:cNvSpPr>
          <p:nvPr/>
        </p:nvSpPr>
        <p:spPr>
          <a:xfrm>
            <a:off x="2594980" y="2453582"/>
            <a:ext cx="351305" cy="2160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5%</a:t>
            </a:r>
          </a:p>
        </p:txBody>
      </p:sp>
      <p:sp>
        <p:nvSpPr>
          <p:cNvPr id="351" name="Rectangle 99">
            <a:extLst>
              <a:ext uri="{FF2B5EF4-FFF2-40B4-BE49-F238E27FC236}">
                <a16:creationId xmlns:a16="http://schemas.microsoft.com/office/drawing/2014/main" id="{B8AAB2CE-D37B-894E-B004-7FDA994B5E3D}"/>
              </a:ext>
            </a:extLst>
          </p:cNvPr>
          <p:cNvSpPr>
            <a:spLocks/>
          </p:cNvSpPr>
          <p:nvPr/>
        </p:nvSpPr>
        <p:spPr>
          <a:xfrm>
            <a:off x="1813725" y="4404232"/>
            <a:ext cx="6102317" cy="282034"/>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52" name="Rectangle 99">
            <a:extLst>
              <a:ext uri="{FF2B5EF4-FFF2-40B4-BE49-F238E27FC236}">
                <a16:creationId xmlns:a16="http://schemas.microsoft.com/office/drawing/2014/main" id="{0596E707-B512-2142-BEA7-D9C9F5E056B9}"/>
              </a:ext>
            </a:extLst>
          </p:cNvPr>
          <p:cNvSpPr>
            <a:spLocks/>
          </p:cNvSpPr>
          <p:nvPr/>
        </p:nvSpPr>
        <p:spPr>
          <a:xfrm>
            <a:off x="1819941" y="4445355"/>
            <a:ext cx="1031212" cy="216000"/>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defRPr/>
            </a:pPr>
            <a:r>
              <a:rPr lang="en-US" sz="900" b="1" dirty="0">
                <a:solidFill>
                  <a:schemeClr val="bg1"/>
                </a:solidFill>
                <a:latin typeface="Arial"/>
              </a:rPr>
              <a:t>15%</a:t>
            </a:r>
          </a:p>
        </p:txBody>
      </p:sp>
      <p:sp>
        <p:nvSpPr>
          <p:cNvPr id="353" name="Rectangle 99">
            <a:extLst>
              <a:ext uri="{FF2B5EF4-FFF2-40B4-BE49-F238E27FC236}">
                <a16:creationId xmlns:a16="http://schemas.microsoft.com/office/drawing/2014/main" id="{B8AAB2CE-D37B-894E-B004-7FDA994B5E3D}"/>
              </a:ext>
            </a:extLst>
          </p:cNvPr>
          <p:cNvSpPr>
            <a:spLocks/>
          </p:cNvSpPr>
          <p:nvPr/>
        </p:nvSpPr>
        <p:spPr>
          <a:xfrm>
            <a:off x="4561807" y="4813856"/>
            <a:ext cx="2202159"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68" name="Straight Connector 74">
            <a:extLst>
              <a:ext uri="{FF2B5EF4-FFF2-40B4-BE49-F238E27FC236}">
                <a16:creationId xmlns:a16="http://schemas.microsoft.com/office/drawing/2014/main" id="{DC01B8FE-1E94-564B-B5F7-50B06B023506}"/>
              </a:ext>
            </a:extLst>
          </p:cNvPr>
          <p:cNvCxnSpPr>
            <a:cxnSpLocks/>
          </p:cNvCxnSpPr>
          <p:nvPr/>
        </p:nvCxnSpPr>
        <p:spPr>
          <a:xfrm flipH="1">
            <a:off x="6474610" y="1714285"/>
            <a:ext cx="130170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9" name="Rectangle 10">
            <a:extLst>
              <a:ext uri="{FF2B5EF4-FFF2-40B4-BE49-F238E27FC236}">
                <a16:creationId xmlns:a16="http://schemas.microsoft.com/office/drawing/2014/main" id="{927EF8DD-9927-EA48-BEE8-24CBDB88AD3E}"/>
              </a:ext>
            </a:extLst>
          </p:cNvPr>
          <p:cNvSpPr txBox="1">
            <a:spLocks/>
          </p:cNvSpPr>
          <p:nvPr/>
        </p:nvSpPr>
        <p:spPr>
          <a:xfrm>
            <a:off x="6492127" y="1465638"/>
            <a:ext cx="626416"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2</a:t>
            </a:r>
          </a:p>
        </p:txBody>
      </p:sp>
      <p:sp>
        <p:nvSpPr>
          <p:cNvPr id="170" name="TextBox 169">
            <a:extLst>
              <a:ext uri="{FF2B5EF4-FFF2-40B4-BE49-F238E27FC236}">
                <a16:creationId xmlns:a16="http://schemas.microsoft.com/office/drawing/2014/main" id="{87B23D8C-E2D8-A642-8ACE-E928FE08724E}"/>
              </a:ext>
            </a:extLst>
          </p:cNvPr>
          <p:cNvSpPr txBox="1"/>
          <p:nvPr/>
        </p:nvSpPr>
        <p:spPr>
          <a:xfrm>
            <a:off x="11230515" y="5182617"/>
            <a:ext cx="56938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X MH</a:t>
            </a:r>
            <a:endParaRPr lang="x-none" sz="1200" dirty="0">
              <a:latin typeface="Arial" panose="020B0604020202020204" pitchFamily="34" charset="0"/>
              <a:cs typeface="Arial" panose="020B0604020202020204" pitchFamily="34" charset="0"/>
            </a:endParaRPr>
          </a:p>
        </p:txBody>
      </p:sp>
      <p:pic>
        <p:nvPicPr>
          <p:cNvPr id="172"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54810" y="2554823"/>
            <a:ext cx="187624" cy="187624"/>
          </a:xfrm>
          <a:prstGeom prst="rect">
            <a:avLst/>
          </a:prstGeom>
        </p:spPr>
      </p:pic>
      <p:sp>
        <p:nvSpPr>
          <p:cNvPr id="173" name="TextBox 172">
            <a:extLst>
              <a:ext uri="{FF2B5EF4-FFF2-40B4-BE49-F238E27FC236}">
                <a16:creationId xmlns:a16="http://schemas.microsoft.com/office/drawing/2014/main" id="{68F2FBC9-C2A2-A346-9569-81B6338FE598}"/>
              </a:ext>
            </a:extLst>
          </p:cNvPr>
          <p:cNvSpPr txBox="1"/>
          <p:nvPr/>
        </p:nvSpPr>
        <p:spPr>
          <a:xfrm>
            <a:off x="9948941" y="3433708"/>
            <a:ext cx="1351652"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Budget constraints</a:t>
            </a:r>
            <a:endParaRPr lang="x-none" sz="1100" dirty="0">
              <a:latin typeface="Arial" panose="020B0604020202020204" pitchFamily="34" charset="0"/>
              <a:cs typeface="Arial" panose="020B0604020202020204" pitchFamily="34" charset="0"/>
            </a:endParaRPr>
          </a:p>
        </p:txBody>
      </p:sp>
      <p:pic>
        <p:nvPicPr>
          <p:cNvPr id="174"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61663" y="3004595"/>
            <a:ext cx="187624" cy="187624"/>
          </a:xfrm>
          <a:prstGeom prst="rect">
            <a:avLst/>
          </a:prstGeom>
        </p:spPr>
      </p:pic>
      <p:pic>
        <p:nvPicPr>
          <p:cNvPr id="175"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61663" y="3487891"/>
            <a:ext cx="187624" cy="187624"/>
          </a:xfrm>
          <a:prstGeom prst="rect">
            <a:avLst/>
          </a:prstGeom>
        </p:spPr>
      </p:pic>
      <p:sp>
        <p:nvSpPr>
          <p:cNvPr id="176" name="TextBox 175">
            <a:extLst>
              <a:ext uri="{FF2B5EF4-FFF2-40B4-BE49-F238E27FC236}">
                <a16:creationId xmlns:a16="http://schemas.microsoft.com/office/drawing/2014/main" id="{7AEB6247-2D14-5049-9F62-DF45346419F6}"/>
              </a:ext>
            </a:extLst>
          </p:cNvPr>
          <p:cNvSpPr txBox="1"/>
          <p:nvPr/>
        </p:nvSpPr>
        <p:spPr>
          <a:xfrm>
            <a:off x="8232470" y="3030972"/>
            <a:ext cx="1428596" cy="646331"/>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 excluding salary </a:t>
            </a:r>
          </a:p>
          <a:p>
            <a:r>
              <a:rPr lang="en-US" sz="1200" dirty="0">
                <a:latin typeface="Arial" panose="020B0604020202020204" pitchFamily="34" charset="0"/>
                <a:cs typeface="Arial" panose="020B0604020202020204" pitchFamily="34" charset="0"/>
              </a:rPr>
              <a:t>harmonization </a:t>
            </a:r>
          </a:p>
          <a:p>
            <a:r>
              <a:rPr lang="en-US" sz="1200" dirty="0">
                <a:latin typeface="Arial" panose="020B0604020202020204" pitchFamily="34" charset="0"/>
                <a:cs typeface="Arial" panose="020B0604020202020204" pitchFamily="34" charset="0"/>
              </a:rPr>
              <a:t>budget</a:t>
            </a:r>
          </a:p>
        </p:txBody>
      </p:sp>
      <p:grpSp>
        <p:nvGrpSpPr>
          <p:cNvPr id="161" name="Группа 160">
            <a:extLst>
              <a:ext uri="{FF2B5EF4-FFF2-40B4-BE49-F238E27FC236}">
                <a16:creationId xmlns:a16="http://schemas.microsoft.com/office/drawing/2014/main" id="{CA79646E-9B4C-E041-9A75-9A3C1D57AA9B}"/>
              </a:ext>
            </a:extLst>
          </p:cNvPr>
          <p:cNvGrpSpPr/>
          <p:nvPr/>
        </p:nvGrpSpPr>
        <p:grpSpPr>
          <a:xfrm>
            <a:off x="5477184" y="839334"/>
            <a:ext cx="6399824" cy="503552"/>
            <a:chOff x="5406358" y="998167"/>
            <a:chExt cx="6399824" cy="503552"/>
          </a:xfrm>
        </p:grpSpPr>
        <p:sp>
          <p:nvSpPr>
            <p:cNvPr id="163" name="Rectangle 116">
              <a:extLst>
                <a:ext uri="{FF2B5EF4-FFF2-40B4-BE49-F238E27FC236}">
                  <a16:creationId xmlns:a16="http://schemas.microsoft.com/office/drawing/2014/main" id="{AB7C03BC-5F9D-1145-9BE1-20D0B8083C14}"/>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December 2022</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64" name="Rectangle 116">
              <a:extLst>
                <a:ext uri="{FF2B5EF4-FFF2-40B4-BE49-F238E27FC236}">
                  <a16:creationId xmlns:a16="http://schemas.microsoft.com/office/drawing/2014/main" id="{59B4AE41-6613-1A48-A849-81CC286B6D28}"/>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71" name="Rectangle 116">
              <a:extLst>
                <a:ext uri="{FF2B5EF4-FFF2-40B4-BE49-F238E27FC236}">
                  <a16:creationId xmlns:a16="http://schemas.microsoft.com/office/drawing/2014/main" id="{EF0603B5-20ED-774E-9C23-BA13EA861C24}"/>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Aug 2020</a:t>
              </a:r>
            </a:p>
          </p:txBody>
        </p:sp>
        <p:sp>
          <p:nvSpPr>
            <p:cNvPr id="177" name="Rectangle 116">
              <a:extLst>
                <a:ext uri="{FF2B5EF4-FFF2-40B4-BE49-F238E27FC236}">
                  <a16:creationId xmlns:a16="http://schemas.microsoft.com/office/drawing/2014/main" id="{AE5938E1-F5D9-2C4B-8C12-4B9D3318CDA6}"/>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78" name="Rectangle 116">
              <a:extLst>
                <a:ext uri="{FF2B5EF4-FFF2-40B4-BE49-F238E27FC236}">
                  <a16:creationId xmlns:a16="http://schemas.microsoft.com/office/drawing/2014/main" id="{09A41521-A7FA-7042-AE43-F22681BAF036}"/>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5%</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80" name="Rectangle 116">
              <a:extLst>
                <a:ext uri="{FF2B5EF4-FFF2-40B4-BE49-F238E27FC236}">
                  <a16:creationId xmlns:a16="http://schemas.microsoft.com/office/drawing/2014/main" id="{6C4574A9-B1CA-8141-B841-03DFFDC4D602}"/>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cxnSp>
        <p:nvCxnSpPr>
          <p:cNvPr id="181" name="Straight Connector 95">
            <a:extLst>
              <a:ext uri="{FF2B5EF4-FFF2-40B4-BE49-F238E27FC236}">
                <a16:creationId xmlns:a16="http://schemas.microsoft.com/office/drawing/2014/main" id="{6D73DB31-93C6-A843-BC0A-5224DCA822DF}"/>
              </a:ext>
            </a:extLst>
          </p:cNvPr>
          <p:cNvCxnSpPr/>
          <p:nvPr/>
        </p:nvCxnSpPr>
        <p:spPr>
          <a:xfrm>
            <a:off x="6472362" y="2042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2" name="Straight Connector 88">
            <a:extLst>
              <a:ext uri="{FF2B5EF4-FFF2-40B4-BE49-F238E27FC236}">
                <a16:creationId xmlns:a16="http://schemas.microsoft.com/office/drawing/2014/main" id="{0E382F5A-8C84-C249-ACDB-005D4FECE4F2}"/>
              </a:ext>
            </a:extLst>
          </p:cNvPr>
          <p:cNvCxnSpPr/>
          <p:nvPr/>
        </p:nvCxnSpPr>
        <p:spPr>
          <a:xfrm>
            <a:off x="6742490" y="2037402"/>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3" name="Straight Connector 89">
            <a:extLst>
              <a:ext uri="{FF2B5EF4-FFF2-40B4-BE49-F238E27FC236}">
                <a16:creationId xmlns:a16="http://schemas.microsoft.com/office/drawing/2014/main" id="{32D38213-D94B-394A-93AD-D3E2CE0F681A}"/>
              </a:ext>
            </a:extLst>
          </p:cNvPr>
          <p:cNvCxnSpPr>
            <a:cxnSpLocks/>
          </p:cNvCxnSpPr>
          <p:nvPr/>
        </p:nvCxnSpPr>
        <p:spPr>
          <a:xfrm>
            <a:off x="7012355" y="2037402"/>
            <a:ext cx="0" cy="301992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4" name="Straight Connector 90">
            <a:extLst>
              <a:ext uri="{FF2B5EF4-FFF2-40B4-BE49-F238E27FC236}">
                <a16:creationId xmlns:a16="http://schemas.microsoft.com/office/drawing/2014/main" id="{3F2946D4-8B1A-E249-ABC1-AA2FB18FDBA2}"/>
              </a:ext>
            </a:extLst>
          </p:cNvPr>
          <p:cNvCxnSpPr>
            <a:cxnSpLocks/>
          </p:cNvCxnSpPr>
          <p:nvPr/>
        </p:nvCxnSpPr>
        <p:spPr>
          <a:xfrm>
            <a:off x="7282219" y="2037402"/>
            <a:ext cx="0" cy="302845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5" name="Straight Connector 91">
            <a:extLst>
              <a:ext uri="{FF2B5EF4-FFF2-40B4-BE49-F238E27FC236}">
                <a16:creationId xmlns:a16="http://schemas.microsoft.com/office/drawing/2014/main" id="{0126210B-3AB3-FB4F-9472-B625D2EA6DB6}"/>
              </a:ext>
            </a:extLst>
          </p:cNvPr>
          <p:cNvCxnSpPr>
            <a:cxnSpLocks/>
          </p:cNvCxnSpPr>
          <p:nvPr/>
        </p:nvCxnSpPr>
        <p:spPr>
          <a:xfrm>
            <a:off x="7552084" y="2037402"/>
            <a:ext cx="0" cy="295179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8" name="Rectangle 10">
            <a:extLst>
              <a:ext uri="{FF2B5EF4-FFF2-40B4-BE49-F238E27FC236}">
                <a16:creationId xmlns:a16="http://schemas.microsoft.com/office/drawing/2014/main" id="{4F67D172-41F3-1E45-927F-D48FF075EC2D}"/>
              </a:ext>
            </a:extLst>
          </p:cNvPr>
          <p:cNvSpPr txBox="1">
            <a:spLocks/>
          </p:cNvSpPr>
          <p:nvPr/>
        </p:nvSpPr>
        <p:spPr>
          <a:xfrm>
            <a:off x="6750513" y="1780346"/>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189" name="Straight Connector 48">
            <a:extLst>
              <a:ext uri="{FF2B5EF4-FFF2-40B4-BE49-F238E27FC236}">
                <a16:creationId xmlns:a16="http://schemas.microsoft.com/office/drawing/2014/main" id="{5A3224F3-2F90-BD40-907D-7582067A0E18}"/>
              </a:ext>
            </a:extLst>
          </p:cNvPr>
          <p:cNvCxnSpPr>
            <a:cxnSpLocks/>
          </p:cNvCxnSpPr>
          <p:nvPr/>
        </p:nvCxnSpPr>
        <p:spPr>
          <a:xfrm flipH="1">
            <a:off x="6750513" y="2014631"/>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id="{74949048-1621-EC48-A621-5D86E026F952}"/>
              </a:ext>
            </a:extLst>
          </p:cNvPr>
          <p:cNvSpPr txBox="1">
            <a:spLocks/>
          </p:cNvSpPr>
          <p:nvPr/>
        </p:nvSpPr>
        <p:spPr>
          <a:xfrm>
            <a:off x="7020378" y="1780346"/>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191" name="Straight Connector 51">
            <a:extLst>
              <a:ext uri="{FF2B5EF4-FFF2-40B4-BE49-F238E27FC236}">
                <a16:creationId xmlns:a16="http://schemas.microsoft.com/office/drawing/2014/main" id="{A4BD2E30-E66E-C741-B6F0-51D17F27CA65}"/>
              </a:ext>
            </a:extLst>
          </p:cNvPr>
          <p:cNvCxnSpPr>
            <a:cxnSpLocks/>
          </p:cNvCxnSpPr>
          <p:nvPr/>
        </p:nvCxnSpPr>
        <p:spPr>
          <a:xfrm flipH="1">
            <a:off x="7020378" y="2014631"/>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2" name="Rectangle 10">
            <a:extLst>
              <a:ext uri="{FF2B5EF4-FFF2-40B4-BE49-F238E27FC236}">
                <a16:creationId xmlns:a16="http://schemas.microsoft.com/office/drawing/2014/main" id="{9B5C33ED-338B-7041-818C-F91570624CD3}"/>
              </a:ext>
            </a:extLst>
          </p:cNvPr>
          <p:cNvSpPr txBox="1">
            <a:spLocks/>
          </p:cNvSpPr>
          <p:nvPr/>
        </p:nvSpPr>
        <p:spPr>
          <a:xfrm>
            <a:off x="7290243" y="1780346"/>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93" name="Straight Connector 54">
            <a:extLst>
              <a:ext uri="{FF2B5EF4-FFF2-40B4-BE49-F238E27FC236}">
                <a16:creationId xmlns:a16="http://schemas.microsoft.com/office/drawing/2014/main" id="{F9D15F15-1796-144A-9385-ADF7D5118EDC}"/>
              </a:ext>
            </a:extLst>
          </p:cNvPr>
          <p:cNvCxnSpPr>
            <a:cxnSpLocks/>
          </p:cNvCxnSpPr>
          <p:nvPr/>
        </p:nvCxnSpPr>
        <p:spPr>
          <a:xfrm flipH="1">
            <a:off x="7290243" y="2014631"/>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4" name="Rectangle 10">
            <a:extLst>
              <a:ext uri="{FF2B5EF4-FFF2-40B4-BE49-F238E27FC236}">
                <a16:creationId xmlns:a16="http://schemas.microsoft.com/office/drawing/2014/main" id="{1CB35997-6B99-E740-BCD3-B577BC6937D4}"/>
              </a:ext>
            </a:extLst>
          </p:cNvPr>
          <p:cNvSpPr txBox="1">
            <a:spLocks/>
          </p:cNvSpPr>
          <p:nvPr/>
        </p:nvSpPr>
        <p:spPr>
          <a:xfrm>
            <a:off x="7560108" y="1780346"/>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95" name="Straight Connector 57">
            <a:extLst>
              <a:ext uri="{FF2B5EF4-FFF2-40B4-BE49-F238E27FC236}">
                <a16:creationId xmlns:a16="http://schemas.microsoft.com/office/drawing/2014/main" id="{B4632D93-33E9-9D41-8651-2F0B6BC77D6B}"/>
              </a:ext>
            </a:extLst>
          </p:cNvPr>
          <p:cNvCxnSpPr>
            <a:cxnSpLocks/>
          </p:cNvCxnSpPr>
          <p:nvPr/>
        </p:nvCxnSpPr>
        <p:spPr>
          <a:xfrm flipH="1">
            <a:off x="7560108" y="2014631"/>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045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28D29DE1-2C4C-4B1F-A21E-7D541DC6E527}"/>
              </a:ext>
            </a:extLst>
          </p:cNvPr>
          <p:cNvSpPr txBox="1">
            <a:spLocks/>
          </p:cNvSpPr>
          <p:nvPr/>
        </p:nvSpPr>
        <p:spPr bwMode="gray">
          <a:xfrm>
            <a:off x="540070" y="107537"/>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kumimoji="0" lang="en-US" sz="2800" b="0" i="0" u="none" strike="noStrike" kern="1200" cap="all" spc="0" normalizeH="0" baseline="0" noProof="0" dirty="0" err="1">
                <a:ln>
                  <a:noFill/>
                </a:ln>
                <a:effectLst/>
                <a:uLnTx/>
                <a:uFillTx/>
                <a:ea typeface="+mj-ea"/>
                <a:cs typeface="+mj-cs"/>
              </a:rPr>
              <a:t>U_Transform</a:t>
            </a:r>
            <a:r>
              <a:rPr lang="en-US" sz="2800" dirty="0"/>
              <a:t> Initiative</a:t>
            </a:r>
            <a:endParaRPr kumimoji="0" lang="en-US" sz="2000" b="0" i="0" u="none" strike="noStrike" kern="1200" cap="all" spc="0" normalizeH="0" baseline="0" noProof="0" dirty="0">
              <a:ln>
                <a:noFill/>
              </a:ln>
              <a:effectLst/>
              <a:uLnTx/>
              <a:uFillTx/>
              <a:ea typeface="+mj-ea"/>
              <a:cs typeface="+mj-cs"/>
            </a:endParaRPr>
          </a:p>
        </p:txBody>
      </p:sp>
      <p:graphicFrame>
        <p:nvGraphicFramePr>
          <p:cNvPr id="38" name="Inhaltsplatzhalter 7">
            <a:extLst>
              <a:ext uri="{FF2B5EF4-FFF2-40B4-BE49-F238E27FC236}">
                <a16:creationId xmlns:a16="http://schemas.microsoft.com/office/drawing/2014/main" id="{E82B92F4-3F9F-4B72-8F94-A0D631171498}"/>
              </a:ext>
            </a:extLst>
          </p:cNvPr>
          <p:cNvGraphicFramePr>
            <a:graphicFrameLocks/>
          </p:cNvGraphicFramePr>
          <p:nvPr/>
        </p:nvGraphicFramePr>
        <p:xfrm>
          <a:off x="552564" y="595042"/>
          <a:ext cx="11111030" cy="2088000"/>
        </p:xfrm>
        <a:graphic>
          <a:graphicData uri="http://schemas.openxmlformats.org/drawingml/2006/table">
            <a:tbl>
              <a:tblPr firstRow="1" bandRow="1"/>
              <a:tblGrid>
                <a:gridCol w="2131642">
                  <a:extLst>
                    <a:ext uri="{9D8B030D-6E8A-4147-A177-3AD203B41FA5}">
                      <a16:colId xmlns:a16="http://schemas.microsoft.com/office/drawing/2014/main" val="263815621"/>
                    </a:ext>
                  </a:extLst>
                </a:gridCol>
                <a:gridCol w="1917291">
                  <a:extLst>
                    <a:ext uri="{9D8B030D-6E8A-4147-A177-3AD203B41FA5}">
                      <a16:colId xmlns:a16="http://schemas.microsoft.com/office/drawing/2014/main" val="2456201543"/>
                    </a:ext>
                  </a:extLst>
                </a:gridCol>
                <a:gridCol w="3358421">
                  <a:extLst>
                    <a:ext uri="{9D8B030D-6E8A-4147-A177-3AD203B41FA5}">
                      <a16:colId xmlns:a16="http://schemas.microsoft.com/office/drawing/2014/main" val="2699711611"/>
                    </a:ext>
                  </a:extLst>
                </a:gridCol>
                <a:gridCol w="3703676">
                  <a:extLst>
                    <a:ext uri="{9D8B030D-6E8A-4147-A177-3AD203B41FA5}">
                      <a16:colId xmlns:a16="http://schemas.microsoft.com/office/drawing/2014/main" val="1330925591"/>
                    </a:ext>
                  </a:extLst>
                </a:gridCol>
              </a:tblGrid>
              <a:tr h="360000">
                <a:tc gridSpan="2">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ject nam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hMerge="1">
                  <a:txBody>
                    <a:bodyPr/>
                    <a:lstStyle/>
                    <a:p>
                      <a:endParaRPr lang="de-DE"/>
                    </a:p>
                  </a:txBody>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gram Purpos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Main Deliverables/ KPIs</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246913833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 Chief</a:t>
                      </a:r>
                      <a:r>
                        <a:rPr lang="en-US" sz="1400" b="1" kern="1200" baseline="0" noProof="0" dirty="0">
                          <a:solidFill>
                            <a:schemeClr val="tx1"/>
                          </a:solidFill>
                          <a:latin typeface="+mj-lt"/>
                          <a:ea typeface="+mn-ea"/>
                          <a:cs typeface="+mn-cs"/>
                        </a:rPr>
                        <a:t> Custome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Executive</a:t>
                      </a:r>
                      <a:r>
                        <a:rPr lang="en-US" sz="1400" b="0" kern="1200" baseline="0" noProof="0" dirty="0">
                          <a:solidFill>
                            <a:schemeClr val="tx1"/>
                          </a:solidFill>
                          <a:latin typeface="+mn-lt"/>
                          <a:ea typeface="+mn-ea"/>
                          <a:cs typeface="+mn-cs"/>
                        </a:rPr>
                        <a:t> Committee</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defTabSz="914491" rtl="0" eaLnBrk="1" latinLnBrk="0" hangingPunct="1">
                        <a:lnSpc>
                          <a:spcPct val="90000"/>
                        </a:lnSpc>
                        <a:buFont typeface="Arial" panose="020B0604020202020204" pitchFamily="34" charset="0"/>
                        <a:buChar char="•"/>
                      </a:pPr>
                      <a:endParaRPr lang="en-US" sz="1200" b="0" i="0" u="none" strike="noStrike" kern="1200" baseline="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Reposition </a:t>
                      </a:r>
                      <a:r>
                        <a:rPr lang="en-US" sz="1200" b="0" i="0" u="none" strike="noStrike" kern="1200" baseline="0" dirty="0" err="1">
                          <a:solidFill>
                            <a:schemeClr val="dk1"/>
                          </a:solidFill>
                          <a:effectLst/>
                          <a:latin typeface="Calibri Light"/>
                          <a:ea typeface="+mn-ea"/>
                          <a:cs typeface="+mn-cs"/>
                        </a:rPr>
                        <a:t>UniBank</a:t>
                      </a:r>
                      <a:r>
                        <a:rPr lang="en-US" sz="1200" b="0" i="0" u="none" strike="noStrike" kern="1200" baseline="0" dirty="0">
                          <a:solidFill>
                            <a:schemeClr val="dk1"/>
                          </a:solidFill>
                          <a:effectLst/>
                          <a:latin typeface="Calibri Light"/>
                          <a:ea typeface="+mn-ea"/>
                          <a:cs typeface="+mn-cs"/>
                        </a:rPr>
                        <a:t> by changing  products UVPs and enhancing Brand Communication </a:t>
                      </a:r>
                    </a:p>
                    <a:p>
                      <a:pPr marL="0" indent="0" algn="l" defTabSz="914491" rtl="0" eaLnBrk="1" latinLnBrk="0" hangingPunct="1">
                        <a:lnSpc>
                          <a:spcPct val="90000"/>
                        </a:lnSpc>
                        <a:buFont typeface="Arial" panose="020B0604020202020204" pitchFamily="34" charset="0"/>
                        <a:buNone/>
                      </a:pPr>
                      <a:endParaRPr lang="en-US" sz="1200" b="0" i="0" u="none" strike="noStrike" kern="1200" baseline="0" dirty="0">
                        <a:solidFill>
                          <a:schemeClr val="dk1"/>
                        </a:solidFill>
                        <a:effectLst/>
                        <a:latin typeface="Calibri Light"/>
                        <a:ea typeface="+mn-ea"/>
                        <a:cs typeface="+mn-cs"/>
                      </a:endParaRPr>
                    </a:p>
                    <a:p>
                      <a:pPr marL="0" indent="0" algn="l" defTabSz="914491" rtl="0" eaLnBrk="1" latinLnBrk="0" hangingPunct="1">
                        <a:lnSpc>
                          <a:spcPct val="90000"/>
                        </a:lnSpc>
                        <a:buFont typeface="Arial" panose="020B0604020202020204" pitchFamily="34" charset="0"/>
                        <a:buNone/>
                      </a:pPr>
                      <a:endParaRPr lang="en-US" sz="1200" b="0" i="0" u="none" strike="noStrike" kern="1200" baseline="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mj-lt"/>
                          <a:ea typeface="+mn-ea"/>
                          <a:cs typeface="+mn-cs"/>
                        </a:rPr>
                        <a:t>Revamp </a:t>
                      </a:r>
                      <a:r>
                        <a:rPr lang="en-US" sz="1200" b="0" i="0" u="none" strike="noStrike" kern="1200" baseline="0" dirty="0" err="1">
                          <a:solidFill>
                            <a:schemeClr val="dk1"/>
                          </a:solidFill>
                          <a:effectLst/>
                          <a:latin typeface="+mj-lt"/>
                          <a:ea typeface="+mn-ea"/>
                          <a:cs typeface="+mn-cs"/>
                        </a:rPr>
                        <a:t>Unibank</a:t>
                      </a:r>
                      <a:r>
                        <a:rPr lang="en-US" sz="1200" b="0" i="0" u="none" strike="noStrike" kern="1200" baseline="0" dirty="0">
                          <a:solidFill>
                            <a:schemeClr val="dk1"/>
                          </a:solidFill>
                          <a:effectLst/>
                          <a:latin typeface="+mj-lt"/>
                          <a:ea typeface="+mn-ea"/>
                          <a:cs typeface="+mn-cs"/>
                        </a:rPr>
                        <a:t> Corporate Culture </a:t>
                      </a:r>
                    </a:p>
                    <a:p>
                      <a:pPr marL="0" indent="0" algn="l" defTabSz="914491" rtl="0" eaLnBrk="1" latinLnBrk="0" hangingPunct="1">
                        <a:lnSpc>
                          <a:spcPct val="90000"/>
                        </a:lnSpc>
                        <a:buFont typeface="Arial" panose="020B0604020202020204" pitchFamily="34" charset="0"/>
                        <a:buNone/>
                      </a:pPr>
                      <a:endParaRPr lang="en-US" sz="1200" b="0" i="0" u="none" strike="noStrike" kern="1200" baseline="0" dirty="0">
                        <a:solidFill>
                          <a:schemeClr val="dk1"/>
                        </a:solidFill>
                        <a:effectLst/>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defTabSz="914491" rtl="0" eaLnBrk="1" latinLnBrk="0" hangingPunct="1">
                        <a:lnSpc>
                          <a:spcPct val="90000"/>
                        </a:lnSpc>
                        <a:buFont typeface="Arial" panose="020B0604020202020204" pitchFamily="34" charset="0"/>
                        <a:buChar char="•"/>
                      </a:pPr>
                      <a:endParaRPr lang="en-US" sz="1200" b="0" i="0" u="none" strike="noStrike" kern="120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Increased Brand Perception &amp;</a:t>
                      </a:r>
                      <a:r>
                        <a:rPr lang="en-US" sz="1200" b="0" i="0" u="none" strike="noStrike" kern="1200" baseline="0" dirty="0">
                          <a:solidFill>
                            <a:schemeClr val="dk1"/>
                          </a:solidFill>
                          <a:effectLst/>
                          <a:latin typeface="Calibri Light"/>
                          <a:ea typeface="+mn-ea"/>
                          <a:cs typeface="+mn-cs"/>
                        </a:rPr>
                        <a:t> </a:t>
                      </a:r>
                      <a:r>
                        <a:rPr lang="en-US" sz="1200" b="0" i="0" u="none" strike="noStrike" kern="1200" dirty="0">
                          <a:solidFill>
                            <a:schemeClr val="dk1"/>
                          </a:solidFill>
                          <a:effectLst/>
                          <a:latin typeface="Calibri Light"/>
                          <a:ea typeface="+mn-ea"/>
                          <a:cs typeface="+mn-cs"/>
                        </a:rPr>
                        <a:t>NPS</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Increased</a:t>
                      </a:r>
                      <a:r>
                        <a:rPr lang="en-US" sz="1200" b="0" i="0" u="none" strike="noStrike" kern="1200" baseline="0" dirty="0">
                          <a:solidFill>
                            <a:schemeClr val="dk1"/>
                          </a:solidFill>
                          <a:effectLst/>
                          <a:latin typeface="Calibri Light"/>
                          <a:ea typeface="+mn-ea"/>
                          <a:cs typeface="+mn-cs"/>
                        </a:rPr>
                        <a:t> Market share for the selected products/segments</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Increased Revenue per client/ ticket ratios</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Higher Employee Engagement in touch points</a:t>
                      </a: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Decreased turnover of </a:t>
                      </a:r>
                      <a:r>
                        <a:rPr lang="en-US" sz="1200" b="0" i="0" u="none" strike="noStrike" kern="1200" baseline="0" dirty="0" err="1">
                          <a:solidFill>
                            <a:schemeClr val="dk1"/>
                          </a:solidFill>
                          <a:effectLst/>
                          <a:latin typeface="Calibri Light"/>
                          <a:ea typeface="+mn-ea"/>
                          <a:cs typeface="+mn-cs"/>
                        </a:rPr>
                        <a:t>HiPos</a:t>
                      </a:r>
                      <a:r>
                        <a:rPr lang="en-US" sz="1200" b="0" i="0" u="none" strike="noStrike" kern="1200" baseline="0" dirty="0">
                          <a:solidFill>
                            <a:schemeClr val="dk1"/>
                          </a:solidFill>
                          <a:effectLst/>
                          <a:latin typeface="Calibri Light"/>
                          <a:ea typeface="+mn-ea"/>
                          <a:cs typeface="+mn-cs"/>
                        </a:rPr>
                        <a:t> &amp; </a:t>
                      </a:r>
                      <a:r>
                        <a:rPr lang="en-US" sz="1200" b="0" i="0" u="none" strike="noStrike" kern="1200" baseline="0">
                          <a:solidFill>
                            <a:schemeClr val="dk1"/>
                          </a:solidFill>
                          <a:effectLst/>
                          <a:latin typeface="Calibri Light"/>
                          <a:ea typeface="+mn-ea"/>
                          <a:cs typeface="+mn-cs"/>
                        </a:rPr>
                        <a:t>key contributors </a:t>
                      </a:r>
                      <a:endParaRPr lang="en-US" sz="1200" b="0" i="0" u="none" strike="noStrike" kern="1200" baseline="0" dirty="0">
                        <a:solidFill>
                          <a:schemeClr val="dk1"/>
                        </a:solidFill>
                        <a:effectLst/>
                        <a:latin typeface="Calibri Ligh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61786"/>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a:t>
                      </a:r>
                      <a:r>
                        <a:rPr lang="en-US" sz="1400" b="1" kern="1200" baseline="0" noProof="0" dirty="0">
                          <a:solidFill>
                            <a:schemeClr val="tx1"/>
                          </a:solidFill>
                          <a:latin typeface="+mj-lt"/>
                          <a:ea typeface="+mn-ea"/>
                          <a:cs typeface="+mn-cs"/>
                        </a:rPr>
                        <a:t> </a:t>
                      </a:r>
                      <a:r>
                        <a:rPr lang="en-US" sz="1400" b="1" kern="1200" noProof="0" dirty="0">
                          <a:solidFill>
                            <a:schemeClr val="tx1"/>
                          </a:solidFill>
                          <a:latin typeface="+mj-lt"/>
                          <a:ea typeface="+mn-ea"/>
                          <a:cs typeface="+mn-cs"/>
                        </a:rPr>
                        <a:t>Spons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Faig</a:t>
                      </a:r>
                      <a:r>
                        <a:rPr lang="en-US" sz="1400" b="0" kern="1200" baseline="0" noProof="0" dirty="0">
                          <a:solidFill>
                            <a:schemeClr val="tx1"/>
                          </a:solidFill>
                          <a:latin typeface="+mn-lt"/>
                          <a:ea typeface="+mn-ea"/>
                          <a:cs typeface="+mn-cs"/>
                        </a:rPr>
                        <a:t> Huseynov</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gram Manage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Heybat Gadirov</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918820192"/>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Main</a:t>
                      </a:r>
                      <a:r>
                        <a:rPr lang="en-US" sz="1400" b="1" kern="1200" baseline="0" noProof="0" dirty="0">
                          <a:solidFill>
                            <a:schemeClr val="tx1"/>
                          </a:solidFill>
                          <a:latin typeface="+mj-lt"/>
                          <a:ea typeface="+mn-ea"/>
                          <a:cs typeface="+mn-cs"/>
                        </a:rPr>
                        <a:t> Stakeholders</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Retail,</a:t>
                      </a:r>
                      <a:r>
                        <a:rPr lang="en-US" sz="1400" b="0" kern="1200" baseline="0" noProof="0" dirty="0">
                          <a:solidFill>
                            <a:schemeClr val="tx1"/>
                          </a:solidFill>
                          <a:latin typeface="+mn-lt"/>
                          <a:ea typeface="+mn-ea"/>
                          <a:cs typeface="+mn-cs"/>
                        </a:rPr>
                        <a:t> Digital, IT, HR</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Selected</a:t>
                      </a:r>
                      <a:r>
                        <a:rPr lang="en-US" sz="1400" b="1" kern="1200" baseline="0" noProof="0" dirty="0">
                          <a:solidFill>
                            <a:schemeClr val="tx1"/>
                          </a:solidFill>
                          <a:latin typeface="+mj-lt"/>
                          <a:ea typeface="+mn-ea"/>
                          <a:cs typeface="+mn-cs"/>
                        </a:rPr>
                        <a:t> Vendo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Multiple-Vend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Start Date</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August’2020</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617183572"/>
                  </a:ext>
                </a:extLst>
              </a:tr>
            </a:tbl>
          </a:graphicData>
        </a:graphic>
      </p:graphicFrame>
      <p:graphicFrame>
        <p:nvGraphicFramePr>
          <p:cNvPr id="5" name="Table 4"/>
          <p:cNvGraphicFramePr>
            <a:graphicFrameLocks noGrp="1"/>
          </p:cNvGraphicFramePr>
          <p:nvPr/>
        </p:nvGraphicFramePr>
        <p:xfrm>
          <a:off x="540070" y="5421719"/>
          <a:ext cx="11111046" cy="1099534"/>
        </p:xfrm>
        <a:graphic>
          <a:graphicData uri="http://schemas.openxmlformats.org/drawingml/2006/table">
            <a:tbl>
              <a:tblPr firstRow="1" bandRow="1"/>
              <a:tblGrid>
                <a:gridCol w="3088033">
                  <a:extLst>
                    <a:ext uri="{9D8B030D-6E8A-4147-A177-3AD203B41FA5}">
                      <a16:colId xmlns:a16="http://schemas.microsoft.com/office/drawing/2014/main" val="20000"/>
                    </a:ext>
                  </a:extLst>
                </a:gridCol>
                <a:gridCol w="4581832">
                  <a:extLst>
                    <a:ext uri="{9D8B030D-6E8A-4147-A177-3AD203B41FA5}">
                      <a16:colId xmlns:a16="http://schemas.microsoft.com/office/drawing/2014/main" val="20001"/>
                    </a:ext>
                  </a:extLst>
                </a:gridCol>
                <a:gridCol w="3441181">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Budget:</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Risk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marR="0" lvl="0" indent="0" algn="l" defTabSz="914400" rtl="0" eaLnBrk="1" fontAlgn="auto" latinLnBrk="0" hangingPunct="1">
                        <a:lnSpc>
                          <a:spcPct val="90000"/>
                        </a:lnSpc>
                        <a:spcBef>
                          <a:spcPts val="0"/>
                        </a:spcBef>
                        <a:spcAft>
                          <a:spcPts val="1000"/>
                        </a:spcAft>
                        <a:buClrTx/>
                        <a:buSzTx/>
                        <a:buFontTx/>
                        <a:buNone/>
                        <a:tabLst/>
                        <a:defRPr/>
                      </a:pPr>
                      <a:r>
                        <a:rPr lang="en-US" sz="1800" b="0" dirty="0">
                          <a:solidFill>
                            <a:schemeClr val="bg1"/>
                          </a:solidFill>
                          <a:latin typeface="+mj-lt"/>
                        </a:rPr>
                        <a:t>Dependencie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739534">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Total Budget:</a:t>
                      </a:r>
                      <a:r>
                        <a:rPr lang="en-US" sz="1200" baseline="0" dirty="0">
                          <a:latin typeface="+mj-lt"/>
                        </a:rPr>
                        <a:t> TBD</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indent="0" algn="l" defTabSz="914400" rtl="0" eaLnBrk="1" fontAlgn="auto" latinLnBrk="0" hangingPunct="1">
                        <a:lnSpc>
                          <a:spcPct val="90000"/>
                        </a:lnSpc>
                        <a:spcBef>
                          <a:spcPts val="0"/>
                        </a:spcBef>
                        <a:spcAft>
                          <a:spcPts val="1000"/>
                        </a:spcAft>
                        <a:buClrTx/>
                        <a:buSzTx/>
                        <a:buFont typeface="Arial" panose="020B0604020202020204" pitchFamily="34" charset="0"/>
                        <a:buNone/>
                        <a:tabLst/>
                        <a:defRPr/>
                      </a:pPr>
                      <a:r>
                        <a:rPr lang="en-US" sz="1200" kern="1200" baseline="0" dirty="0">
                          <a:solidFill>
                            <a:schemeClr val="dk1"/>
                          </a:solidFill>
                          <a:latin typeface="Calibri Light"/>
                          <a:ea typeface="+mn-ea"/>
                          <a:cs typeface="+mn-cs"/>
                        </a:rPr>
                        <a:t>Budget constraints (high)</a:t>
                      </a:r>
                    </a:p>
                    <a:p>
                      <a:pPr marL="0" marR="0" indent="0" algn="l" defTabSz="914400" rtl="0" eaLnBrk="1" fontAlgn="auto" latinLnBrk="0" hangingPunct="1">
                        <a:lnSpc>
                          <a:spcPct val="90000"/>
                        </a:lnSpc>
                        <a:spcBef>
                          <a:spcPts val="0"/>
                        </a:spcBef>
                        <a:spcAft>
                          <a:spcPts val="1000"/>
                        </a:spcAft>
                        <a:buClrTx/>
                        <a:buSzTx/>
                        <a:buFont typeface="Arial" panose="020B0604020202020204" pitchFamily="34" charset="0"/>
                        <a:buNone/>
                        <a:tabLst/>
                        <a:defRPr/>
                      </a:pPr>
                      <a:r>
                        <a:rPr lang="en-US" sz="1200" kern="1200" baseline="0" dirty="0">
                          <a:solidFill>
                            <a:schemeClr val="dk1"/>
                          </a:solidFill>
                          <a:latin typeface="Calibri Light"/>
                          <a:ea typeface="+mn-ea"/>
                          <a:cs typeface="+mn-cs"/>
                        </a:rPr>
                        <a:t>Unpredictable external market conditions</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Cooperation and synergy</a:t>
                      </a:r>
                      <a:r>
                        <a:rPr lang="en-US" sz="1200" baseline="0" dirty="0">
                          <a:latin typeface="+mj-lt"/>
                        </a:rPr>
                        <a:t> between Retail, Digital and IT are success critical for the project</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78" name="Gruppieren 30">
            <a:extLst>
              <a:ext uri="{FF2B5EF4-FFF2-40B4-BE49-F238E27FC236}">
                <a16:creationId xmlns:a16="http://schemas.microsoft.com/office/drawing/2014/main" id="{A4AD4FAB-FCC8-4F7D-835B-55A25C89CC75}"/>
              </a:ext>
            </a:extLst>
          </p:cNvPr>
          <p:cNvGrpSpPr>
            <a:grpSpLocks noChangeAspect="1"/>
          </p:cNvGrpSpPr>
          <p:nvPr/>
        </p:nvGrpSpPr>
        <p:grpSpPr bwMode="gray">
          <a:xfrm>
            <a:off x="540070" y="3259487"/>
            <a:ext cx="1092494" cy="1655926"/>
            <a:chOff x="455541" y="2960951"/>
            <a:chExt cx="1092494" cy="1655926"/>
          </a:xfrm>
        </p:grpSpPr>
        <p:sp>
          <p:nvSpPr>
            <p:cNvPr id="79" name="Rechteck 10">
              <a:extLst>
                <a:ext uri="{FF2B5EF4-FFF2-40B4-BE49-F238E27FC236}">
                  <a16:creationId xmlns:a16="http://schemas.microsoft.com/office/drawing/2014/main" id="{4DA48D98-D2A9-4E83-AE37-8B2A7281B75E}"/>
                </a:ext>
              </a:extLst>
            </p:cNvPr>
            <p:cNvSpPr/>
            <p:nvPr/>
          </p:nvSpPr>
          <p:spPr bwMode="gray">
            <a:xfrm>
              <a:off x="468035" y="3925031"/>
              <a:ext cx="1080000" cy="540000"/>
            </a:xfrm>
            <a:prstGeom prst="rect">
              <a:avLst/>
            </a:prstGeom>
            <a:noFill/>
            <a:ln w="25400" cap="flat" cmpd="sng" algn="ctr">
              <a:noFill/>
              <a:prstDash val="solid"/>
            </a:ln>
            <a:effectLst/>
          </p:spPr>
          <p:txBody>
            <a:bodyPr lIns="0" tIns="0" rIns="0" bIns="0" spcCol="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BBB59">
                      <a:lumMod val="50000"/>
                    </a:srgbClr>
                  </a:solidFill>
                  <a:effectLst/>
                  <a:uLnTx/>
                  <a:uFillTx/>
                  <a:latin typeface="Bebas Neue" panose="020B0506020202020201" pitchFamily="34" charset="0"/>
                  <a:ea typeface="+mn-ea"/>
                  <a:cs typeface="+mn-cs"/>
                </a:rPr>
                <a:t>Tentative Scop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9BBB59">
                      <a:lumMod val="50000"/>
                    </a:srgbClr>
                  </a:solidFill>
                  <a:effectLst/>
                  <a:uLnTx/>
                  <a:uFillTx/>
                  <a:latin typeface="Bebas Neue" panose="020B0506020202020201" pitchFamily="34" charset="0"/>
                  <a:ea typeface="+mn-ea"/>
                  <a:cs typeface="+mn-cs"/>
                </a:rPr>
                <a:t>Plan </a:t>
              </a:r>
              <a:endParaRPr kumimoji="0" lang="en-US" sz="1400" b="0" i="0" u="none" strike="noStrike" kern="0" cap="none" spc="0" normalizeH="0" baseline="0" noProof="0" dirty="0">
                <a:ln>
                  <a:noFill/>
                </a:ln>
                <a:solidFill>
                  <a:srgbClr val="9BBB59">
                    <a:lumMod val="50000"/>
                  </a:srgbClr>
                </a:solidFill>
                <a:effectLst/>
                <a:uLnTx/>
                <a:uFillTx/>
                <a:latin typeface="Calibri Light"/>
                <a:ea typeface="+mn-ea"/>
                <a:cs typeface="+mn-cs"/>
              </a:endParaRPr>
            </a:p>
          </p:txBody>
        </p:sp>
        <p:grpSp>
          <p:nvGrpSpPr>
            <p:cNvPr id="80" name="Gruppieren 25">
              <a:extLst>
                <a:ext uri="{FF2B5EF4-FFF2-40B4-BE49-F238E27FC236}">
                  <a16:creationId xmlns:a16="http://schemas.microsoft.com/office/drawing/2014/main" id="{48ABBB53-85BF-4500-8DA1-056FEE8D3C8C}"/>
                </a:ext>
              </a:extLst>
            </p:cNvPr>
            <p:cNvGrpSpPr>
              <a:grpSpLocks noChangeAspect="1"/>
            </p:cNvGrpSpPr>
            <p:nvPr/>
          </p:nvGrpSpPr>
          <p:grpSpPr bwMode="gray">
            <a:xfrm>
              <a:off x="455541" y="2960951"/>
              <a:ext cx="1092494" cy="1655926"/>
              <a:chOff x="455541" y="2960951"/>
              <a:chExt cx="1092494" cy="1655926"/>
            </a:xfrm>
          </p:grpSpPr>
          <p:sp>
            <p:nvSpPr>
              <p:cNvPr id="81" name="Ellipse 5">
                <a:extLst>
                  <a:ext uri="{FF2B5EF4-FFF2-40B4-BE49-F238E27FC236}">
                    <a16:creationId xmlns:a16="http://schemas.microsoft.com/office/drawing/2014/main" id="{2F4D8319-9F4B-43D7-90FA-278EC196E006}"/>
                  </a:ext>
                </a:extLst>
              </p:cNvPr>
              <p:cNvSpPr>
                <a:spLocks noChangeAspect="1"/>
              </p:cNvSpPr>
              <p:nvPr/>
            </p:nvSpPr>
            <p:spPr bwMode="gray">
              <a:xfrm>
                <a:off x="455541" y="3256056"/>
                <a:ext cx="468000" cy="468000"/>
              </a:xfrm>
              <a:prstGeom prst="ellipse">
                <a:avLst/>
              </a:prstGeom>
              <a:solidFill>
                <a:srgbClr val="9BBB59">
                  <a:lumMod val="20000"/>
                  <a:lumOff val="80000"/>
                </a:srgbClr>
              </a:solidFill>
              <a:ln w="254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82" name="Gruppieren 86">
                <a:extLst>
                  <a:ext uri="{FF2B5EF4-FFF2-40B4-BE49-F238E27FC236}">
                    <a16:creationId xmlns:a16="http://schemas.microsoft.com/office/drawing/2014/main" id="{896C9FC7-D7D6-4522-8778-AC586851BCD2}"/>
                  </a:ext>
                </a:extLst>
              </p:cNvPr>
              <p:cNvGrpSpPr>
                <a:grpSpLocks noChangeAspect="1"/>
              </p:cNvGrpSpPr>
              <p:nvPr/>
            </p:nvGrpSpPr>
            <p:grpSpPr bwMode="gray">
              <a:xfrm>
                <a:off x="540070" y="2960951"/>
                <a:ext cx="721214" cy="611922"/>
                <a:chOff x="6254298" y="14463442"/>
                <a:chExt cx="787100" cy="667824"/>
              </a:xfrm>
            </p:grpSpPr>
            <p:sp>
              <p:nvSpPr>
                <p:cNvPr id="84" name="Freihandform: Form 95">
                  <a:extLst>
                    <a:ext uri="{FF2B5EF4-FFF2-40B4-BE49-F238E27FC236}">
                      <a16:creationId xmlns:a16="http://schemas.microsoft.com/office/drawing/2014/main" id="{FAA7C7F2-A1FC-4F87-83DF-D995F7EEED9C}"/>
                    </a:ext>
                  </a:extLst>
                </p:cNvPr>
                <p:cNvSpPr/>
                <p:nvPr/>
              </p:nvSpPr>
              <p:spPr bwMode="gray">
                <a:xfrm>
                  <a:off x="6254298" y="14671115"/>
                  <a:ext cx="787100" cy="460151"/>
                </a:xfrm>
                <a:custGeom>
                  <a:avLst/>
                  <a:gdLst>
                    <a:gd name="connsiteX0" fmla="*/ 1046212 w 1058836"/>
                    <a:gd name="connsiteY0" fmla="*/ 18326 h 619011"/>
                    <a:gd name="connsiteX1" fmla="*/ 1046212 w 1058836"/>
                    <a:gd name="connsiteY1" fmla="*/ 550187 h 619011"/>
                    <a:gd name="connsiteX2" fmla="*/ 995713 w 1058836"/>
                    <a:gd name="connsiteY2" fmla="*/ 600686 h 619011"/>
                    <a:gd name="connsiteX3" fmla="*/ 68824 w 1058836"/>
                    <a:gd name="connsiteY3" fmla="*/ 600686 h 619011"/>
                    <a:gd name="connsiteX4" fmla="*/ 18326 w 1058836"/>
                    <a:gd name="connsiteY4" fmla="*/ 550187 h 619011"/>
                    <a:gd name="connsiteX5" fmla="*/ 18326 w 1058836"/>
                    <a:gd name="connsiteY5" fmla="*/ 18326 h 6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836" h="619011">
                      <a:moveTo>
                        <a:pt x="1046212" y="18326"/>
                      </a:moveTo>
                      <a:lnTo>
                        <a:pt x="1046212" y="550187"/>
                      </a:lnTo>
                      <a:cubicBezTo>
                        <a:pt x="1046212" y="577880"/>
                        <a:pt x="1023406" y="600686"/>
                        <a:pt x="995713" y="600686"/>
                      </a:cubicBezTo>
                      <a:lnTo>
                        <a:pt x="68824" y="600686"/>
                      </a:lnTo>
                      <a:cubicBezTo>
                        <a:pt x="41132" y="600686"/>
                        <a:pt x="18326" y="577880"/>
                        <a:pt x="18326" y="550187"/>
                      </a:cubicBezTo>
                      <a:lnTo>
                        <a:pt x="18326" y="18326"/>
                      </a:lnTo>
                    </a:path>
                  </a:pathLst>
                </a:custGeom>
                <a:noFill/>
                <a:ln w="254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5" name="Freihandform: Form 96">
                  <a:extLst>
                    <a:ext uri="{FF2B5EF4-FFF2-40B4-BE49-F238E27FC236}">
                      <a16:creationId xmlns:a16="http://schemas.microsoft.com/office/drawing/2014/main" id="{C7CD4F6F-3ECA-455C-AB69-017B06E8E3BA}"/>
                    </a:ext>
                  </a:extLst>
                </p:cNvPr>
                <p:cNvSpPr/>
                <p:nvPr/>
              </p:nvSpPr>
              <p:spPr bwMode="gray">
                <a:xfrm>
                  <a:off x="6382051" y="14533675"/>
                  <a:ext cx="96874" cy="72656"/>
                </a:xfrm>
                <a:custGeom>
                  <a:avLst/>
                  <a:gdLst>
                    <a:gd name="connsiteX0" fmla="*/ 22398 w 130318"/>
                    <a:gd name="connsiteY0" fmla="*/ 18326 h 97738"/>
                    <a:gd name="connsiteX1" fmla="*/ 18326 w 130318"/>
                    <a:gd name="connsiteY1" fmla="*/ 36245 h 97738"/>
                    <a:gd name="connsiteX2" fmla="*/ 65566 w 130318"/>
                    <a:gd name="connsiteY2" fmla="*/ 83485 h 97738"/>
                    <a:gd name="connsiteX3" fmla="*/ 112807 w 130318"/>
                    <a:gd name="connsiteY3" fmla="*/ 36245 h 97738"/>
                    <a:gd name="connsiteX4" fmla="*/ 108734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22398" y="18326"/>
                      </a:moveTo>
                      <a:cubicBezTo>
                        <a:pt x="19955" y="24028"/>
                        <a:pt x="18326" y="29729"/>
                        <a:pt x="18326" y="36245"/>
                      </a:cubicBezTo>
                      <a:cubicBezTo>
                        <a:pt x="18326" y="62309"/>
                        <a:pt x="39503" y="83485"/>
                        <a:pt x="65566" y="83485"/>
                      </a:cubicBezTo>
                      <a:cubicBezTo>
                        <a:pt x="91630" y="83485"/>
                        <a:pt x="112807" y="62309"/>
                        <a:pt x="112807" y="36245"/>
                      </a:cubicBezTo>
                      <a:cubicBezTo>
                        <a:pt x="112807" y="29729"/>
                        <a:pt x="111178" y="23213"/>
                        <a:pt x="108734"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6" name="Freihandform: Form 113">
                  <a:extLst>
                    <a:ext uri="{FF2B5EF4-FFF2-40B4-BE49-F238E27FC236}">
                      <a16:creationId xmlns:a16="http://schemas.microsoft.com/office/drawing/2014/main" id="{7F1E6192-8D5E-475E-AA43-FD1117977360}"/>
                    </a:ext>
                  </a:extLst>
                </p:cNvPr>
                <p:cNvSpPr/>
                <p:nvPr/>
              </p:nvSpPr>
              <p:spPr bwMode="gray">
                <a:xfrm>
                  <a:off x="6417773"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7" name="Freihandform: Form 114">
                  <a:extLst>
                    <a:ext uri="{FF2B5EF4-FFF2-40B4-BE49-F238E27FC236}">
                      <a16:creationId xmlns:a16="http://schemas.microsoft.com/office/drawing/2014/main" id="{7FA32BF6-3BC9-4EB9-9B7D-84DE5D61B1C1}"/>
                    </a:ext>
                  </a:extLst>
                </p:cNvPr>
                <p:cNvSpPr/>
                <p:nvPr/>
              </p:nvSpPr>
              <p:spPr bwMode="gray">
                <a:xfrm>
                  <a:off x="6820405" y="14533675"/>
                  <a:ext cx="96874" cy="72656"/>
                </a:xfrm>
                <a:custGeom>
                  <a:avLst/>
                  <a:gdLst>
                    <a:gd name="connsiteX0" fmla="*/ 108734 w 130318"/>
                    <a:gd name="connsiteY0" fmla="*/ 18326 h 97738"/>
                    <a:gd name="connsiteX1" fmla="*/ 112807 w 130318"/>
                    <a:gd name="connsiteY1" fmla="*/ 36245 h 97738"/>
                    <a:gd name="connsiteX2" fmla="*/ 65566 w 130318"/>
                    <a:gd name="connsiteY2" fmla="*/ 83485 h 97738"/>
                    <a:gd name="connsiteX3" fmla="*/ 18326 w 130318"/>
                    <a:gd name="connsiteY3" fmla="*/ 36245 h 97738"/>
                    <a:gd name="connsiteX4" fmla="*/ 22398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108734" y="18326"/>
                      </a:moveTo>
                      <a:cubicBezTo>
                        <a:pt x="111178" y="24028"/>
                        <a:pt x="112807" y="29729"/>
                        <a:pt x="112807" y="36245"/>
                      </a:cubicBezTo>
                      <a:cubicBezTo>
                        <a:pt x="112807" y="62309"/>
                        <a:pt x="91630" y="83485"/>
                        <a:pt x="65566" y="83485"/>
                      </a:cubicBezTo>
                      <a:cubicBezTo>
                        <a:pt x="39503" y="83485"/>
                        <a:pt x="18326" y="62309"/>
                        <a:pt x="18326" y="36245"/>
                      </a:cubicBezTo>
                      <a:cubicBezTo>
                        <a:pt x="18326" y="29729"/>
                        <a:pt x="19955" y="23213"/>
                        <a:pt x="22398"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8" name="Freihandform: Form 115">
                  <a:extLst>
                    <a:ext uri="{FF2B5EF4-FFF2-40B4-BE49-F238E27FC236}">
                      <a16:creationId xmlns:a16="http://schemas.microsoft.com/office/drawing/2014/main" id="{43DE409F-110F-4048-9552-1697497698AB}"/>
                    </a:ext>
                  </a:extLst>
                </p:cNvPr>
                <p:cNvSpPr/>
                <p:nvPr/>
              </p:nvSpPr>
              <p:spPr bwMode="gray">
                <a:xfrm>
                  <a:off x="6854916"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89" name="Freihandform: Form 116">
                  <a:extLst>
                    <a:ext uri="{FF2B5EF4-FFF2-40B4-BE49-F238E27FC236}">
                      <a16:creationId xmlns:a16="http://schemas.microsoft.com/office/drawing/2014/main" id="{A9052A0E-050E-47FA-BDD5-B661298FA3ED}"/>
                    </a:ext>
                  </a:extLst>
                </p:cNvPr>
                <p:cNvSpPr/>
                <p:nvPr/>
              </p:nvSpPr>
              <p:spPr bwMode="gray">
                <a:xfrm>
                  <a:off x="6457128" y="14486450"/>
                  <a:ext cx="381441" cy="24219"/>
                </a:xfrm>
                <a:custGeom>
                  <a:avLst/>
                  <a:gdLst>
                    <a:gd name="connsiteX0" fmla="*/ 501318 w 513128"/>
                    <a:gd name="connsiteY0" fmla="*/ 18326 h 32579"/>
                    <a:gd name="connsiteX1" fmla="*/ 18326 w 513128"/>
                    <a:gd name="connsiteY1" fmla="*/ 18326 h 32579"/>
                  </a:gdLst>
                  <a:ahLst/>
                  <a:cxnLst>
                    <a:cxn ang="0">
                      <a:pos x="connsiteX0" y="connsiteY0"/>
                    </a:cxn>
                    <a:cxn ang="0">
                      <a:pos x="connsiteX1" y="connsiteY1"/>
                    </a:cxn>
                  </a:cxnLst>
                  <a:rect l="l" t="t" r="r" b="b"/>
                  <a:pathLst>
                    <a:path w="513128" h="32579">
                      <a:moveTo>
                        <a:pt x="501318" y="18326"/>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0" name="Freihandform: Form 117">
                  <a:extLst>
                    <a:ext uri="{FF2B5EF4-FFF2-40B4-BE49-F238E27FC236}">
                      <a16:creationId xmlns:a16="http://schemas.microsoft.com/office/drawing/2014/main" id="{E66FB6D5-502A-4134-A4DB-6D030E0DFB03}"/>
                    </a:ext>
                  </a:extLst>
                </p:cNvPr>
                <p:cNvSpPr/>
                <p:nvPr/>
              </p:nvSpPr>
              <p:spPr bwMode="gray">
                <a:xfrm>
                  <a:off x="6254298" y="14486450"/>
                  <a:ext cx="787100" cy="211911"/>
                </a:xfrm>
                <a:custGeom>
                  <a:avLst/>
                  <a:gdLst>
                    <a:gd name="connsiteX0" fmla="*/ 186111 w 1058836"/>
                    <a:gd name="connsiteY0" fmla="*/ 18326 h 285071"/>
                    <a:gd name="connsiteX1" fmla="*/ 68824 w 1058836"/>
                    <a:gd name="connsiteY1" fmla="*/ 18326 h 285071"/>
                    <a:gd name="connsiteX2" fmla="*/ 18326 w 1058836"/>
                    <a:gd name="connsiteY2" fmla="*/ 68824 h 285071"/>
                    <a:gd name="connsiteX3" fmla="*/ 18326 w 1058836"/>
                    <a:gd name="connsiteY3" fmla="*/ 266745 h 285071"/>
                    <a:gd name="connsiteX4" fmla="*/ 1046212 w 1058836"/>
                    <a:gd name="connsiteY4" fmla="*/ 266745 h 285071"/>
                    <a:gd name="connsiteX5" fmla="*/ 1046212 w 1058836"/>
                    <a:gd name="connsiteY5" fmla="*/ 68824 h 285071"/>
                    <a:gd name="connsiteX6" fmla="*/ 995713 w 1058836"/>
                    <a:gd name="connsiteY6" fmla="*/ 18326 h 285071"/>
                    <a:gd name="connsiteX7" fmla="*/ 878427 w 1058836"/>
                    <a:gd name="connsiteY7" fmla="*/ 18326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836" h="285071">
                      <a:moveTo>
                        <a:pt x="186111" y="18326"/>
                      </a:moveTo>
                      <a:lnTo>
                        <a:pt x="68824" y="18326"/>
                      </a:lnTo>
                      <a:cubicBezTo>
                        <a:pt x="41132" y="18326"/>
                        <a:pt x="18326" y="41132"/>
                        <a:pt x="18326" y="68824"/>
                      </a:cubicBezTo>
                      <a:lnTo>
                        <a:pt x="18326" y="266745"/>
                      </a:lnTo>
                      <a:lnTo>
                        <a:pt x="1046212" y="266745"/>
                      </a:lnTo>
                      <a:lnTo>
                        <a:pt x="1046212" y="68824"/>
                      </a:lnTo>
                      <a:cubicBezTo>
                        <a:pt x="1046212" y="41132"/>
                        <a:pt x="1023406" y="18326"/>
                        <a:pt x="995713" y="18326"/>
                      </a:cubicBezTo>
                      <a:lnTo>
                        <a:pt x="878427" y="18326"/>
                      </a:ln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1" name="Freihandform: Form 118">
                  <a:extLst>
                    <a:ext uri="{FF2B5EF4-FFF2-40B4-BE49-F238E27FC236}">
                      <a16:creationId xmlns:a16="http://schemas.microsoft.com/office/drawing/2014/main" id="{8C9632E8-EC46-4B4A-8D59-677454E6CF33}"/>
                    </a:ext>
                  </a:extLst>
                </p:cNvPr>
                <p:cNvSpPr/>
                <p:nvPr/>
              </p:nvSpPr>
              <p:spPr bwMode="gray">
                <a:xfrm>
                  <a:off x="6481952" y="14733478"/>
                  <a:ext cx="333004" cy="333004"/>
                </a:xfrm>
                <a:custGeom>
                  <a:avLst/>
                  <a:gdLst>
                    <a:gd name="connsiteX0" fmla="*/ 433716 w 447969"/>
                    <a:gd name="connsiteY0" fmla="*/ 226021 h 447969"/>
                    <a:gd name="connsiteX1" fmla="*/ 226021 w 447969"/>
                    <a:gd name="connsiteY1" fmla="*/ 433715 h 447969"/>
                    <a:gd name="connsiteX2" fmla="*/ 18326 w 447969"/>
                    <a:gd name="connsiteY2" fmla="*/ 226021 h 447969"/>
                    <a:gd name="connsiteX3" fmla="*/ 226021 w 447969"/>
                    <a:gd name="connsiteY3" fmla="*/ 18326 h 447969"/>
                    <a:gd name="connsiteX4" fmla="*/ 433716 w 447969"/>
                    <a:gd name="connsiteY4" fmla="*/ 226021 h 44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969" h="447969">
                      <a:moveTo>
                        <a:pt x="433716" y="226021"/>
                      </a:moveTo>
                      <a:cubicBezTo>
                        <a:pt x="433716" y="340727"/>
                        <a:pt x="340727" y="433715"/>
                        <a:pt x="226021" y="433715"/>
                      </a:cubicBezTo>
                      <a:cubicBezTo>
                        <a:pt x="111314" y="433715"/>
                        <a:pt x="18326" y="340727"/>
                        <a:pt x="18326" y="226021"/>
                      </a:cubicBezTo>
                      <a:cubicBezTo>
                        <a:pt x="18326" y="111314"/>
                        <a:pt x="111314" y="18326"/>
                        <a:pt x="226021" y="18326"/>
                      </a:cubicBezTo>
                      <a:cubicBezTo>
                        <a:pt x="340727" y="18326"/>
                        <a:pt x="433716" y="111314"/>
                        <a:pt x="433716" y="226021"/>
                      </a:cubicBezTo>
                      <a:close/>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2" name="Freihandform: Form 119">
                  <a:extLst>
                    <a:ext uri="{FF2B5EF4-FFF2-40B4-BE49-F238E27FC236}">
                      <a16:creationId xmlns:a16="http://schemas.microsoft.com/office/drawing/2014/main" id="{B6E8E987-E9D1-4910-9745-1F304319BD73}"/>
                    </a:ext>
                  </a:extLst>
                </p:cNvPr>
                <p:cNvSpPr/>
                <p:nvPr/>
              </p:nvSpPr>
              <p:spPr bwMode="gray">
                <a:xfrm rot="2700000">
                  <a:off x="6670910" y="14822908"/>
                  <a:ext cx="24219" cy="181638"/>
                </a:xfrm>
                <a:custGeom>
                  <a:avLst/>
                  <a:gdLst>
                    <a:gd name="connsiteX0" fmla="*/ 18326 w 32579"/>
                    <a:gd name="connsiteY0" fmla="*/ 18326 h 244346"/>
                    <a:gd name="connsiteX1" fmla="*/ 18326 w 32579"/>
                    <a:gd name="connsiteY1" fmla="*/ 227650 h 244346"/>
                  </a:gdLst>
                  <a:ahLst/>
                  <a:cxnLst>
                    <a:cxn ang="0">
                      <a:pos x="connsiteX0" y="connsiteY0"/>
                    </a:cxn>
                    <a:cxn ang="0">
                      <a:pos x="connsiteX1" y="connsiteY1"/>
                    </a:cxn>
                  </a:cxnLst>
                  <a:rect l="l" t="t" r="r" b="b"/>
                  <a:pathLst>
                    <a:path w="32579" h="244346">
                      <a:moveTo>
                        <a:pt x="18326" y="18326"/>
                      </a:moveTo>
                      <a:lnTo>
                        <a:pt x="18326" y="227650"/>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sp>
              <p:nvSpPr>
                <p:cNvPr id="93" name="Freihandform: Form 120">
                  <a:extLst>
                    <a:ext uri="{FF2B5EF4-FFF2-40B4-BE49-F238E27FC236}">
                      <a16:creationId xmlns:a16="http://schemas.microsoft.com/office/drawing/2014/main" id="{ED14B6BD-DC59-4314-BB9A-E3EE8AFF0A0C}"/>
                    </a:ext>
                  </a:extLst>
                </p:cNvPr>
                <p:cNvSpPr/>
                <p:nvPr/>
              </p:nvSpPr>
              <p:spPr bwMode="gray">
                <a:xfrm rot="2700000">
                  <a:off x="6554892" y="14906651"/>
                  <a:ext cx="90733" cy="58568"/>
                </a:xfrm>
                <a:custGeom>
                  <a:avLst/>
                  <a:gdLst>
                    <a:gd name="connsiteX0" fmla="*/ 18326 w 244346"/>
                    <a:gd name="connsiteY0" fmla="*/ 18326 h 32579"/>
                    <a:gd name="connsiteX1" fmla="*/ 227650 w 244346"/>
                    <a:gd name="connsiteY1" fmla="*/ 18326 h 32579"/>
                  </a:gdLst>
                  <a:ahLst/>
                  <a:cxnLst>
                    <a:cxn ang="0">
                      <a:pos x="connsiteX0" y="connsiteY0"/>
                    </a:cxn>
                    <a:cxn ang="0">
                      <a:pos x="connsiteX1" y="connsiteY1"/>
                    </a:cxn>
                  </a:cxnLst>
                  <a:rect l="l" t="t" r="r" b="b"/>
                  <a:pathLst>
                    <a:path w="244346" h="32579">
                      <a:moveTo>
                        <a:pt x="18326" y="18326"/>
                      </a:moveTo>
                      <a:lnTo>
                        <a:pt x="227650"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Light"/>
                  </a:endParaRPr>
                </a:p>
              </p:txBody>
            </p:sp>
          </p:grpSp>
          <p:cxnSp>
            <p:nvCxnSpPr>
              <p:cNvPr id="83" name="Gerader Verbinder 121">
                <a:extLst>
                  <a:ext uri="{FF2B5EF4-FFF2-40B4-BE49-F238E27FC236}">
                    <a16:creationId xmlns:a16="http://schemas.microsoft.com/office/drawing/2014/main" id="{7A668557-0AA1-469C-BB26-F222F25AD340}"/>
                  </a:ext>
                </a:extLst>
              </p:cNvPr>
              <p:cNvCxnSpPr>
                <a:cxnSpLocks/>
              </p:cNvCxnSpPr>
              <p:nvPr/>
            </p:nvCxnSpPr>
            <p:spPr bwMode="gray">
              <a:xfrm rot="5400000">
                <a:off x="738035" y="3806877"/>
                <a:ext cx="1620000" cy="0"/>
              </a:xfrm>
              <a:prstGeom prst="line">
                <a:avLst/>
              </a:prstGeom>
              <a:noFill/>
              <a:ln w="6350" cap="flat" cmpd="sng" algn="ctr">
                <a:solidFill>
                  <a:srgbClr val="9BBB59">
                    <a:lumMod val="75000"/>
                  </a:srgbClr>
                </a:solidFill>
                <a:prstDash val="solid"/>
                <a:tailEnd type="none"/>
              </a:ln>
              <a:effectLst/>
            </p:spPr>
          </p:cxnSp>
        </p:grpSp>
      </p:grpSp>
      <p:graphicFrame>
        <p:nvGraphicFramePr>
          <p:cNvPr id="12" name="Table 11"/>
          <p:cNvGraphicFramePr>
            <a:graphicFrameLocks noGrp="1"/>
          </p:cNvGraphicFramePr>
          <p:nvPr/>
        </p:nvGraphicFramePr>
        <p:xfrm>
          <a:off x="1759980" y="2805703"/>
          <a:ext cx="9891149" cy="2422502"/>
        </p:xfrm>
        <a:graphic>
          <a:graphicData uri="http://schemas.openxmlformats.org/drawingml/2006/table">
            <a:tbl>
              <a:tblPr/>
              <a:tblGrid>
                <a:gridCol w="4617805">
                  <a:extLst>
                    <a:ext uri="{9D8B030D-6E8A-4147-A177-3AD203B41FA5}">
                      <a16:colId xmlns:a16="http://schemas.microsoft.com/office/drawing/2014/main" val="20000"/>
                    </a:ext>
                  </a:extLst>
                </a:gridCol>
                <a:gridCol w="1270696">
                  <a:extLst>
                    <a:ext uri="{9D8B030D-6E8A-4147-A177-3AD203B41FA5}">
                      <a16:colId xmlns:a16="http://schemas.microsoft.com/office/drawing/2014/main" val="20001"/>
                    </a:ext>
                  </a:extLst>
                </a:gridCol>
                <a:gridCol w="307896">
                  <a:extLst>
                    <a:ext uri="{9D8B030D-6E8A-4147-A177-3AD203B41FA5}">
                      <a16:colId xmlns:a16="http://schemas.microsoft.com/office/drawing/2014/main" val="20002"/>
                    </a:ext>
                  </a:extLst>
                </a:gridCol>
                <a:gridCol w="307896">
                  <a:extLst>
                    <a:ext uri="{9D8B030D-6E8A-4147-A177-3AD203B41FA5}">
                      <a16:colId xmlns:a16="http://schemas.microsoft.com/office/drawing/2014/main" val="20003"/>
                    </a:ext>
                  </a:extLst>
                </a:gridCol>
                <a:gridCol w="307896">
                  <a:extLst>
                    <a:ext uri="{9D8B030D-6E8A-4147-A177-3AD203B41FA5}">
                      <a16:colId xmlns:a16="http://schemas.microsoft.com/office/drawing/2014/main" val="20004"/>
                    </a:ext>
                  </a:extLst>
                </a:gridCol>
                <a:gridCol w="307896">
                  <a:extLst>
                    <a:ext uri="{9D8B030D-6E8A-4147-A177-3AD203B41FA5}">
                      <a16:colId xmlns:a16="http://schemas.microsoft.com/office/drawing/2014/main" val="20005"/>
                    </a:ext>
                  </a:extLst>
                </a:gridCol>
                <a:gridCol w="307896">
                  <a:extLst>
                    <a:ext uri="{9D8B030D-6E8A-4147-A177-3AD203B41FA5}">
                      <a16:colId xmlns:a16="http://schemas.microsoft.com/office/drawing/2014/main" val="20006"/>
                    </a:ext>
                  </a:extLst>
                </a:gridCol>
                <a:gridCol w="307896">
                  <a:extLst>
                    <a:ext uri="{9D8B030D-6E8A-4147-A177-3AD203B41FA5}">
                      <a16:colId xmlns:a16="http://schemas.microsoft.com/office/drawing/2014/main" val="20007"/>
                    </a:ext>
                  </a:extLst>
                </a:gridCol>
                <a:gridCol w="307896">
                  <a:extLst>
                    <a:ext uri="{9D8B030D-6E8A-4147-A177-3AD203B41FA5}">
                      <a16:colId xmlns:a16="http://schemas.microsoft.com/office/drawing/2014/main" val="20008"/>
                    </a:ext>
                  </a:extLst>
                </a:gridCol>
                <a:gridCol w="307896">
                  <a:extLst>
                    <a:ext uri="{9D8B030D-6E8A-4147-A177-3AD203B41FA5}">
                      <a16:colId xmlns:a16="http://schemas.microsoft.com/office/drawing/2014/main" val="20009"/>
                    </a:ext>
                  </a:extLst>
                </a:gridCol>
                <a:gridCol w="307896">
                  <a:extLst>
                    <a:ext uri="{9D8B030D-6E8A-4147-A177-3AD203B41FA5}">
                      <a16:colId xmlns:a16="http://schemas.microsoft.com/office/drawing/2014/main" val="20010"/>
                    </a:ext>
                  </a:extLst>
                </a:gridCol>
                <a:gridCol w="307896">
                  <a:extLst>
                    <a:ext uri="{9D8B030D-6E8A-4147-A177-3AD203B41FA5}">
                      <a16:colId xmlns:a16="http://schemas.microsoft.com/office/drawing/2014/main" val="20011"/>
                    </a:ext>
                  </a:extLst>
                </a:gridCol>
                <a:gridCol w="307896">
                  <a:extLst>
                    <a:ext uri="{9D8B030D-6E8A-4147-A177-3AD203B41FA5}">
                      <a16:colId xmlns:a16="http://schemas.microsoft.com/office/drawing/2014/main" val="20012"/>
                    </a:ext>
                  </a:extLst>
                </a:gridCol>
                <a:gridCol w="307896">
                  <a:extLst>
                    <a:ext uri="{9D8B030D-6E8A-4147-A177-3AD203B41FA5}">
                      <a16:colId xmlns:a16="http://schemas.microsoft.com/office/drawing/2014/main" val="20013"/>
                    </a:ext>
                  </a:extLst>
                </a:gridCol>
                <a:gridCol w="307896">
                  <a:extLst>
                    <a:ext uri="{9D8B030D-6E8A-4147-A177-3AD203B41FA5}">
                      <a16:colId xmlns:a16="http://schemas.microsoft.com/office/drawing/2014/main" val="20014"/>
                    </a:ext>
                  </a:extLst>
                </a:gridCol>
              </a:tblGrid>
              <a:tr h="253272">
                <a:tc>
                  <a:txBody>
                    <a:bodyPr/>
                    <a:lstStyle/>
                    <a:p>
                      <a:pPr algn="l" fontAlgn="b"/>
                      <a:endParaRPr lang="en-US" sz="1400" b="0" i="0" u="none" strike="noStrike" dirty="0">
                        <a:solidFill>
                          <a:srgbClr val="000000"/>
                        </a:solidFill>
                        <a:effectLst/>
                        <a:latin typeface="+mj-lt"/>
                      </a:endParaRPr>
                    </a:p>
                  </a:txBody>
                  <a:tcPr marL="6350" marR="6350" marT="6350" marB="0" anchor="b">
                    <a:lnL>
                      <a:noFill/>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a:txBody>
                    <a:bodyPr/>
                    <a:lstStyle/>
                    <a:p>
                      <a:endParaRPr lang="en-US" dirty="0"/>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gridSpan="5">
                  <a:txBody>
                    <a:bodyPr/>
                    <a:lstStyle/>
                    <a:p>
                      <a:pPr algn="ctr" fontAlgn="ctr"/>
                      <a:r>
                        <a:rPr lang="en-US" sz="1400" b="0" i="0" u="none" strike="noStrike" dirty="0">
                          <a:solidFill>
                            <a:srgbClr val="000000"/>
                          </a:solidFill>
                          <a:effectLst/>
                          <a:latin typeface="+mj-lt"/>
                        </a:rPr>
                        <a:t>202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en-US" sz="1400" b="0" i="0" u="none" strike="noStrike" dirty="0">
                          <a:solidFill>
                            <a:srgbClr val="000000"/>
                          </a:solidFill>
                          <a:effectLst/>
                          <a:latin typeface="+mj-lt"/>
                        </a:rPr>
                        <a:t>202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gridSpan="4">
                  <a:txBody>
                    <a:bodyPr/>
                    <a:lstStyle/>
                    <a:p>
                      <a:pPr algn="ctr" fontAlgn="ctr"/>
                      <a:r>
                        <a:rPr lang="en-US" sz="1400" b="0" i="0" u="none" strike="noStrike" dirty="0">
                          <a:solidFill>
                            <a:srgbClr val="000000"/>
                          </a:solidFill>
                          <a:effectLst/>
                          <a:latin typeface="+mj-lt"/>
                        </a:rPr>
                        <a:t>202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extLst>
                  <a:ext uri="{0D108BD9-81ED-4DB2-BD59-A6C34878D82A}">
                    <a16:rowId xmlns:a16="http://schemas.microsoft.com/office/drawing/2014/main" val="10000"/>
                  </a:ext>
                </a:extLst>
              </a:tr>
              <a:tr h="327078">
                <a:tc>
                  <a:txBody>
                    <a:bodyPr/>
                    <a:lstStyle/>
                    <a:p>
                      <a:pPr algn="ctr" fontAlgn="ctr"/>
                      <a:r>
                        <a:rPr lang="en-US" sz="1400" b="0" i="0" u="none" strike="noStrike" dirty="0">
                          <a:solidFill>
                            <a:schemeClr val="tx1"/>
                          </a:solidFill>
                          <a:effectLst/>
                          <a:latin typeface="+mj-lt"/>
                        </a:rPr>
                        <a:t>Projects/ Streams</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a:r>
                        <a:rPr lang="en-US" sz="1200" dirty="0">
                          <a:solidFill>
                            <a:schemeClr val="tx1"/>
                          </a:solidFill>
                          <a:latin typeface="+mj-lt"/>
                        </a:rPr>
                        <a:t>Stream</a:t>
                      </a:r>
                      <a:r>
                        <a:rPr lang="en-US" sz="1200" baseline="0" dirty="0">
                          <a:solidFill>
                            <a:schemeClr val="tx1"/>
                          </a:solidFill>
                          <a:latin typeface="+mj-lt"/>
                        </a:rPr>
                        <a:t> Leaders</a:t>
                      </a:r>
                      <a:endParaRPr lang="en-US" sz="1200" dirty="0">
                        <a:solidFill>
                          <a:schemeClr val="tx1"/>
                        </a:solidFill>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8</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9</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tc>
                  <a:txBody>
                    <a:bodyPr/>
                    <a:lstStyle/>
                    <a:p>
                      <a:pPr algn="ctr" fontAlgn="ctr"/>
                      <a:r>
                        <a:rPr lang="en-US" sz="1200" b="0" i="0" u="none" strike="noStrike" dirty="0">
                          <a:solidFill>
                            <a:schemeClr val="tx1"/>
                          </a:solidFill>
                          <a:effectLst/>
                          <a:latin typeface="+mj-lt"/>
                        </a:rPr>
                        <a:t>Q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75000"/>
                      </a:schemeClr>
                    </a:solidFill>
                  </a:tcPr>
                </a:tc>
                <a:extLst>
                  <a:ext uri="{0D108BD9-81ED-4DB2-BD59-A6C34878D82A}">
                    <a16:rowId xmlns:a16="http://schemas.microsoft.com/office/drawing/2014/main" val="10001"/>
                  </a:ext>
                </a:extLst>
              </a:tr>
              <a:tr h="305976">
                <a:tc gridSpan="15">
                  <a:txBody>
                    <a:bodyPr/>
                    <a:lstStyle/>
                    <a:p>
                      <a:pPr algn="ctr" fontAlgn="ctr"/>
                      <a:endParaRPr lang="en-US" sz="1400" b="0" i="0" u="none" strike="noStrike" dirty="0">
                        <a:solidFill>
                          <a:srgbClr val="000000"/>
                        </a:solidFill>
                        <a:effectLst/>
                        <a:latin typeface="+mj-lt"/>
                      </a:endParaRPr>
                    </a:p>
                  </a:txBody>
                  <a:tcPr marL="6350" marR="6350" marT="6350" marB="0" anchor="ctr">
                    <a:lnL>
                      <a:noFill/>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05976">
                <a:tc>
                  <a:txBody>
                    <a:bodyPr/>
                    <a:lstStyle/>
                    <a:p>
                      <a:pPr algn="l" fontAlgn="ctr"/>
                      <a:r>
                        <a:rPr lang="en-US" sz="1400" b="0" i="0" u="none" strike="noStrike" dirty="0">
                          <a:solidFill>
                            <a:srgbClr val="000000"/>
                          </a:solidFill>
                          <a:effectLst/>
                          <a:latin typeface="+mj-lt"/>
                        </a:rPr>
                        <a:t>1. </a:t>
                      </a:r>
                      <a:r>
                        <a:rPr lang="en-US" sz="1400" b="0" i="0" u="none" strike="noStrike" baseline="0" dirty="0">
                          <a:solidFill>
                            <a:srgbClr val="000000"/>
                          </a:solidFill>
                          <a:effectLst/>
                          <a:latin typeface="+mj-lt"/>
                        </a:rPr>
                        <a:t>Brand Guidelines &amp; Integrated Launch Campaign</a:t>
                      </a:r>
                      <a:endParaRPr lang="en-US" sz="1400" b="0" i="0" u="none" strike="noStrike" dirty="0">
                        <a:solidFill>
                          <a:srgbClr val="000000"/>
                        </a:solidFill>
                        <a:effectLst/>
                        <a:latin typeface="+mj-lt"/>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r>
                        <a:rPr lang="en-US" sz="1200" dirty="0">
                          <a:latin typeface="+mj-lt"/>
                        </a:rPr>
                        <a:t>Rasim B/ Sevda A</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3"/>
                  </a:ext>
                </a:extLst>
              </a:tr>
              <a:tr h="305976">
                <a:tc>
                  <a:txBody>
                    <a:bodyPr/>
                    <a:lstStyle/>
                    <a:p>
                      <a:pPr algn="l" fontAlgn="ctr"/>
                      <a:r>
                        <a:rPr lang="en-US" sz="1400" b="0" i="0" u="none" strike="noStrike" dirty="0">
                          <a:solidFill>
                            <a:srgbClr val="000000"/>
                          </a:solidFill>
                          <a:effectLst/>
                          <a:latin typeface="+mj-lt"/>
                        </a:rPr>
                        <a:t>2. Hitting the</a:t>
                      </a:r>
                      <a:r>
                        <a:rPr lang="en-US" sz="1400" b="0" i="0" u="none" strike="noStrike" baseline="0" dirty="0">
                          <a:solidFill>
                            <a:srgbClr val="000000"/>
                          </a:solidFill>
                          <a:effectLst/>
                          <a:latin typeface="+mj-lt"/>
                        </a:rPr>
                        <a:t> market in key areas: </a:t>
                      </a:r>
                      <a:r>
                        <a:rPr lang="en-US" sz="1400" b="1" i="0" u="none" strike="noStrike" baseline="0" dirty="0">
                          <a:solidFill>
                            <a:srgbClr val="000000"/>
                          </a:solidFill>
                          <a:effectLst/>
                          <a:latin typeface="+mj-lt"/>
                        </a:rPr>
                        <a:t>Card/ Loan</a:t>
                      </a:r>
                      <a:endParaRPr lang="en-US" sz="1400" b="1" i="0" u="none" strike="noStrike" dirty="0">
                        <a:solidFill>
                          <a:srgbClr val="000000"/>
                        </a:solidFill>
                        <a:effectLst/>
                        <a:latin typeface="+mj-lt"/>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r>
                        <a:rPr lang="en-US" sz="1200" dirty="0">
                          <a:latin typeface="+mj-lt"/>
                        </a:rPr>
                        <a:t>Araz S/ Emil M</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4"/>
                  </a:ext>
                </a:extLst>
              </a:tr>
              <a:tr h="305976">
                <a:tc>
                  <a:txBody>
                    <a:bodyPr/>
                    <a:lstStyle/>
                    <a:p>
                      <a:pPr algn="l" fontAlgn="ctr"/>
                      <a:r>
                        <a:rPr lang="en-US" sz="1400" b="0" i="0" u="none" strike="noStrike" dirty="0">
                          <a:solidFill>
                            <a:srgbClr val="000000"/>
                          </a:solidFill>
                          <a:effectLst/>
                          <a:latin typeface="+mj-lt"/>
                        </a:rPr>
                        <a:t>3. Hitting the market in key areas:</a:t>
                      </a:r>
                      <a:r>
                        <a:rPr lang="en-US" sz="1400" b="0" i="0" u="none" strike="noStrike" baseline="0" dirty="0">
                          <a:solidFill>
                            <a:srgbClr val="000000"/>
                          </a:solidFill>
                          <a:effectLst/>
                          <a:latin typeface="+mj-lt"/>
                        </a:rPr>
                        <a:t> </a:t>
                      </a:r>
                      <a:r>
                        <a:rPr lang="en-US" sz="1400" b="1" i="0" u="none" strike="noStrike" baseline="0" dirty="0">
                          <a:solidFill>
                            <a:srgbClr val="000000"/>
                          </a:solidFill>
                          <a:effectLst/>
                          <a:latin typeface="+mj-lt"/>
                        </a:rPr>
                        <a:t>BPM/ </a:t>
                      </a:r>
                      <a:r>
                        <a:rPr lang="en-US" sz="1400" b="1" i="0" u="none" strike="noStrike" dirty="0">
                          <a:solidFill>
                            <a:srgbClr val="000000"/>
                          </a:solidFill>
                          <a:effectLst/>
                          <a:latin typeface="+mj-lt"/>
                        </a:rPr>
                        <a:t>Loan process</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r>
                        <a:rPr lang="en-US" sz="1200" dirty="0">
                          <a:latin typeface="+mj-lt"/>
                        </a:rPr>
                        <a:t>Araz S/</a:t>
                      </a:r>
                      <a:r>
                        <a:rPr lang="en-US" sz="1200" baseline="0" dirty="0">
                          <a:latin typeface="+mj-lt"/>
                        </a:rPr>
                        <a:t> Oleg K</a:t>
                      </a:r>
                      <a:endParaRPr lang="en-US" sz="1200" dirty="0">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FF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5"/>
                  </a:ext>
                </a:extLst>
              </a:tr>
              <a:tr h="305976">
                <a:tc>
                  <a:txBody>
                    <a:bodyPr/>
                    <a:lstStyle/>
                    <a:p>
                      <a:pPr algn="l" fontAlgn="ctr"/>
                      <a:r>
                        <a:rPr lang="en-US" sz="1400" b="0" i="0" u="none" strike="noStrike" dirty="0">
                          <a:solidFill>
                            <a:srgbClr val="000000"/>
                          </a:solidFill>
                          <a:effectLst/>
                          <a:latin typeface="+mj-lt"/>
                        </a:rPr>
                        <a:t>4. Hitting the market in key areas:</a:t>
                      </a:r>
                      <a:r>
                        <a:rPr lang="en-US" sz="1400" b="0" i="0" u="none" strike="noStrike" baseline="0" dirty="0">
                          <a:solidFill>
                            <a:srgbClr val="000000"/>
                          </a:solidFill>
                          <a:effectLst/>
                          <a:latin typeface="+mj-lt"/>
                        </a:rPr>
                        <a:t> </a:t>
                      </a:r>
                      <a:r>
                        <a:rPr lang="en-US" sz="1400" b="1" i="0" u="none" strike="noStrike" dirty="0">
                          <a:solidFill>
                            <a:srgbClr val="000000"/>
                          </a:solidFill>
                          <a:effectLst/>
                          <a:latin typeface="+mj-lt"/>
                        </a:rPr>
                        <a:t>ATM &amp; </a:t>
                      </a:r>
                      <a:r>
                        <a:rPr lang="en-US" sz="1400" b="1" i="0" u="none" strike="noStrike" baseline="0" dirty="0">
                          <a:solidFill>
                            <a:srgbClr val="000000"/>
                          </a:solidFill>
                          <a:effectLst/>
                          <a:latin typeface="+mj-lt"/>
                        </a:rPr>
                        <a:t>Mobile App integration</a:t>
                      </a:r>
                      <a:endParaRPr lang="en-US" sz="1400" b="1" i="0" u="none" strike="noStrike" dirty="0">
                        <a:solidFill>
                          <a:srgbClr val="000000"/>
                        </a:solidFill>
                        <a:effectLst/>
                        <a:latin typeface="+mj-lt"/>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r>
                        <a:rPr lang="en-US" sz="1200" dirty="0">
                          <a:latin typeface="+mj-lt"/>
                        </a:rPr>
                        <a:t>Sattar K/ Farid M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6"/>
                  </a:ext>
                </a:extLst>
              </a:tr>
              <a:tr h="284874">
                <a:tc>
                  <a:txBody>
                    <a:bodyPr/>
                    <a:lstStyle/>
                    <a:p>
                      <a:pPr algn="l" fontAlgn="t"/>
                      <a:r>
                        <a:rPr lang="en-US" sz="1400" b="0" i="0" u="none" strike="noStrike" dirty="0">
                          <a:solidFill>
                            <a:srgbClr val="000000"/>
                          </a:solidFill>
                          <a:effectLst/>
                          <a:latin typeface="+mj-lt"/>
                        </a:rPr>
                        <a:t>5. Revamp</a:t>
                      </a:r>
                      <a:r>
                        <a:rPr lang="en-US" sz="1400" b="0" i="0" u="none" strike="noStrike" baseline="0" dirty="0">
                          <a:solidFill>
                            <a:srgbClr val="000000"/>
                          </a:solidFill>
                          <a:effectLst/>
                          <a:latin typeface="+mj-lt"/>
                        </a:rPr>
                        <a:t> </a:t>
                      </a:r>
                      <a:r>
                        <a:rPr lang="en-US" sz="1400" b="0" i="0" u="none" strike="noStrike" baseline="0" dirty="0" err="1">
                          <a:solidFill>
                            <a:srgbClr val="000000"/>
                          </a:solidFill>
                          <a:effectLst/>
                          <a:latin typeface="+mj-lt"/>
                        </a:rPr>
                        <a:t>Unibank</a:t>
                      </a:r>
                      <a:r>
                        <a:rPr lang="en-US" sz="1400" b="0" i="0" u="none" strike="noStrike" baseline="0" dirty="0">
                          <a:solidFill>
                            <a:srgbClr val="000000"/>
                          </a:solidFill>
                          <a:effectLst/>
                          <a:latin typeface="+mj-lt"/>
                        </a:rPr>
                        <a:t> Corporate Culture (</a:t>
                      </a:r>
                      <a:r>
                        <a:rPr lang="en-US" sz="1400" b="1" i="0" u="none" strike="noStrike" baseline="0" dirty="0" err="1">
                          <a:solidFill>
                            <a:srgbClr val="000000"/>
                          </a:solidFill>
                          <a:effectLst/>
                          <a:latin typeface="+mj-lt"/>
                        </a:rPr>
                        <a:t>HiPo</a:t>
                      </a:r>
                      <a:r>
                        <a:rPr lang="en-US" sz="1400" b="1" i="0" u="none" strike="noStrike" baseline="0" dirty="0">
                          <a:solidFill>
                            <a:srgbClr val="000000"/>
                          </a:solidFill>
                          <a:effectLst/>
                          <a:latin typeface="+mj-lt"/>
                        </a:rPr>
                        <a:t> &amp; Touch points</a:t>
                      </a:r>
                      <a:r>
                        <a:rPr lang="en-US" sz="1400" b="0" i="0" u="none" strike="noStrike" baseline="0" dirty="0">
                          <a:solidFill>
                            <a:srgbClr val="000000"/>
                          </a:solidFill>
                          <a:effectLst/>
                          <a:latin typeface="+mj-lt"/>
                        </a:rPr>
                        <a:t>)</a:t>
                      </a:r>
                      <a:endParaRPr lang="en-US" sz="1400" b="0" i="0" u="none" strike="noStrike" dirty="0">
                        <a:solidFill>
                          <a:srgbClr val="000000"/>
                        </a:solidFill>
                        <a:effectLst/>
                        <a:latin typeface="+mj-lt"/>
                      </a:endParaRPr>
                    </a:p>
                  </a:txBody>
                  <a:tcPr marL="6350" marR="6350" marT="6350" marB="0">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tcPr>
                </a:tc>
                <a:tc>
                  <a:txBody>
                    <a:bodyPr/>
                    <a:lstStyle/>
                    <a:p>
                      <a:r>
                        <a:rPr lang="en-US" sz="1200" dirty="0">
                          <a:latin typeface="+mj-lt"/>
                        </a:rPr>
                        <a:t>Mikayil M/</a:t>
                      </a:r>
                      <a:r>
                        <a:rPr lang="en-US" sz="1200" baseline="0" dirty="0">
                          <a:latin typeface="+mj-lt"/>
                        </a:rPr>
                        <a:t> Natalya S</a:t>
                      </a:r>
                      <a:endParaRPr lang="en-US" sz="1200" dirty="0">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a:noFill/>
                    </a:lnB>
                    <a:solidFill>
                      <a:schemeClr val="accent6"/>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82708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A5E7B72B-7221-3049-B730-DA42AF8F99CC}"/>
              </a:ext>
            </a:extLst>
          </p:cNvPr>
          <p:cNvSpPr>
            <a:spLocks noGrp="1"/>
          </p:cNvSpPr>
          <p:nvPr>
            <p:ph type="title"/>
          </p:nvPr>
        </p:nvSpPr>
        <p:spPr>
          <a:xfrm>
            <a:off x="277794" y="-48768"/>
            <a:ext cx="10515600" cy="1325563"/>
          </a:xfrm>
        </p:spPr>
        <p:txBody>
          <a:bodyPr/>
          <a:lstStyle/>
          <a:p>
            <a:r>
              <a:rPr lang="en-US" sz="3600" dirty="0">
                <a:latin typeface="Arial" panose="020B0604020202020204" pitchFamily="34" charset="0"/>
                <a:cs typeface="Arial" panose="020B0604020202020204" pitchFamily="34" charset="0"/>
              </a:rPr>
              <a:t>Transformation Office</a:t>
            </a:r>
            <a:endParaRPr lang="ru-AZ" dirty="0">
              <a:latin typeface="Arial" panose="020B0604020202020204" pitchFamily="34" charset="0"/>
              <a:cs typeface="Arial" panose="020B0604020202020204" pitchFamily="34" charset="0"/>
            </a:endParaRPr>
          </a:p>
        </p:txBody>
      </p:sp>
      <p:pic>
        <p:nvPicPr>
          <p:cNvPr id="69" name="Picture 101">
            <a:extLst>
              <a:ext uri="{FF2B5EF4-FFF2-40B4-BE49-F238E27FC236}">
                <a16:creationId xmlns:a16="http://schemas.microsoft.com/office/drawing/2014/main" id="{25DE8930-83E4-134B-B7BA-0861273ADABB}"/>
              </a:ext>
            </a:extLst>
          </p:cNvPr>
          <p:cNvPicPr>
            <a:picLocks/>
          </p:cNvPicPr>
          <p:nvPr/>
        </p:nvPicPr>
        <p:blipFill rotWithShape="1">
          <a:blip r:embed="rId3" cstate="screen">
            <a:extLst>
              <a:ext uri="{28A0092B-C50C-407E-A947-70E740481C1C}">
                <a14:useLocalDpi xmlns:a14="http://schemas.microsoft.com/office/drawing/2010/main"/>
              </a:ext>
            </a:extLst>
          </a:blip>
          <a:srcRect l="15613" r="15613"/>
          <a:stretch/>
        </p:blipFill>
        <p:spPr>
          <a:xfrm>
            <a:off x="374118" y="1021270"/>
            <a:ext cx="2154746" cy="5468430"/>
          </a:xfrm>
          <a:prstGeom prst="rect">
            <a:avLst/>
          </a:prstGeom>
        </p:spPr>
      </p:pic>
      <p:sp>
        <p:nvSpPr>
          <p:cNvPr id="70" name="Rectangle 105">
            <a:extLst>
              <a:ext uri="{FF2B5EF4-FFF2-40B4-BE49-F238E27FC236}">
                <a16:creationId xmlns:a16="http://schemas.microsoft.com/office/drawing/2014/main" id="{1103CA8D-FF1F-A749-B1CE-27E1E3BFEC23}"/>
              </a:ext>
            </a:extLst>
          </p:cNvPr>
          <p:cNvSpPr>
            <a:spLocks/>
          </p:cNvSpPr>
          <p:nvPr/>
        </p:nvSpPr>
        <p:spPr>
          <a:xfrm>
            <a:off x="371475" y="1021270"/>
            <a:ext cx="2154746" cy="5468430"/>
          </a:xfrm>
          <a:prstGeom prst="rect">
            <a:avLst/>
          </a:prstGeom>
          <a:solidFill>
            <a:srgbClr val="FF6011">
              <a:alpha val="80000"/>
            </a:srgbClr>
          </a:solidFill>
          <a:ln w="9525" cap="flat" cmpd="sng" algn="ctr">
            <a:noFill/>
            <a:prstDash val="solid"/>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20" normalizeH="0" baseline="0" noProof="0" dirty="0">
              <a:ln>
                <a:noFill/>
              </a:ln>
              <a:solidFill>
                <a:srgbClr val="002960"/>
              </a:solidFill>
              <a:effectLst/>
              <a:uLnTx/>
              <a:uFillTx/>
              <a:latin typeface="Arial"/>
              <a:ea typeface="+mn-ea"/>
              <a:cs typeface="+mn-cs"/>
            </a:endParaRPr>
          </a:p>
        </p:txBody>
      </p:sp>
      <p:sp>
        <p:nvSpPr>
          <p:cNvPr id="71" name="TextBox 70">
            <a:extLst>
              <a:ext uri="{FF2B5EF4-FFF2-40B4-BE49-F238E27FC236}">
                <a16:creationId xmlns:a16="http://schemas.microsoft.com/office/drawing/2014/main" id="{6AA0A7C2-2073-AD47-B566-0DD152D7A1FF}"/>
              </a:ext>
            </a:extLst>
          </p:cNvPr>
          <p:cNvSpPr txBox="1">
            <a:spLocks/>
          </p:cNvSpPr>
          <p:nvPr/>
        </p:nvSpPr>
        <p:spPr>
          <a:xfrm>
            <a:off x="502297" y="1156881"/>
            <a:ext cx="1792618" cy="215444"/>
          </a:xfrm>
          <a:prstGeom prst="rect">
            <a:avLst/>
          </a:prstGeom>
        </p:spPr>
        <p:txBody>
          <a:bodyPr vert="horz" wrap="square" lIns="0" tIns="0" rIns="0" bIns="0" rtlCol="0">
            <a:spAutoFit/>
          </a:bodyPr>
          <a:lstStyle>
            <a:lvl1pPr lvl="0" indent="0" defTabSz="895350" fontAlgn="base">
              <a:spcBef>
                <a:spcPct val="0"/>
              </a:spcBef>
              <a:spcAft>
                <a:spcPct val="0"/>
              </a:spcAft>
              <a:buClr>
                <a:schemeClr val="tx2"/>
              </a:buClr>
              <a:buSzPct val="100000"/>
              <a:defRPr lang="x-none" sz="1400" baseline="0"/>
            </a:lvl1pPr>
            <a:lvl2pPr marL="193675" lvl="1" indent="-192088" defTabSz="895350" fontAlgn="base">
              <a:spcBef>
                <a:spcPct val="0"/>
              </a:spcBef>
              <a:spcAft>
                <a:spcPct val="0"/>
              </a:spcAft>
              <a:buClr>
                <a:schemeClr val="tx2"/>
              </a:buClr>
              <a:buSzPct val="125000"/>
              <a:buFont typeface="Arial" charset="0"/>
              <a:buChar char="▪"/>
              <a:defRPr lang="x-none" sz="1400" baseline="0"/>
            </a:lvl2pPr>
            <a:lvl3pPr marL="457200" lvl="2" indent="-261938" defTabSz="895350" fontAlgn="base">
              <a:spcBef>
                <a:spcPct val="0"/>
              </a:spcBef>
              <a:spcAft>
                <a:spcPct val="0"/>
              </a:spcAft>
              <a:buClr>
                <a:schemeClr val="tx2"/>
              </a:buClr>
              <a:buSzPct val="120000"/>
              <a:buFont typeface="Arial" charset="0"/>
              <a:buChar char="–"/>
              <a:defRPr lang="x-none" sz="1400" baseline="0"/>
            </a:lvl3pPr>
            <a:lvl4pPr marL="614363" lvl="3" indent="-155575" defTabSz="895350" fontAlgn="base">
              <a:spcBef>
                <a:spcPct val="0"/>
              </a:spcBef>
              <a:spcAft>
                <a:spcPct val="0"/>
              </a:spcAft>
              <a:buClr>
                <a:schemeClr val="tx2"/>
              </a:buClr>
              <a:buSzPct val="120000"/>
              <a:buFont typeface="Arial" charset="0"/>
              <a:buChar char="▫"/>
              <a:defRPr lang="x-none" sz="1400" baseline="0"/>
            </a:lvl4pPr>
            <a:lvl5pPr marL="749808" lvl="4" indent="-130175" defTabSz="895350" fontAlgn="base">
              <a:spcBef>
                <a:spcPct val="0"/>
              </a:spcBef>
              <a:spcAft>
                <a:spcPct val="0"/>
              </a:spcAft>
              <a:buClr>
                <a:schemeClr val="tx2"/>
              </a:buClr>
              <a:buSzPct val="89000"/>
              <a:buFont typeface="Arial" charset="0"/>
              <a:buChar char="-"/>
              <a:defRPr lang="x-none" sz="1400" baseline="0"/>
            </a:lvl5pPr>
            <a:lvl6pPr marL="749808" indent="-130175" defTabSz="895350" fontAlgn="base">
              <a:spcBef>
                <a:spcPct val="0"/>
              </a:spcBef>
              <a:spcAft>
                <a:spcPct val="0"/>
              </a:spcAft>
              <a:buClr>
                <a:schemeClr val="tx2"/>
              </a:buClr>
              <a:buSzPct val="89000"/>
              <a:buFont typeface="Arial" charset="0"/>
              <a:buChar char="-"/>
              <a:defRPr lang="x-none" sz="1600" baseline="0"/>
            </a:lvl6pPr>
            <a:lvl7pPr marL="749808" indent="-130175" defTabSz="895350" fontAlgn="base">
              <a:spcBef>
                <a:spcPct val="0"/>
              </a:spcBef>
              <a:spcAft>
                <a:spcPct val="0"/>
              </a:spcAft>
              <a:buClr>
                <a:schemeClr val="tx2"/>
              </a:buClr>
              <a:buSzPct val="89000"/>
              <a:buFont typeface="Arial" charset="0"/>
              <a:buChar char="-"/>
              <a:defRPr lang="x-none" sz="1600" baseline="0"/>
            </a:lvl7pPr>
            <a:lvl8pPr marL="749808" indent="-130175" defTabSz="895350" fontAlgn="base">
              <a:spcBef>
                <a:spcPct val="0"/>
              </a:spcBef>
              <a:spcAft>
                <a:spcPct val="0"/>
              </a:spcAft>
              <a:buClr>
                <a:schemeClr val="tx2"/>
              </a:buClr>
              <a:buSzPct val="89000"/>
              <a:buFont typeface="Arial" charset="0"/>
              <a:buChar char="-"/>
              <a:defRPr lang="x-none" sz="1600" baseline="0"/>
            </a:lvl8pPr>
            <a:lvl9pPr marL="749808" indent="-130175" defTabSz="895350" fontAlgn="base">
              <a:spcBef>
                <a:spcPct val="0"/>
              </a:spcBef>
              <a:spcAft>
                <a:spcPct val="0"/>
              </a:spcAft>
              <a:buClr>
                <a:schemeClr val="tx2"/>
              </a:buClr>
              <a:buSzPct val="89000"/>
              <a:buFont typeface="Arial" charset="0"/>
              <a:buChar char="-"/>
              <a:defRPr lang="x-none" sz="1600" baseline="0"/>
            </a:lvl9pPr>
          </a:lstStyle>
          <a:p>
            <a:pPr>
              <a:buClr>
                <a:srgbClr val="002960"/>
              </a:buClr>
            </a:pPr>
            <a:r>
              <a:rPr lang="en-US" b="1" dirty="0">
                <a:solidFill>
                  <a:srgbClr val="FFFFFF"/>
                </a:solidFill>
                <a:latin typeface="Arial"/>
              </a:rPr>
              <a:t>TO Key Mandate</a:t>
            </a:r>
          </a:p>
        </p:txBody>
      </p:sp>
      <p:sp>
        <p:nvSpPr>
          <p:cNvPr id="72" name="TextBox 71">
            <a:extLst>
              <a:ext uri="{FF2B5EF4-FFF2-40B4-BE49-F238E27FC236}">
                <a16:creationId xmlns:a16="http://schemas.microsoft.com/office/drawing/2014/main" id="{B9356278-AB57-964B-A5FA-BC4CD4624A56}"/>
              </a:ext>
            </a:extLst>
          </p:cNvPr>
          <p:cNvSpPr txBox="1">
            <a:spLocks/>
          </p:cNvSpPr>
          <p:nvPr/>
        </p:nvSpPr>
        <p:spPr>
          <a:xfrm>
            <a:off x="492989" y="1435907"/>
            <a:ext cx="1911718" cy="5170646"/>
          </a:xfrm>
          <a:prstGeom prst="rect">
            <a:avLst/>
          </a:prstGeom>
        </p:spPr>
        <p:txBody>
          <a:bodyPr vert="horz" wrap="square" lIns="0" tIns="0" rIns="0" bIns="0" rtlCol="0" anchor="t" anchorCtr="0">
            <a:spAutoFit/>
          </a:bodyPr>
          <a:lstStyle>
            <a:lvl1pPr lvl="0" indent="0" defTabSz="895350" fontAlgn="base">
              <a:spcBef>
                <a:spcPct val="0"/>
              </a:spcBef>
              <a:spcAft>
                <a:spcPct val="0"/>
              </a:spcAft>
              <a:buClr>
                <a:schemeClr val="tx2"/>
              </a:buClr>
              <a:buSzPct val="100000"/>
              <a:defRPr lang="x-none" sz="1400" baseline="0"/>
            </a:lvl1pPr>
            <a:lvl2pPr marL="193675" lvl="1" indent="-192088" defTabSz="895350" fontAlgn="base">
              <a:spcBef>
                <a:spcPct val="0"/>
              </a:spcBef>
              <a:spcAft>
                <a:spcPct val="0"/>
              </a:spcAft>
              <a:buClr>
                <a:schemeClr val="tx2"/>
              </a:buClr>
              <a:buSzPct val="125000"/>
              <a:buFont typeface="Arial" charset="0"/>
              <a:buChar char="▪"/>
              <a:defRPr lang="x-none" sz="1400" baseline="0"/>
            </a:lvl2pPr>
            <a:lvl3pPr marL="457200" lvl="2" indent="-261938" defTabSz="895350" fontAlgn="base">
              <a:spcBef>
                <a:spcPct val="0"/>
              </a:spcBef>
              <a:spcAft>
                <a:spcPct val="0"/>
              </a:spcAft>
              <a:buClr>
                <a:schemeClr val="tx2"/>
              </a:buClr>
              <a:buSzPct val="120000"/>
              <a:buFont typeface="Arial" charset="0"/>
              <a:buChar char="–"/>
              <a:defRPr lang="x-none" sz="1400" baseline="0"/>
            </a:lvl3pPr>
            <a:lvl4pPr marL="614363" lvl="3" indent="-155575" defTabSz="895350" fontAlgn="base">
              <a:spcBef>
                <a:spcPct val="0"/>
              </a:spcBef>
              <a:spcAft>
                <a:spcPct val="0"/>
              </a:spcAft>
              <a:buClr>
                <a:schemeClr val="tx2"/>
              </a:buClr>
              <a:buSzPct val="120000"/>
              <a:buFont typeface="Arial" charset="0"/>
              <a:buChar char="▫"/>
              <a:defRPr lang="x-none" sz="1400" baseline="0"/>
            </a:lvl4pPr>
            <a:lvl5pPr marL="749808" lvl="4" indent="-130175" defTabSz="895350" fontAlgn="base">
              <a:spcBef>
                <a:spcPct val="0"/>
              </a:spcBef>
              <a:spcAft>
                <a:spcPct val="0"/>
              </a:spcAft>
              <a:buClr>
                <a:schemeClr val="tx2"/>
              </a:buClr>
              <a:buSzPct val="89000"/>
              <a:buFont typeface="Arial" charset="0"/>
              <a:buChar char="-"/>
              <a:defRPr lang="x-none" sz="1400" baseline="0"/>
            </a:lvl5pPr>
            <a:lvl6pPr marL="749808" indent="-130175" defTabSz="895350" fontAlgn="base">
              <a:spcBef>
                <a:spcPct val="0"/>
              </a:spcBef>
              <a:spcAft>
                <a:spcPct val="0"/>
              </a:spcAft>
              <a:buClr>
                <a:schemeClr val="tx2"/>
              </a:buClr>
              <a:buSzPct val="89000"/>
              <a:buFont typeface="Arial" charset="0"/>
              <a:buChar char="-"/>
              <a:defRPr lang="x-none" sz="1600" baseline="0"/>
            </a:lvl6pPr>
            <a:lvl7pPr marL="749808" indent="-130175" defTabSz="895350" fontAlgn="base">
              <a:spcBef>
                <a:spcPct val="0"/>
              </a:spcBef>
              <a:spcAft>
                <a:spcPct val="0"/>
              </a:spcAft>
              <a:buClr>
                <a:schemeClr val="tx2"/>
              </a:buClr>
              <a:buSzPct val="89000"/>
              <a:buFont typeface="Arial" charset="0"/>
              <a:buChar char="-"/>
              <a:defRPr lang="x-none" sz="1600" baseline="0"/>
            </a:lvl7pPr>
            <a:lvl8pPr marL="749808" indent="-130175" defTabSz="895350" fontAlgn="base">
              <a:spcBef>
                <a:spcPct val="0"/>
              </a:spcBef>
              <a:spcAft>
                <a:spcPct val="0"/>
              </a:spcAft>
              <a:buClr>
                <a:schemeClr val="tx2"/>
              </a:buClr>
              <a:buSzPct val="89000"/>
              <a:buFont typeface="Arial" charset="0"/>
              <a:buChar char="-"/>
              <a:defRPr lang="x-none" sz="1600" baseline="0"/>
            </a:lvl8pPr>
            <a:lvl9pPr marL="749808" indent="-130175" defTabSz="895350" fontAlgn="base">
              <a:spcBef>
                <a:spcPct val="0"/>
              </a:spcBef>
              <a:spcAft>
                <a:spcPct val="0"/>
              </a:spcAft>
              <a:buClr>
                <a:schemeClr val="tx2"/>
              </a:buClr>
              <a:buSzPct val="89000"/>
              <a:buFont typeface="Arial" charset="0"/>
              <a:buChar char="-"/>
              <a:defRPr lang="x-none" sz="1600" baseline="0"/>
            </a:lvl9pPr>
          </a:lstStyle>
          <a:p>
            <a:pPr lvl="1">
              <a:spcBef>
                <a:spcPct val="40000"/>
              </a:spcBef>
              <a:buClr>
                <a:srgbClr val="FFFFFF"/>
              </a:buClr>
            </a:pPr>
            <a:r>
              <a:rPr lang="en-US" b="1" dirty="0">
                <a:solidFill>
                  <a:srgbClr val="FFFFFF"/>
                </a:solidFill>
                <a:latin typeface="Arial"/>
              </a:rPr>
              <a:t>Develop Strategy </a:t>
            </a:r>
            <a:r>
              <a:rPr lang="en-US" dirty="0">
                <a:solidFill>
                  <a:srgbClr val="FFFFFF"/>
                </a:solidFill>
                <a:latin typeface="Arial"/>
              </a:rPr>
              <a:t>and</a:t>
            </a:r>
            <a:r>
              <a:rPr lang="en-US" b="1" dirty="0">
                <a:solidFill>
                  <a:srgbClr val="FFFFFF"/>
                </a:solidFill>
                <a:latin typeface="Arial"/>
              </a:rPr>
              <a:t> alignment </a:t>
            </a:r>
            <a:r>
              <a:rPr lang="en-US" dirty="0">
                <a:solidFill>
                  <a:srgbClr val="FFFFFF"/>
                </a:solidFill>
                <a:latin typeface="Arial"/>
              </a:rPr>
              <a:t>functions’ strategy with overall Bank strategy</a:t>
            </a:r>
          </a:p>
          <a:p>
            <a:pPr lvl="1">
              <a:spcBef>
                <a:spcPct val="40000"/>
              </a:spcBef>
              <a:buClr>
                <a:srgbClr val="FFFFFF"/>
              </a:buClr>
            </a:pPr>
            <a:r>
              <a:rPr lang="en-US" b="1" dirty="0">
                <a:solidFill>
                  <a:srgbClr val="FFFFFF"/>
                </a:solidFill>
                <a:latin typeface="Arial"/>
              </a:rPr>
              <a:t>Design TOM </a:t>
            </a:r>
            <a:r>
              <a:rPr lang="en-US" dirty="0">
                <a:solidFill>
                  <a:srgbClr val="FFFFFF"/>
                </a:solidFill>
                <a:latin typeface="Arial"/>
              </a:rPr>
              <a:t>and</a:t>
            </a:r>
            <a:r>
              <a:rPr lang="en-US" b="1" dirty="0">
                <a:solidFill>
                  <a:srgbClr val="FFFFFF"/>
                </a:solidFill>
                <a:latin typeface="Arial"/>
              </a:rPr>
              <a:t> drive change management</a:t>
            </a:r>
          </a:p>
          <a:p>
            <a:pPr lvl="1">
              <a:spcBef>
                <a:spcPct val="40000"/>
              </a:spcBef>
              <a:buClr>
                <a:srgbClr val="FFFFFF"/>
              </a:buClr>
            </a:pPr>
            <a:r>
              <a:rPr lang="en-US" b="1" dirty="0">
                <a:solidFill>
                  <a:srgbClr val="FFFFFF"/>
                </a:solidFill>
                <a:latin typeface="Arial"/>
              </a:rPr>
              <a:t>Develop Project Governance </a:t>
            </a:r>
            <a:r>
              <a:rPr lang="en-US" dirty="0">
                <a:solidFill>
                  <a:srgbClr val="FFFFFF"/>
                </a:solidFill>
                <a:latin typeface="Arial"/>
              </a:rPr>
              <a:t>and</a:t>
            </a:r>
            <a:r>
              <a:rPr lang="en-US" b="1" dirty="0">
                <a:solidFill>
                  <a:srgbClr val="FFFFFF"/>
                </a:solidFill>
                <a:latin typeface="Arial"/>
              </a:rPr>
              <a:t> implement </a:t>
            </a:r>
            <a:r>
              <a:rPr lang="en-US" dirty="0">
                <a:solidFill>
                  <a:srgbClr val="FFFFFF"/>
                </a:solidFill>
                <a:latin typeface="Arial"/>
              </a:rPr>
              <a:t>it across the</a:t>
            </a:r>
            <a:r>
              <a:rPr lang="en-US" b="1" dirty="0">
                <a:solidFill>
                  <a:srgbClr val="FFFFFF"/>
                </a:solidFill>
                <a:latin typeface="Arial"/>
              </a:rPr>
              <a:t> Bank  </a:t>
            </a:r>
          </a:p>
          <a:p>
            <a:pPr lvl="1">
              <a:spcBef>
                <a:spcPct val="40000"/>
              </a:spcBef>
              <a:buClr>
                <a:srgbClr val="FFFFFF"/>
              </a:buClr>
            </a:pPr>
            <a:r>
              <a:rPr lang="en-US" b="1" dirty="0">
                <a:solidFill>
                  <a:srgbClr val="FFFFFF"/>
                </a:solidFill>
                <a:latin typeface="Arial"/>
              </a:rPr>
              <a:t>Bind Bank Key Resources</a:t>
            </a:r>
            <a:r>
              <a:rPr lang="en-US" dirty="0">
                <a:solidFill>
                  <a:srgbClr val="FFFFFF"/>
                </a:solidFill>
                <a:latin typeface="Arial"/>
              </a:rPr>
              <a:t> and </a:t>
            </a:r>
            <a:r>
              <a:rPr lang="en-US" b="1" dirty="0">
                <a:solidFill>
                  <a:srgbClr val="FFFFFF"/>
                </a:solidFill>
                <a:latin typeface="Arial"/>
              </a:rPr>
              <a:t>Assets</a:t>
            </a:r>
            <a:r>
              <a:rPr lang="en-US" dirty="0">
                <a:solidFill>
                  <a:srgbClr val="FFFFFF"/>
                </a:solidFill>
                <a:latin typeface="Arial"/>
              </a:rPr>
              <a:t> together in </a:t>
            </a:r>
            <a:r>
              <a:rPr lang="en-US" b="1" dirty="0">
                <a:solidFill>
                  <a:srgbClr val="FFFFFF"/>
                </a:solidFill>
                <a:latin typeface="Arial"/>
              </a:rPr>
              <a:t>cross-functional </a:t>
            </a:r>
            <a:r>
              <a:rPr lang="en-US" dirty="0">
                <a:solidFill>
                  <a:srgbClr val="FFFFFF"/>
                </a:solidFill>
                <a:latin typeface="Arial"/>
              </a:rPr>
              <a:t>way to achieve goals</a:t>
            </a:r>
          </a:p>
          <a:p>
            <a:pPr lvl="1">
              <a:spcBef>
                <a:spcPct val="40000"/>
              </a:spcBef>
              <a:buClr>
                <a:srgbClr val="FFFFFF"/>
              </a:buClr>
            </a:pPr>
            <a:r>
              <a:rPr lang="en-US" b="1" dirty="0">
                <a:solidFill>
                  <a:srgbClr val="FFFFFF"/>
                </a:solidFill>
                <a:latin typeface="Arial"/>
              </a:rPr>
              <a:t>Initiatives assessment </a:t>
            </a:r>
            <a:r>
              <a:rPr lang="en-US" dirty="0">
                <a:solidFill>
                  <a:srgbClr val="FFFFFF"/>
                </a:solidFill>
                <a:latin typeface="Arial"/>
              </a:rPr>
              <a:t>from </a:t>
            </a:r>
            <a:r>
              <a:rPr lang="en-US" b="1" dirty="0">
                <a:solidFill>
                  <a:srgbClr val="FFFFFF"/>
                </a:solidFill>
                <a:latin typeface="Arial"/>
              </a:rPr>
              <a:t>various perspectives</a:t>
            </a:r>
          </a:p>
          <a:p>
            <a:pPr lvl="1">
              <a:spcBef>
                <a:spcPct val="40000"/>
              </a:spcBef>
              <a:buClr>
                <a:srgbClr val="FFFFFF"/>
              </a:buClr>
            </a:pPr>
            <a:endParaRPr lang="en-US" dirty="0">
              <a:solidFill>
                <a:srgbClr val="FFFFFF"/>
              </a:solidFill>
              <a:latin typeface="Arial"/>
            </a:endParaRPr>
          </a:p>
        </p:txBody>
      </p:sp>
      <p:grpSp>
        <p:nvGrpSpPr>
          <p:cNvPr id="92" name="Группа 91">
            <a:extLst>
              <a:ext uri="{FF2B5EF4-FFF2-40B4-BE49-F238E27FC236}">
                <a16:creationId xmlns:a16="http://schemas.microsoft.com/office/drawing/2014/main" id="{B6CD667F-CC15-A240-A5DD-00A3CF4E62A7}"/>
              </a:ext>
            </a:extLst>
          </p:cNvPr>
          <p:cNvGrpSpPr/>
          <p:nvPr/>
        </p:nvGrpSpPr>
        <p:grpSpPr>
          <a:xfrm>
            <a:off x="-3192083" y="50104"/>
            <a:ext cx="14254981" cy="7293488"/>
            <a:chOff x="-3477833" y="-92347"/>
            <a:chExt cx="14254981" cy="7293488"/>
          </a:xfrm>
        </p:grpSpPr>
        <p:grpSp>
          <p:nvGrpSpPr>
            <p:cNvPr id="93" name="Группа 92">
              <a:extLst>
                <a:ext uri="{FF2B5EF4-FFF2-40B4-BE49-F238E27FC236}">
                  <a16:creationId xmlns:a16="http://schemas.microsoft.com/office/drawing/2014/main" id="{33889F83-90AC-DB45-952F-1F332340C963}"/>
                </a:ext>
              </a:extLst>
            </p:cNvPr>
            <p:cNvGrpSpPr/>
            <p:nvPr/>
          </p:nvGrpSpPr>
          <p:grpSpPr>
            <a:xfrm>
              <a:off x="-3477833" y="-92347"/>
              <a:ext cx="14254981" cy="7293488"/>
              <a:chOff x="-3590821" y="458286"/>
              <a:chExt cx="14254981" cy="7293488"/>
            </a:xfrm>
          </p:grpSpPr>
          <p:grpSp>
            <p:nvGrpSpPr>
              <p:cNvPr id="102" name="Группа 101">
                <a:extLst>
                  <a:ext uri="{FF2B5EF4-FFF2-40B4-BE49-F238E27FC236}">
                    <a16:creationId xmlns:a16="http://schemas.microsoft.com/office/drawing/2014/main" id="{459EE21C-D533-0444-B506-9E1998769ABD}"/>
                  </a:ext>
                </a:extLst>
              </p:cNvPr>
              <p:cNvGrpSpPr/>
              <p:nvPr/>
            </p:nvGrpSpPr>
            <p:grpSpPr>
              <a:xfrm>
                <a:off x="-3590821" y="458286"/>
                <a:ext cx="14254981" cy="7293488"/>
                <a:chOff x="-5755506" y="61358"/>
                <a:chExt cx="14254981" cy="7293488"/>
              </a:xfrm>
            </p:grpSpPr>
            <p:sp>
              <p:nvSpPr>
                <p:cNvPr id="108" name="Прямоугольник 107">
                  <a:extLst>
                    <a:ext uri="{FF2B5EF4-FFF2-40B4-BE49-F238E27FC236}">
                      <a16:creationId xmlns:a16="http://schemas.microsoft.com/office/drawing/2014/main" id="{17FB7592-8C50-AA49-8F84-6D68A999476B}"/>
                    </a:ext>
                  </a:extLst>
                </p:cNvPr>
                <p:cNvSpPr/>
                <p:nvPr/>
              </p:nvSpPr>
              <p:spPr>
                <a:xfrm>
                  <a:off x="371475" y="998768"/>
                  <a:ext cx="8128000" cy="5418667"/>
                </a:xfrm>
                <a:prstGeom prst="rect">
                  <a:avLst/>
                </a:prstGeom>
                <a:noFill/>
              </p:spPr>
            </p:sp>
            <p:sp>
              <p:nvSpPr>
                <p:cNvPr id="109" name="Арка 108">
                  <a:extLst>
                    <a:ext uri="{FF2B5EF4-FFF2-40B4-BE49-F238E27FC236}">
                      <a16:creationId xmlns:a16="http://schemas.microsoft.com/office/drawing/2014/main" id="{7FD9F5EB-B2FF-5948-B2BC-6C888165A6A9}"/>
                    </a:ext>
                  </a:extLst>
                </p:cNvPr>
                <p:cNvSpPr/>
                <p:nvPr/>
              </p:nvSpPr>
              <p:spPr>
                <a:xfrm>
                  <a:off x="-5755506" y="61358"/>
                  <a:ext cx="7293488" cy="7293488"/>
                </a:xfrm>
                <a:prstGeom prst="blockArc">
                  <a:avLst>
                    <a:gd name="adj1" fmla="val 18900000"/>
                    <a:gd name="adj2" fmla="val 2700000"/>
                    <a:gd name="adj3" fmla="val 296"/>
                  </a:avLst>
                </a:prstGeom>
              </p:spPr>
              <p:style>
                <a:lnRef idx="2">
                  <a:schemeClr val="accent3">
                    <a:hueOff val="0"/>
                    <a:satOff val="0"/>
                    <a:lumOff val="0"/>
                    <a:alphaOff val="0"/>
                  </a:schemeClr>
                </a:lnRef>
                <a:fillRef idx="0">
                  <a:schemeClr val="accent2">
                    <a:tint val="90000"/>
                    <a:hueOff val="0"/>
                    <a:satOff val="0"/>
                    <a:lumOff val="0"/>
                    <a:alphaOff val="0"/>
                  </a:schemeClr>
                </a:fillRef>
                <a:effectRef idx="0">
                  <a:schemeClr val="accent2">
                    <a:tint val="90000"/>
                    <a:hueOff val="0"/>
                    <a:satOff val="0"/>
                    <a:lumOff val="0"/>
                    <a:alphaOff val="0"/>
                  </a:schemeClr>
                </a:effectRef>
                <a:fontRef idx="minor">
                  <a:schemeClr val="tx1">
                    <a:hueOff val="0"/>
                    <a:satOff val="0"/>
                    <a:lumOff val="0"/>
                    <a:alphaOff val="0"/>
                  </a:schemeClr>
                </a:fontRef>
              </p:style>
            </p:sp>
            <p:sp>
              <p:nvSpPr>
                <p:cNvPr id="110" name="Полилиния 109">
                  <a:extLst>
                    <a:ext uri="{FF2B5EF4-FFF2-40B4-BE49-F238E27FC236}">
                      <a16:creationId xmlns:a16="http://schemas.microsoft.com/office/drawing/2014/main" id="{0E2ECDCE-3657-424D-9069-9130CFD1593D}"/>
                    </a:ext>
                  </a:extLst>
                </p:cNvPr>
                <p:cNvSpPr/>
                <p:nvPr/>
              </p:nvSpPr>
              <p:spPr>
                <a:xfrm>
                  <a:off x="805873" y="1284115"/>
                  <a:ext cx="7617019" cy="570477"/>
                </a:xfrm>
                <a:custGeom>
                  <a:avLst/>
                  <a:gdLst>
                    <a:gd name="connsiteX0" fmla="*/ 0 w 7617019"/>
                    <a:gd name="connsiteY0" fmla="*/ 0 h 570477"/>
                    <a:gd name="connsiteX1" fmla="*/ 7617019 w 7617019"/>
                    <a:gd name="connsiteY1" fmla="*/ 0 h 570477"/>
                    <a:gd name="connsiteX2" fmla="*/ 7617019 w 7617019"/>
                    <a:gd name="connsiteY2" fmla="*/ 570477 h 570477"/>
                    <a:gd name="connsiteX3" fmla="*/ 0 w 7617019"/>
                    <a:gd name="connsiteY3" fmla="*/ 570477 h 570477"/>
                    <a:gd name="connsiteX4" fmla="*/ 0 w 7617019"/>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7019" h="570477">
                      <a:moveTo>
                        <a:pt x="0" y="0"/>
                      </a:moveTo>
                      <a:lnTo>
                        <a:pt x="7617019" y="0"/>
                      </a:lnTo>
                      <a:lnTo>
                        <a:pt x="7617019" y="570477"/>
                      </a:lnTo>
                      <a:lnTo>
                        <a:pt x="0" y="570477"/>
                      </a:lnTo>
                      <a:lnTo>
                        <a:pt x="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trategy Planning and Execution</a:t>
                  </a:r>
                  <a:endParaRPr lang="ru-RU" sz="2400" kern="1200" dirty="0">
                    <a:latin typeface="Arial" panose="020B0604020202020204" pitchFamily="34" charset="0"/>
                    <a:cs typeface="Arial" panose="020B0604020202020204" pitchFamily="34" charset="0"/>
                  </a:endParaRPr>
                </a:p>
              </p:txBody>
            </p:sp>
            <p:sp>
              <p:nvSpPr>
                <p:cNvPr id="111" name="Овал 110">
                  <a:extLst>
                    <a:ext uri="{FF2B5EF4-FFF2-40B4-BE49-F238E27FC236}">
                      <a16:creationId xmlns:a16="http://schemas.microsoft.com/office/drawing/2014/main" id="{FC26C738-19DF-9748-A9BD-905F5AB34502}"/>
                    </a:ext>
                  </a:extLst>
                </p:cNvPr>
                <p:cNvSpPr/>
                <p:nvPr/>
              </p:nvSpPr>
              <p:spPr>
                <a:xfrm>
                  <a:off x="449324" y="1212805"/>
                  <a:ext cx="713096" cy="713096"/>
                </a:xfrm>
                <a:prstGeom prst="ellipse">
                  <a:avLst/>
                </a:prstGeom>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2" name="Полилиния 111">
                  <a:extLst>
                    <a:ext uri="{FF2B5EF4-FFF2-40B4-BE49-F238E27FC236}">
                      <a16:creationId xmlns:a16="http://schemas.microsoft.com/office/drawing/2014/main" id="{19B80001-37EC-084A-9827-5B7952599381}"/>
                    </a:ext>
                  </a:extLst>
                </p:cNvPr>
                <p:cNvSpPr/>
                <p:nvPr/>
              </p:nvSpPr>
              <p:spPr>
                <a:xfrm>
                  <a:off x="1275129" y="2139722"/>
                  <a:ext cx="7147763" cy="570477"/>
                </a:xfrm>
                <a:custGeom>
                  <a:avLst/>
                  <a:gdLst>
                    <a:gd name="connsiteX0" fmla="*/ 0 w 7147763"/>
                    <a:gd name="connsiteY0" fmla="*/ 0 h 570477"/>
                    <a:gd name="connsiteX1" fmla="*/ 7147763 w 7147763"/>
                    <a:gd name="connsiteY1" fmla="*/ 0 h 570477"/>
                    <a:gd name="connsiteX2" fmla="*/ 7147763 w 7147763"/>
                    <a:gd name="connsiteY2" fmla="*/ 570477 h 570477"/>
                    <a:gd name="connsiteX3" fmla="*/ 0 w 7147763"/>
                    <a:gd name="connsiteY3" fmla="*/ 570477 h 570477"/>
                    <a:gd name="connsiteX4" fmla="*/ 0 w 7147763"/>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7763" h="570477">
                      <a:moveTo>
                        <a:pt x="0" y="0"/>
                      </a:moveTo>
                      <a:lnTo>
                        <a:pt x="7147763" y="0"/>
                      </a:lnTo>
                      <a:lnTo>
                        <a:pt x="7147763" y="570477"/>
                      </a:lnTo>
                      <a:lnTo>
                        <a:pt x="0" y="570477"/>
                      </a:lnTo>
                      <a:lnTo>
                        <a:pt x="0" y="0"/>
                      </a:lnTo>
                      <a:close/>
                    </a:path>
                  </a:pathLst>
                </a:custGeom>
              </p:spPr>
              <p:style>
                <a:lnRef idx="2">
                  <a:schemeClr val="lt1">
                    <a:hueOff val="0"/>
                    <a:satOff val="0"/>
                    <a:lumOff val="0"/>
                    <a:alphaOff val="0"/>
                  </a:schemeClr>
                </a:lnRef>
                <a:fillRef idx="1">
                  <a:schemeClr val="accent2">
                    <a:hueOff val="-291073"/>
                    <a:satOff val="-16786"/>
                    <a:lumOff val="1726"/>
                    <a:alphaOff val="0"/>
                  </a:schemeClr>
                </a:fillRef>
                <a:effectRef idx="0">
                  <a:schemeClr val="accent2">
                    <a:hueOff val="-291073"/>
                    <a:satOff val="-16786"/>
                    <a:lumOff val="1726"/>
                    <a:alphaOff val="0"/>
                  </a:schemeClr>
                </a:effectRef>
                <a:fontRef idx="minor">
                  <a:schemeClr val="lt1"/>
                </a:fontRef>
              </p:style>
              <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Operating Model Design</a:t>
                  </a:r>
                </a:p>
              </p:txBody>
            </p:sp>
            <p:sp>
              <p:nvSpPr>
                <p:cNvPr id="113" name="Овал 112">
                  <a:extLst>
                    <a:ext uri="{FF2B5EF4-FFF2-40B4-BE49-F238E27FC236}">
                      <a16:creationId xmlns:a16="http://schemas.microsoft.com/office/drawing/2014/main" id="{31F0B522-6BD4-6748-9502-0EC0E264D0F2}"/>
                    </a:ext>
                  </a:extLst>
                </p:cNvPr>
                <p:cNvSpPr/>
                <p:nvPr/>
              </p:nvSpPr>
              <p:spPr>
                <a:xfrm>
                  <a:off x="918581" y="2068412"/>
                  <a:ext cx="713096" cy="713096"/>
                </a:xfrm>
                <a:prstGeom prst="ellipse">
                  <a:avLst/>
                </a:prstGeom>
              </p:spPr>
              <p:style>
                <a:lnRef idx="2">
                  <a:schemeClr val="accent2">
                    <a:hueOff val="-291073"/>
                    <a:satOff val="-16786"/>
                    <a:lumOff val="1726"/>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4" name="Полилиния 113">
                  <a:extLst>
                    <a:ext uri="{FF2B5EF4-FFF2-40B4-BE49-F238E27FC236}">
                      <a16:creationId xmlns:a16="http://schemas.microsoft.com/office/drawing/2014/main" id="{23E56CF2-FB23-E841-802F-5373906F22C2}"/>
                    </a:ext>
                  </a:extLst>
                </p:cNvPr>
                <p:cNvSpPr/>
                <p:nvPr/>
              </p:nvSpPr>
              <p:spPr>
                <a:xfrm>
                  <a:off x="1489708" y="2995330"/>
                  <a:ext cx="6933183" cy="570477"/>
                </a:xfrm>
                <a:custGeom>
                  <a:avLst/>
                  <a:gdLst>
                    <a:gd name="connsiteX0" fmla="*/ 0 w 6933183"/>
                    <a:gd name="connsiteY0" fmla="*/ 0 h 570477"/>
                    <a:gd name="connsiteX1" fmla="*/ 6933183 w 6933183"/>
                    <a:gd name="connsiteY1" fmla="*/ 0 h 570477"/>
                    <a:gd name="connsiteX2" fmla="*/ 6933183 w 6933183"/>
                    <a:gd name="connsiteY2" fmla="*/ 570477 h 570477"/>
                    <a:gd name="connsiteX3" fmla="*/ 0 w 6933183"/>
                    <a:gd name="connsiteY3" fmla="*/ 570477 h 570477"/>
                    <a:gd name="connsiteX4" fmla="*/ 0 w 6933183"/>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3183" h="570477">
                      <a:moveTo>
                        <a:pt x="0" y="0"/>
                      </a:moveTo>
                      <a:lnTo>
                        <a:pt x="6933183" y="0"/>
                      </a:lnTo>
                      <a:lnTo>
                        <a:pt x="6933183" y="570477"/>
                      </a:lnTo>
                      <a:lnTo>
                        <a:pt x="0" y="570477"/>
                      </a:lnTo>
                      <a:lnTo>
                        <a:pt x="0" y="0"/>
                      </a:lnTo>
                      <a:close/>
                    </a:path>
                  </a:pathLst>
                </a:custGeom>
              </p:spPr>
              <p:style>
                <a:lnRef idx="2">
                  <a:schemeClr val="lt1">
                    <a:hueOff val="0"/>
                    <a:satOff val="0"/>
                    <a:lumOff val="0"/>
                    <a:alphaOff val="0"/>
                  </a:schemeClr>
                </a:lnRef>
                <a:fillRef idx="1">
                  <a:schemeClr val="accent2">
                    <a:hueOff val="-582145"/>
                    <a:satOff val="-33571"/>
                    <a:lumOff val="3451"/>
                    <a:alphaOff val="0"/>
                  </a:schemeClr>
                </a:fillRef>
                <a:effectRef idx="0">
                  <a:schemeClr val="accent2">
                    <a:hueOff val="-582145"/>
                    <a:satOff val="-33571"/>
                    <a:lumOff val="3451"/>
                    <a:alphaOff val="0"/>
                  </a:schemeClr>
                </a:effectRef>
                <a:fontRef idx="minor">
                  <a:schemeClr val="lt1"/>
                </a:fontRef>
              </p:style>
              <p:txBody>
                <a:bodyPr spcFirstLastPara="0" vert="horz" wrap="square" lIns="452816"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Projects Management (On Hold)</a:t>
                  </a:r>
                  <a:endParaRPr lang="ru-RU" sz="2400" kern="1200" dirty="0">
                    <a:latin typeface="Arial" panose="020B0604020202020204" pitchFamily="34" charset="0"/>
                    <a:cs typeface="Arial" panose="020B0604020202020204" pitchFamily="34" charset="0"/>
                  </a:endParaRPr>
                </a:p>
              </p:txBody>
            </p:sp>
            <p:sp>
              <p:nvSpPr>
                <p:cNvPr id="115" name="Овал 114">
                  <a:extLst>
                    <a:ext uri="{FF2B5EF4-FFF2-40B4-BE49-F238E27FC236}">
                      <a16:creationId xmlns:a16="http://schemas.microsoft.com/office/drawing/2014/main" id="{46AC2862-0085-3848-9263-356703D13074}"/>
                    </a:ext>
                  </a:extLst>
                </p:cNvPr>
                <p:cNvSpPr/>
                <p:nvPr/>
              </p:nvSpPr>
              <p:spPr>
                <a:xfrm>
                  <a:off x="1133160" y="2924020"/>
                  <a:ext cx="713096" cy="713096"/>
                </a:xfrm>
                <a:prstGeom prst="ellipse">
                  <a:avLst/>
                </a:prstGeom>
              </p:spPr>
              <p:style>
                <a:lnRef idx="2">
                  <a:schemeClr val="accent2">
                    <a:hueOff val="-582145"/>
                    <a:satOff val="-33571"/>
                    <a:lumOff val="3451"/>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6" name="Полилиния 115">
                  <a:extLst>
                    <a:ext uri="{FF2B5EF4-FFF2-40B4-BE49-F238E27FC236}">
                      <a16:creationId xmlns:a16="http://schemas.microsoft.com/office/drawing/2014/main" id="{112ECB9E-0E3A-FB41-BAD4-D3C7C2D41B6B}"/>
                    </a:ext>
                  </a:extLst>
                </p:cNvPr>
                <p:cNvSpPr/>
                <p:nvPr/>
              </p:nvSpPr>
              <p:spPr>
                <a:xfrm>
                  <a:off x="1489708" y="3850395"/>
                  <a:ext cx="6933183" cy="570477"/>
                </a:xfrm>
                <a:custGeom>
                  <a:avLst/>
                  <a:gdLst>
                    <a:gd name="connsiteX0" fmla="*/ 0 w 6933183"/>
                    <a:gd name="connsiteY0" fmla="*/ 0 h 570477"/>
                    <a:gd name="connsiteX1" fmla="*/ 6933183 w 6933183"/>
                    <a:gd name="connsiteY1" fmla="*/ 0 h 570477"/>
                    <a:gd name="connsiteX2" fmla="*/ 6933183 w 6933183"/>
                    <a:gd name="connsiteY2" fmla="*/ 570477 h 570477"/>
                    <a:gd name="connsiteX3" fmla="*/ 0 w 6933183"/>
                    <a:gd name="connsiteY3" fmla="*/ 570477 h 570477"/>
                    <a:gd name="connsiteX4" fmla="*/ 0 w 6933183"/>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3183" h="570477">
                      <a:moveTo>
                        <a:pt x="0" y="0"/>
                      </a:moveTo>
                      <a:lnTo>
                        <a:pt x="6933183" y="0"/>
                      </a:lnTo>
                      <a:lnTo>
                        <a:pt x="6933183" y="570477"/>
                      </a:lnTo>
                      <a:lnTo>
                        <a:pt x="0" y="570477"/>
                      </a:lnTo>
                      <a:lnTo>
                        <a:pt x="0" y="0"/>
                      </a:lnTo>
                      <a:close/>
                    </a:path>
                  </a:pathLst>
                </a:custGeom>
              </p:spPr>
              <p:style>
                <a:lnRef idx="2">
                  <a:schemeClr val="lt1">
                    <a:hueOff val="0"/>
                    <a:satOff val="0"/>
                    <a:lumOff val="0"/>
                    <a:alphaOff val="0"/>
                  </a:schemeClr>
                </a:lnRef>
                <a:fillRef idx="1">
                  <a:schemeClr val="accent2">
                    <a:hueOff val="-873218"/>
                    <a:satOff val="-50357"/>
                    <a:lumOff val="5177"/>
                    <a:alphaOff val="0"/>
                  </a:schemeClr>
                </a:fillRef>
                <a:effectRef idx="0">
                  <a:schemeClr val="accent2">
                    <a:hueOff val="-873218"/>
                    <a:satOff val="-50357"/>
                    <a:lumOff val="5177"/>
                    <a:alphaOff val="0"/>
                  </a:schemeClr>
                </a:effectRef>
                <a:fontRef idx="minor">
                  <a:schemeClr val="lt1"/>
                </a:fontRef>
              </p:style>
              <p:txBody>
                <a:bodyPr spcFirstLastPara="0" vert="horz" wrap="square" lIns="452816" tIns="60960" rIns="60960" bIns="60960" numCol="1" spcCol="1270" anchor="ctr" anchorCtr="0">
                  <a:noAutofit/>
                </a:bodyPr>
                <a:lstStyle/>
                <a:p>
                  <a:pPr lvl="0" defTabSz="1066800">
                    <a:lnSpc>
                      <a:spcPct val="90000"/>
                    </a:lnSpc>
                    <a:spcBef>
                      <a:spcPct val="0"/>
                    </a:spcBef>
                    <a:spcAft>
                      <a:spcPct val="35000"/>
                    </a:spcAft>
                  </a:pPr>
                  <a:r>
                    <a:rPr lang="en-US" sz="2400" kern="1200" dirty="0">
                      <a:latin typeface="Arial" panose="020B0604020202020204" pitchFamily="34" charset="0"/>
                      <a:cs typeface="Arial" panose="020B0604020202020204" pitchFamily="34" charset="0"/>
                    </a:rPr>
                    <a:t>Process </a:t>
                  </a:r>
                  <a:r>
                    <a:rPr lang="en-US" sz="2400" dirty="0">
                      <a:latin typeface="Arial" panose="020B0604020202020204" pitchFamily="34" charset="0"/>
                      <a:cs typeface="Arial" panose="020B0604020202020204" pitchFamily="34" charset="0"/>
                    </a:rPr>
                    <a:t>Management (On Hold)</a:t>
                  </a:r>
                  <a:endParaRPr lang="ru-RU" sz="2400" kern="1200" dirty="0">
                    <a:latin typeface="Arial" panose="020B0604020202020204" pitchFamily="34" charset="0"/>
                    <a:cs typeface="Arial" panose="020B0604020202020204" pitchFamily="34" charset="0"/>
                  </a:endParaRPr>
                </a:p>
              </p:txBody>
            </p:sp>
            <p:sp>
              <p:nvSpPr>
                <p:cNvPr id="117" name="Овал 116">
                  <a:extLst>
                    <a:ext uri="{FF2B5EF4-FFF2-40B4-BE49-F238E27FC236}">
                      <a16:creationId xmlns:a16="http://schemas.microsoft.com/office/drawing/2014/main" id="{088310FB-B498-CD45-B1BB-85AEDE544CC2}"/>
                    </a:ext>
                  </a:extLst>
                </p:cNvPr>
                <p:cNvSpPr/>
                <p:nvPr/>
              </p:nvSpPr>
              <p:spPr>
                <a:xfrm>
                  <a:off x="1133160" y="3779086"/>
                  <a:ext cx="713096" cy="713096"/>
                </a:xfrm>
                <a:prstGeom prst="ellipse">
                  <a:avLst/>
                </a:prstGeom>
              </p:spPr>
              <p:style>
                <a:lnRef idx="2">
                  <a:schemeClr val="accent2">
                    <a:hueOff val="-873218"/>
                    <a:satOff val="-50357"/>
                    <a:lumOff val="5177"/>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8" name="Полилиния 117">
                  <a:extLst>
                    <a:ext uri="{FF2B5EF4-FFF2-40B4-BE49-F238E27FC236}">
                      <a16:creationId xmlns:a16="http://schemas.microsoft.com/office/drawing/2014/main" id="{1A6FF2C0-FCB2-0240-A895-1CA31AA51C96}"/>
                    </a:ext>
                  </a:extLst>
                </p:cNvPr>
                <p:cNvSpPr/>
                <p:nvPr/>
              </p:nvSpPr>
              <p:spPr>
                <a:xfrm>
                  <a:off x="1275129" y="4706003"/>
                  <a:ext cx="7147763" cy="570477"/>
                </a:xfrm>
                <a:custGeom>
                  <a:avLst/>
                  <a:gdLst>
                    <a:gd name="connsiteX0" fmla="*/ 0 w 7147763"/>
                    <a:gd name="connsiteY0" fmla="*/ 0 h 570477"/>
                    <a:gd name="connsiteX1" fmla="*/ 7147763 w 7147763"/>
                    <a:gd name="connsiteY1" fmla="*/ 0 h 570477"/>
                    <a:gd name="connsiteX2" fmla="*/ 7147763 w 7147763"/>
                    <a:gd name="connsiteY2" fmla="*/ 570477 h 570477"/>
                    <a:gd name="connsiteX3" fmla="*/ 0 w 7147763"/>
                    <a:gd name="connsiteY3" fmla="*/ 570477 h 570477"/>
                    <a:gd name="connsiteX4" fmla="*/ 0 w 7147763"/>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7763" h="570477">
                      <a:moveTo>
                        <a:pt x="0" y="0"/>
                      </a:moveTo>
                      <a:lnTo>
                        <a:pt x="7147763" y="0"/>
                      </a:lnTo>
                      <a:lnTo>
                        <a:pt x="7147763" y="570477"/>
                      </a:lnTo>
                      <a:lnTo>
                        <a:pt x="0" y="570477"/>
                      </a:lnTo>
                      <a:lnTo>
                        <a:pt x="0" y="0"/>
                      </a:lnTo>
                      <a:close/>
                    </a:path>
                  </a:pathLst>
                </a:custGeom>
              </p:spPr>
              <p:style>
                <a:lnRef idx="2">
                  <a:schemeClr val="lt1">
                    <a:hueOff val="0"/>
                    <a:satOff val="0"/>
                    <a:lumOff val="0"/>
                    <a:alphaOff val="0"/>
                  </a:schemeClr>
                </a:lnRef>
                <a:fillRef idx="1">
                  <a:schemeClr val="accent2">
                    <a:hueOff val="-1164290"/>
                    <a:satOff val="-67142"/>
                    <a:lumOff val="6902"/>
                    <a:alphaOff val="0"/>
                  </a:schemeClr>
                </a:fillRef>
                <a:effectRef idx="0">
                  <a:schemeClr val="accent2">
                    <a:hueOff val="-1164290"/>
                    <a:satOff val="-67142"/>
                    <a:lumOff val="6902"/>
                    <a:alphaOff val="0"/>
                  </a:schemeClr>
                </a:effectRef>
                <a:fontRef idx="minor">
                  <a:schemeClr val="lt1"/>
                </a:fontRef>
              </p:style>
              <p:txBody>
                <a:bodyPr spcFirstLastPara="0" vert="horz" wrap="square" lIns="452816" tIns="60960" rIns="60960" bIns="60960" numCol="1" spcCol="1270" anchor="ctr" anchorCtr="0">
                  <a:noAutofit/>
                </a:bodyPr>
                <a:lstStyle/>
                <a:p>
                  <a:pPr lvl="0" defTabSz="1066800">
                    <a:lnSpc>
                      <a:spcPct val="90000"/>
                    </a:lnSpc>
                    <a:spcBef>
                      <a:spcPct val="0"/>
                    </a:spcBef>
                    <a:spcAft>
                      <a:spcPct val="35000"/>
                    </a:spcAft>
                  </a:pPr>
                  <a:r>
                    <a:rPr lang="en-US" sz="2400" kern="1200" dirty="0">
                      <a:latin typeface="Arial" panose="020B0604020202020204" pitchFamily="34" charset="0"/>
                      <a:cs typeface="Arial" panose="020B0604020202020204" pitchFamily="34" charset="0"/>
                    </a:rPr>
                    <a:t>Customer Journey </a:t>
                  </a:r>
                  <a:r>
                    <a:rPr lang="en-US" sz="2400" dirty="0">
                      <a:latin typeface="Arial" panose="020B0604020202020204" pitchFamily="34" charset="0"/>
                      <a:cs typeface="Arial" panose="020B0604020202020204" pitchFamily="34" charset="0"/>
                    </a:rPr>
                    <a:t>Mapping (On Hold)</a:t>
                  </a:r>
                  <a:endParaRPr lang="en-US" sz="2400" kern="1200" dirty="0">
                    <a:latin typeface="Arial" panose="020B0604020202020204" pitchFamily="34" charset="0"/>
                    <a:cs typeface="Arial" panose="020B0604020202020204" pitchFamily="34" charset="0"/>
                  </a:endParaRPr>
                </a:p>
              </p:txBody>
            </p:sp>
            <p:sp>
              <p:nvSpPr>
                <p:cNvPr id="119" name="Овал 118">
                  <a:extLst>
                    <a:ext uri="{FF2B5EF4-FFF2-40B4-BE49-F238E27FC236}">
                      <a16:creationId xmlns:a16="http://schemas.microsoft.com/office/drawing/2014/main" id="{21FA4688-8DFC-924E-90A8-B3D671BC5E23}"/>
                    </a:ext>
                  </a:extLst>
                </p:cNvPr>
                <p:cNvSpPr/>
                <p:nvPr/>
              </p:nvSpPr>
              <p:spPr>
                <a:xfrm>
                  <a:off x="918581" y="4634693"/>
                  <a:ext cx="713096" cy="713096"/>
                </a:xfrm>
                <a:prstGeom prst="ellipse">
                  <a:avLst/>
                </a:prstGeom>
              </p:spPr>
              <p:style>
                <a:lnRef idx="2">
                  <a:schemeClr val="accent2">
                    <a:hueOff val="-1164290"/>
                    <a:satOff val="-67142"/>
                    <a:lumOff val="6902"/>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0" name="Полилиния 119">
                  <a:extLst>
                    <a:ext uri="{FF2B5EF4-FFF2-40B4-BE49-F238E27FC236}">
                      <a16:creationId xmlns:a16="http://schemas.microsoft.com/office/drawing/2014/main" id="{9FC812FC-4C50-CC4E-A9F4-CD42C805D6E8}"/>
                    </a:ext>
                  </a:extLst>
                </p:cNvPr>
                <p:cNvSpPr/>
                <p:nvPr/>
              </p:nvSpPr>
              <p:spPr>
                <a:xfrm>
                  <a:off x="805873" y="5561610"/>
                  <a:ext cx="7617019" cy="570477"/>
                </a:xfrm>
                <a:custGeom>
                  <a:avLst/>
                  <a:gdLst>
                    <a:gd name="connsiteX0" fmla="*/ 0 w 7617019"/>
                    <a:gd name="connsiteY0" fmla="*/ 0 h 570477"/>
                    <a:gd name="connsiteX1" fmla="*/ 7617019 w 7617019"/>
                    <a:gd name="connsiteY1" fmla="*/ 0 h 570477"/>
                    <a:gd name="connsiteX2" fmla="*/ 7617019 w 7617019"/>
                    <a:gd name="connsiteY2" fmla="*/ 570477 h 570477"/>
                    <a:gd name="connsiteX3" fmla="*/ 0 w 7617019"/>
                    <a:gd name="connsiteY3" fmla="*/ 570477 h 570477"/>
                    <a:gd name="connsiteX4" fmla="*/ 0 w 7617019"/>
                    <a:gd name="connsiteY4" fmla="*/ 0 h 57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7019" h="570477">
                      <a:moveTo>
                        <a:pt x="0" y="0"/>
                      </a:moveTo>
                      <a:lnTo>
                        <a:pt x="7617019" y="0"/>
                      </a:lnTo>
                      <a:lnTo>
                        <a:pt x="7617019" y="570477"/>
                      </a:lnTo>
                      <a:lnTo>
                        <a:pt x="0" y="570477"/>
                      </a:lnTo>
                      <a:lnTo>
                        <a:pt x="0" y="0"/>
                      </a:lnTo>
                      <a:close/>
                    </a:path>
                  </a:pathLst>
                </a:custGeom>
              </p:spPr>
              <p:style>
                <a:lnRef idx="2">
                  <a:schemeClr val="lt1">
                    <a:hueOff val="0"/>
                    <a:satOff val="0"/>
                    <a:lumOff val="0"/>
                    <a:alphaOff val="0"/>
                  </a:schemeClr>
                </a:lnRef>
                <a:fillRef idx="1">
                  <a:schemeClr val="accent2">
                    <a:hueOff val="-1455363"/>
                    <a:satOff val="-83928"/>
                    <a:lumOff val="8628"/>
                    <a:alphaOff val="0"/>
                  </a:schemeClr>
                </a:fillRef>
                <a:effectRef idx="0">
                  <a:schemeClr val="accent2">
                    <a:hueOff val="-1455363"/>
                    <a:satOff val="-83928"/>
                    <a:lumOff val="8628"/>
                    <a:alphaOff val="0"/>
                  </a:schemeClr>
                </a:effectRef>
                <a:fontRef idx="minor">
                  <a:schemeClr val="lt1"/>
                </a:fontRef>
              </p:style>
              <p:txBody>
                <a:bodyPr spcFirstLastPara="0" vert="horz" wrap="square" lIns="452816" tIns="60960" rIns="60960" bIns="60960" numCol="1" spcCol="1270" anchor="ctr" anchorCtr="0">
                  <a:noAutofit/>
                </a:bodyPr>
                <a:lstStyle/>
                <a:p>
                  <a:pPr lvl="0" defTabSz="1066800">
                    <a:lnSpc>
                      <a:spcPct val="90000"/>
                    </a:lnSpc>
                    <a:spcBef>
                      <a:spcPct val="0"/>
                    </a:spcBef>
                    <a:spcAft>
                      <a:spcPct val="35000"/>
                    </a:spcAft>
                  </a:pPr>
                  <a:r>
                    <a:rPr lang="en-US" sz="2400" kern="1200" dirty="0">
                      <a:latin typeface="Arial" panose="020B0604020202020204" pitchFamily="34" charset="0"/>
                      <a:cs typeface="Arial" panose="020B0604020202020204" pitchFamily="34" charset="0"/>
                    </a:rPr>
                    <a:t>Innovation and </a:t>
                  </a:r>
                  <a:r>
                    <a:rPr lang="en-US" sz="2400" dirty="0">
                      <a:latin typeface="Arial" panose="020B0604020202020204" pitchFamily="34" charset="0"/>
                      <a:cs typeface="Arial" panose="020B0604020202020204" pitchFamily="34" charset="0"/>
                    </a:rPr>
                    <a:t>Incubation (On Hold)</a:t>
                  </a:r>
                  <a:endParaRPr lang="ru-RU" sz="2400" kern="1200" dirty="0">
                    <a:latin typeface="Arial" panose="020B0604020202020204" pitchFamily="34" charset="0"/>
                    <a:cs typeface="Arial" panose="020B0604020202020204" pitchFamily="34" charset="0"/>
                  </a:endParaRPr>
                </a:p>
              </p:txBody>
            </p:sp>
            <p:sp>
              <p:nvSpPr>
                <p:cNvPr id="121" name="Овал 120">
                  <a:extLst>
                    <a:ext uri="{FF2B5EF4-FFF2-40B4-BE49-F238E27FC236}">
                      <a16:creationId xmlns:a16="http://schemas.microsoft.com/office/drawing/2014/main" id="{0A841E4F-D8DF-D748-861D-87800CA6267F}"/>
                    </a:ext>
                  </a:extLst>
                </p:cNvPr>
                <p:cNvSpPr/>
                <p:nvPr/>
              </p:nvSpPr>
              <p:spPr>
                <a:xfrm>
                  <a:off x="449324" y="5490301"/>
                  <a:ext cx="713096" cy="713096"/>
                </a:xfrm>
                <a:prstGeom prst="ellipse">
                  <a:avLst/>
                </a:prstGeom>
              </p:spPr>
              <p:style>
                <a:lnRef idx="2">
                  <a:schemeClr val="accent2">
                    <a:hueOff val="-1455363"/>
                    <a:satOff val="-83928"/>
                    <a:lumOff val="8628"/>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103" name="Group 766">
                <a:extLst>
                  <a:ext uri="{FF2B5EF4-FFF2-40B4-BE49-F238E27FC236}">
                    <a16:creationId xmlns:a16="http://schemas.microsoft.com/office/drawing/2014/main" id="{F752B8F8-43F4-AF47-90D1-E9DCD1C03F44}"/>
                  </a:ext>
                </a:extLst>
              </p:cNvPr>
              <p:cNvGrpSpPr>
                <a:grpSpLocks noChangeAspect="1"/>
              </p:cNvGrpSpPr>
              <p:nvPr/>
            </p:nvGrpSpPr>
            <p:grpSpPr bwMode="auto">
              <a:xfrm>
                <a:off x="2776750" y="1770540"/>
                <a:ext cx="408647" cy="349571"/>
                <a:chOff x="198" y="2642"/>
                <a:chExt cx="1923" cy="1645"/>
              </a:xfrm>
              <a:solidFill>
                <a:schemeClr val="bg1"/>
              </a:solidFill>
            </p:grpSpPr>
            <p:sp>
              <p:nvSpPr>
                <p:cNvPr id="104" name="Freeform 768">
                  <a:extLst>
                    <a:ext uri="{FF2B5EF4-FFF2-40B4-BE49-F238E27FC236}">
                      <a16:creationId xmlns:a16="http://schemas.microsoft.com/office/drawing/2014/main" id="{8075A0CA-C0DE-7A45-84B1-61B4AF41857F}"/>
                    </a:ext>
                  </a:extLst>
                </p:cNvPr>
                <p:cNvSpPr>
                  <a:spLocks/>
                </p:cNvSpPr>
                <p:nvPr/>
              </p:nvSpPr>
              <p:spPr bwMode="auto">
                <a:xfrm>
                  <a:off x="198" y="3638"/>
                  <a:ext cx="290" cy="625"/>
                </a:xfrm>
                <a:custGeom>
                  <a:avLst/>
                  <a:gdLst>
                    <a:gd name="T0" fmla="*/ 88 w 580"/>
                    <a:gd name="T1" fmla="*/ 0 h 1250"/>
                    <a:gd name="T2" fmla="*/ 493 w 580"/>
                    <a:gd name="T3" fmla="*/ 0 h 1250"/>
                    <a:gd name="T4" fmla="*/ 516 w 580"/>
                    <a:gd name="T5" fmla="*/ 3 h 1250"/>
                    <a:gd name="T6" fmla="*/ 537 w 580"/>
                    <a:gd name="T7" fmla="*/ 11 h 1250"/>
                    <a:gd name="T8" fmla="*/ 555 w 580"/>
                    <a:gd name="T9" fmla="*/ 25 h 1250"/>
                    <a:gd name="T10" fmla="*/ 568 w 580"/>
                    <a:gd name="T11" fmla="*/ 43 h 1250"/>
                    <a:gd name="T12" fmla="*/ 577 w 580"/>
                    <a:gd name="T13" fmla="*/ 64 h 1250"/>
                    <a:gd name="T14" fmla="*/ 580 w 580"/>
                    <a:gd name="T15" fmla="*/ 87 h 1250"/>
                    <a:gd name="T16" fmla="*/ 580 w 580"/>
                    <a:gd name="T17" fmla="*/ 1163 h 1250"/>
                    <a:gd name="T18" fmla="*/ 577 w 580"/>
                    <a:gd name="T19" fmla="*/ 1186 h 1250"/>
                    <a:gd name="T20" fmla="*/ 568 w 580"/>
                    <a:gd name="T21" fmla="*/ 1207 h 1250"/>
                    <a:gd name="T22" fmla="*/ 555 w 580"/>
                    <a:gd name="T23" fmla="*/ 1224 h 1250"/>
                    <a:gd name="T24" fmla="*/ 537 w 580"/>
                    <a:gd name="T25" fmla="*/ 1238 h 1250"/>
                    <a:gd name="T26" fmla="*/ 516 w 580"/>
                    <a:gd name="T27" fmla="*/ 1247 h 1250"/>
                    <a:gd name="T28" fmla="*/ 493 w 580"/>
                    <a:gd name="T29" fmla="*/ 1250 h 1250"/>
                    <a:gd name="T30" fmla="*/ 88 w 580"/>
                    <a:gd name="T31" fmla="*/ 1250 h 1250"/>
                    <a:gd name="T32" fmla="*/ 64 w 580"/>
                    <a:gd name="T33" fmla="*/ 1247 h 1250"/>
                    <a:gd name="T34" fmla="*/ 43 w 580"/>
                    <a:gd name="T35" fmla="*/ 1238 h 1250"/>
                    <a:gd name="T36" fmla="*/ 26 w 580"/>
                    <a:gd name="T37" fmla="*/ 1224 h 1250"/>
                    <a:gd name="T38" fmla="*/ 12 w 580"/>
                    <a:gd name="T39" fmla="*/ 1207 h 1250"/>
                    <a:gd name="T40" fmla="*/ 4 w 580"/>
                    <a:gd name="T41" fmla="*/ 1186 h 1250"/>
                    <a:gd name="T42" fmla="*/ 0 w 580"/>
                    <a:gd name="T43" fmla="*/ 1163 h 1250"/>
                    <a:gd name="T44" fmla="*/ 0 w 580"/>
                    <a:gd name="T45" fmla="*/ 87 h 1250"/>
                    <a:gd name="T46" fmla="*/ 4 w 580"/>
                    <a:gd name="T47" fmla="*/ 64 h 1250"/>
                    <a:gd name="T48" fmla="*/ 12 w 580"/>
                    <a:gd name="T49" fmla="*/ 43 h 1250"/>
                    <a:gd name="T50" fmla="*/ 26 w 580"/>
                    <a:gd name="T51" fmla="*/ 25 h 1250"/>
                    <a:gd name="T52" fmla="*/ 43 w 580"/>
                    <a:gd name="T53" fmla="*/ 11 h 1250"/>
                    <a:gd name="T54" fmla="*/ 64 w 580"/>
                    <a:gd name="T55" fmla="*/ 3 h 1250"/>
                    <a:gd name="T56" fmla="*/ 88 w 580"/>
                    <a:gd name="T5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1250">
                      <a:moveTo>
                        <a:pt x="88" y="0"/>
                      </a:moveTo>
                      <a:lnTo>
                        <a:pt x="493" y="0"/>
                      </a:lnTo>
                      <a:lnTo>
                        <a:pt x="516" y="3"/>
                      </a:lnTo>
                      <a:lnTo>
                        <a:pt x="537" y="11"/>
                      </a:lnTo>
                      <a:lnTo>
                        <a:pt x="555" y="25"/>
                      </a:lnTo>
                      <a:lnTo>
                        <a:pt x="568" y="43"/>
                      </a:lnTo>
                      <a:lnTo>
                        <a:pt x="577" y="64"/>
                      </a:lnTo>
                      <a:lnTo>
                        <a:pt x="580" y="87"/>
                      </a:lnTo>
                      <a:lnTo>
                        <a:pt x="580" y="1163"/>
                      </a:lnTo>
                      <a:lnTo>
                        <a:pt x="577" y="1186"/>
                      </a:lnTo>
                      <a:lnTo>
                        <a:pt x="568" y="1207"/>
                      </a:lnTo>
                      <a:lnTo>
                        <a:pt x="555" y="1224"/>
                      </a:lnTo>
                      <a:lnTo>
                        <a:pt x="537" y="1238"/>
                      </a:lnTo>
                      <a:lnTo>
                        <a:pt x="516" y="1247"/>
                      </a:lnTo>
                      <a:lnTo>
                        <a:pt x="493" y="1250"/>
                      </a:lnTo>
                      <a:lnTo>
                        <a:pt x="88" y="1250"/>
                      </a:lnTo>
                      <a:lnTo>
                        <a:pt x="64" y="1247"/>
                      </a:lnTo>
                      <a:lnTo>
                        <a:pt x="43" y="1238"/>
                      </a:lnTo>
                      <a:lnTo>
                        <a:pt x="26" y="1224"/>
                      </a:lnTo>
                      <a:lnTo>
                        <a:pt x="12" y="1207"/>
                      </a:lnTo>
                      <a:lnTo>
                        <a:pt x="4" y="1186"/>
                      </a:lnTo>
                      <a:lnTo>
                        <a:pt x="0" y="1163"/>
                      </a:lnTo>
                      <a:lnTo>
                        <a:pt x="0" y="87"/>
                      </a:lnTo>
                      <a:lnTo>
                        <a:pt x="4" y="64"/>
                      </a:lnTo>
                      <a:lnTo>
                        <a:pt x="12" y="43"/>
                      </a:lnTo>
                      <a:lnTo>
                        <a:pt x="26" y="25"/>
                      </a:lnTo>
                      <a:lnTo>
                        <a:pt x="43" y="11"/>
                      </a:lnTo>
                      <a:lnTo>
                        <a:pt x="64" y="3"/>
                      </a:lnTo>
                      <a:lnTo>
                        <a:pt x="88"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sp>
              <p:nvSpPr>
                <p:cNvPr id="105" name="Freeform 769">
                  <a:extLst>
                    <a:ext uri="{FF2B5EF4-FFF2-40B4-BE49-F238E27FC236}">
                      <a16:creationId xmlns:a16="http://schemas.microsoft.com/office/drawing/2014/main" id="{E60A0AAF-0A70-2841-A530-CEC3E84F62DA}"/>
                    </a:ext>
                  </a:extLst>
                </p:cNvPr>
                <p:cNvSpPr>
                  <a:spLocks/>
                </p:cNvSpPr>
                <p:nvPr/>
              </p:nvSpPr>
              <p:spPr bwMode="auto">
                <a:xfrm>
                  <a:off x="608" y="3396"/>
                  <a:ext cx="290" cy="867"/>
                </a:xfrm>
                <a:custGeom>
                  <a:avLst/>
                  <a:gdLst>
                    <a:gd name="T0" fmla="*/ 86 w 579"/>
                    <a:gd name="T1" fmla="*/ 0 h 1734"/>
                    <a:gd name="T2" fmla="*/ 493 w 579"/>
                    <a:gd name="T3" fmla="*/ 0 h 1734"/>
                    <a:gd name="T4" fmla="*/ 515 w 579"/>
                    <a:gd name="T5" fmla="*/ 3 h 1734"/>
                    <a:gd name="T6" fmla="*/ 536 w 579"/>
                    <a:gd name="T7" fmla="*/ 11 h 1734"/>
                    <a:gd name="T8" fmla="*/ 553 w 579"/>
                    <a:gd name="T9" fmla="*/ 25 h 1734"/>
                    <a:gd name="T10" fmla="*/ 567 w 579"/>
                    <a:gd name="T11" fmla="*/ 43 h 1734"/>
                    <a:gd name="T12" fmla="*/ 577 w 579"/>
                    <a:gd name="T13" fmla="*/ 64 h 1734"/>
                    <a:gd name="T14" fmla="*/ 579 w 579"/>
                    <a:gd name="T15" fmla="*/ 87 h 1734"/>
                    <a:gd name="T16" fmla="*/ 579 w 579"/>
                    <a:gd name="T17" fmla="*/ 1647 h 1734"/>
                    <a:gd name="T18" fmla="*/ 577 w 579"/>
                    <a:gd name="T19" fmla="*/ 1670 h 1734"/>
                    <a:gd name="T20" fmla="*/ 567 w 579"/>
                    <a:gd name="T21" fmla="*/ 1691 h 1734"/>
                    <a:gd name="T22" fmla="*/ 553 w 579"/>
                    <a:gd name="T23" fmla="*/ 1708 h 1734"/>
                    <a:gd name="T24" fmla="*/ 536 w 579"/>
                    <a:gd name="T25" fmla="*/ 1722 h 1734"/>
                    <a:gd name="T26" fmla="*/ 515 w 579"/>
                    <a:gd name="T27" fmla="*/ 1731 h 1734"/>
                    <a:gd name="T28" fmla="*/ 493 w 579"/>
                    <a:gd name="T29" fmla="*/ 1734 h 1734"/>
                    <a:gd name="T30" fmla="*/ 86 w 579"/>
                    <a:gd name="T31" fmla="*/ 1734 h 1734"/>
                    <a:gd name="T32" fmla="*/ 63 w 579"/>
                    <a:gd name="T33" fmla="*/ 1731 h 1734"/>
                    <a:gd name="T34" fmla="*/ 43 w 579"/>
                    <a:gd name="T35" fmla="*/ 1722 h 1734"/>
                    <a:gd name="T36" fmla="*/ 26 w 579"/>
                    <a:gd name="T37" fmla="*/ 1708 h 1734"/>
                    <a:gd name="T38" fmla="*/ 12 w 579"/>
                    <a:gd name="T39" fmla="*/ 1691 h 1734"/>
                    <a:gd name="T40" fmla="*/ 2 w 579"/>
                    <a:gd name="T41" fmla="*/ 1670 h 1734"/>
                    <a:gd name="T42" fmla="*/ 0 w 579"/>
                    <a:gd name="T43" fmla="*/ 1647 h 1734"/>
                    <a:gd name="T44" fmla="*/ 0 w 579"/>
                    <a:gd name="T45" fmla="*/ 87 h 1734"/>
                    <a:gd name="T46" fmla="*/ 2 w 579"/>
                    <a:gd name="T47" fmla="*/ 64 h 1734"/>
                    <a:gd name="T48" fmla="*/ 12 w 579"/>
                    <a:gd name="T49" fmla="*/ 43 h 1734"/>
                    <a:gd name="T50" fmla="*/ 26 w 579"/>
                    <a:gd name="T51" fmla="*/ 25 h 1734"/>
                    <a:gd name="T52" fmla="*/ 43 w 579"/>
                    <a:gd name="T53" fmla="*/ 11 h 1734"/>
                    <a:gd name="T54" fmla="*/ 63 w 579"/>
                    <a:gd name="T55" fmla="*/ 3 h 1734"/>
                    <a:gd name="T56" fmla="*/ 86 w 579"/>
                    <a:gd name="T5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9" h="1734">
                      <a:moveTo>
                        <a:pt x="86" y="0"/>
                      </a:moveTo>
                      <a:lnTo>
                        <a:pt x="493" y="0"/>
                      </a:lnTo>
                      <a:lnTo>
                        <a:pt x="515" y="3"/>
                      </a:lnTo>
                      <a:lnTo>
                        <a:pt x="536" y="11"/>
                      </a:lnTo>
                      <a:lnTo>
                        <a:pt x="553" y="25"/>
                      </a:lnTo>
                      <a:lnTo>
                        <a:pt x="567" y="43"/>
                      </a:lnTo>
                      <a:lnTo>
                        <a:pt x="577" y="64"/>
                      </a:lnTo>
                      <a:lnTo>
                        <a:pt x="579" y="87"/>
                      </a:lnTo>
                      <a:lnTo>
                        <a:pt x="579" y="1647"/>
                      </a:lnTo>
                      <a:lnTo>
                        <a:pt x="577" y="1670"/>
                      </a:lnTo>
                      <a:lnTo>
                        <a:pt x="567" y="1691"/>
                      </a:lnTo>
                      <a:lnTo>
                        <a:pt x="553" y="1708"/>
                      </a:lnTo>
                      <a:lnTo>
                        <a:pt x="536" y="1722"/>
                      </a:lnTo>
                      <a:lnTo>
                        <a:pt x="515" y="1731"/>
                      </a:lnTo>
                      <a:lnTo>
                        <a:pt x="493" y="1734"/>
                      </a:lnTo>
                      <a:lnTo>
                        <a:pt x="86" y="1734"/>
                      </a:lnTo>
                      <a:lnTo>
                        <a:pt x="63" y="1731"/>
                      </a:lnTo>
                      <a:lnTo>
                        <a:pt x="43" y="1722"/>
                      </a:lnTo>
                      <a:lnTo>
                        <a:pt x="26" y="1708"/>
                      </a:lnTo>
                      <a:lnTo>
                        <a:pt x="12" y="1691"/>
                      </a:lnTo>
                      <a:lnTo>
                        <a:pt x="2" y="1670"/>
                      </a:lnTo>
                      <a:lnTo>
                        <a:pt x="0" y="1647"/>
                      </a:lnTo>
                      <a:lnTo>
                        <a:pt x="0" y="87"/>
                      </a:lnTo>
                      <a:lnTo>
                        <a:pt x="2" y="64"/>
                      </a:lnTo>
                      <a:lnTo>
                        <a:pt x="12" y="43"/>
                      </a:lnTo>
                      <a:lnTo>
                        <a:pt x="26" y="25"/>
                      </a:lnTo>
                      <a:lnTo>
                        <a:pt x="43" y="11"/>
                      </a:lnTo>
                      <a:lnTo>
                        <a:pt x="63" y="3"/>
                      </a:lnTo>
                      <a:lnTo>
                        <a:pt x="86"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sp>
              <p:nvSpPr>
                <p:cNvPr id="106" name="Freeform 770">
                  <a:extLst>
                    <a:ext uri="{FF2B5EF4-FFF2-40B4-BE49-F238E27FC236}">
                      <a16:creationId xmlns:a16="http://schemas.microsoft.com/office/drawing/2014/main" id="{B3792C6D-43B2-F344-8B6C-F7508B6B2AF8}"/>
                    </a:ext>
                  </a:extLst>
                </p:cNvPr>
                <p:cNvSpPr>
                  <a:spLocks/>
                </p:cNvSpPr>
                <p:nvPr/>
              </p:nvSpPr>
              <p:spPr bwMode="auto">
                <a:xfrm>
                  <a:off x="844" y="2642"/>
                  <a:ext cx="636" cy="1621"/>
                </a:xfrm>
                <a:custGeom>
                  <a:avLst/>
                  <a:gdLst>
                    <a:gd name="T0" fmla="*/ 636 w 1273"/>
                    <a:gd name="T1" fmla="*/ 0 h 3242"/>
                    <a:gd name="T2" fmla="*/ 653 w 1273"/>
                    <a:gd name="T3" fmla="*/ 1 h 3242"/>
                    <a:gd name="T4" fmla="*/ 668 w 1273"/>
                    <a:gd name="T5" fmla="*/ 7 h 3242"/>
                    <a:gd name="T6" fmla="*/ 682 w 1273"/>
                    <a:gd name="T7" fmla="*/ 18 h 3242"/>
                    <a:gd name="T8" fmla="*/ 692 w 1273"/>
                    <a:gd name="T9" fmla="*/ 30 h 3242"/>
                    <a:gd name="T10" fmla="*/ 1262 w 1273"/>
                    <a:gd name="T11" fmla="*/ 946 h 3242"/>
                    <a:gd name="T12" fmla="*/ 1270 w 1273"/>
                    <a:gd name="T13" fmla="*/ 962 h 3242"/>
                    <a:gd name="T14" fmla="*/ 1273 w 1273"/>
                    <a:gd name="T15" fmla="*/ 980 h 3242"/>
                    <a:gd name="T16" fmla="*/ 1270 w 1273"/>
                    <a:gd name="T17" fmla="*/ 996 h 3242"/>
                    <a:gd name="T18" fmla="*/ 1264 w 1273"/>
                    <a:gd name="T19" fmla="*/ 1012 h 3242"/>
                    <a:gd name="T20" fmla="*/ 1254 w 1273"/>
                    <a:gd name="T21" fmla="*/ 1025 h 3242"/>
                    <a:gd name="T22" fmla="*/ 1241 w 1273"/>
                    <a:gd name="T23" fmla="*/ 1037 h 3242"/>
                    <a:gd name="T24" fmla="*/ 1225 w 1273"/>
                    <a:gd name="T25" fmla="*/ 1044 h 3242"/>
                    <a:gd name="T26" fmla="*/ 1207 w 1273"/>
                    <a:gd name="T27" fmla="*/ 1046 h 3242"/>
                    <a:gd name="T28" fmla="*/ 927 w 1273"/>
                    <a:gd name="T29" fmla="*/ 1046 h 3242"/>
                    <a:gd name="T30" fmla="*/ 927 w 1273"/>
                    <a:gd name="T31" fmla="*/ 1766 h 3242"/>
                    <a:gd name="T32" fmla="*/ 874 w 1273"/>
                    <a:gd name="T33" fmla="*/ 1830 h 3242"/>
                    <a:gd name="T34" fmla="*/ 828 w 1273"/>
                    <a:gd name="T35" fmla="*/ 1898 h 3242"/>
                    <a:gd name="T36" fmla="*/ 786 w 1273"/>
                    <a:gd name="T37" fmla="*/ 1970 h 3242"/>
                    <a:gd name="T38" fmla="*/ 749 w 1273"/>
                    <a:gd name="T39" fmla="*/ 2044 h 3242"/>
                    <a:gd name="T40" fmla="*/ 720 w 1273"/>
                    <a:gd name="T41" fmla="*/ 2122 h 3242"/>
                    <a:gd name="T42" fmla="*/ 696 w 1273"/>
                    <a:gd name="T43" fmla="*/ 2204 h 3242"/>
                    <a:gd name="T44" fmla="*/ 678 w 1273"/>
                    <a:gd name="T45" fmla="*/ 2287 h 3242"/>
                    <a:gd name="T46" fmla="*/ 668 w 1273"/>
                    <a:gd name="T47" fmla="*/ 2373 h 3242"/>
                    <a:gd name="T48" fmla="*/ 664 w 1273"/>
                    <a:gd name="T49" fmla="*/ 2460 h 3242"/>
                    <a:gd name="T50" fmla="*/ 668 w 1273"/>
                    <a:gd name="T51" fmla="*/ 2548 h 3242"/>
                    <a:gd name="T52" fmla="*/ 678 w 1273"/>
                    <a:gd name="T53" fmla="*/ 2634 h 3242"/>
                    <a:gd name="T54" fmla="*/ 696 w 1273"/>
                    <a:gd name="T55" fmla="*/ 2718 h 3242"/>
                    <a:gd name="T56" fmla="*/ 720 w 1273"/>
                    <a:gd name="T57" fmla="*/ 2799 h 3242"/>
                    <a:gd name="T58" fmla="*/ 749 w 1273"/>
                    <a:gd name="T59" fmla="*/ 2877 h 3242"/>
                    <a:gd name="T60" fmla="*/ 786 w 1273"/>
                    <a:gd name="T61" fmla="*/ 2953 h 3242"/>
                    <a:gd name="T62" fmla="*/ 828 w 1273"/>
                    <a:gd name="T63" fmla="*/ 3024 h 3242"/>
                    <a:gd name="T64" fmla="*/ 874 w 1273"/>
                    <a:gd name="T65" fmla="*/ 3091 h 3242"/>
                    <a:gd name="T66" fmla="*/ 926 w 1273"/>
                    <a:gd name="T67" fmla="*/ 3155 h 3242"/>
                    <a:gd name="T68" fmla="*/ 923 w 1273"/>
                    <a:gd name="T69" fmla="*/ 3179 h 3242"/>
                    <a:gd name="T70" fmla="*/ 914 w 1273"/>
                    <a:gd name="T71" fmla="*/ 3199 h 3242"/>
                    <a:gd name="T72" fmla="*/ 900 w 1273"/>
                    <a:gd name="T73" fmla="*/ 3216 h 3242"/>
                    <a:gd name="T74" fmla="*/ 883 w 1273"/>
                    <a:gd name="T75" fmla="*/ 3230 h 3242"/>
                    <a:gd name="T76" fmla="*/ 862 w 1273"/>
                    <a:gd name="T77" fmla="*/ 3239 h 3242"/>
                    <a:gd name="T78" fmla="*/ 839 w 1273"/>
                    <a:gd name="T79" fmla="*/ 3242 h 3242"/>
                    <a:gd name="T80" fmla="*/ 433 w 1273"/>
                    <a:gd name="T81" fmla="*/ 3242 h 3242"/>
                    <a:gd name="T82" fmla="*/ 410 w 1273"/>
                    <a:gd name="T83" fmla="*/ 3239 h 3242"/>
                    <a:gd name="T84" fmla="*/ 390 w 1273"/>
                    <a:gd name="T85" fmla="*/ 3230 h 3242"/>
                    <a:gd name="T86" fmla="*/ 371 w 1273"/>
                    <a:gd name="T87" fmla="*/ 3216 h 3242"/>
                    <a:gd name="T88" fmla="*/ 358 w 1273"/>
                    <a:gd name="T89" fmla="*/ 3199 h 3242"/>
                    <a:gd name="T90" fmla="*/ 349 w 1273"/>
                    <a:gd name="T91" fmla="*/ 3178 h 3242"/>
                    <a:gd name="T92" fmla="*/ 347 w 1273"/>
                    <a:gd name="T93" fmla="*/ 3155 h 3242"/>
                    <a:gd name="T94" fmla="*/ 347 w 1273"/>
                    <a:gd name="T95" fmla="*/ 1046 h 3242"/>
                    <a:gd name="T96" fmla="*/ 66 w 1273"/>
                    <a:gd name="T97" fmla="*/ 1046 h 3242"/>
                    <a:gd name="T98" fmla="*/ 48 w 1273"/>
                    <a:gd name="T99" fmla="*/ 1044 h 3242"/>
                    <a:gd name="T100" fmla="*/ 31 w 1273"/>
                    <a:gd name="T101" fmla="*/ 1037 h 3242"/>
                    <a:gd name="T102" fmla="*/ 18 w 1273"/>
                    <a:gd name="T103" fmla="*/ 1025 h 3242"/>
                    <a:gd name="T104" fmla="*/ 9 w 1273"/>
                    <a:gd name="T105" fmla="*/ 1012 h 3242"/>
                    <a:gd name="T106" fmla="*/ 2 w 1273"/>
                    <a:gd name="T107" fmla="*/ 996 h 3242"/>
                    <a:gd name="T108" fmla="*/ 0 w 1273"/>
                    <a:gd name="T109" fmla="*/ 980 h 3242"/>
                    <a:gd name="T110" fmla="*/ 3 w 1273"/>
                    <a:gd name="T111" fmla="*/ 962 h 3242"/>
                    <a:gd name="T112" fmla="*/ 10 w 1273"/>
                    <a:gd name="T113" fmla="*/ 946 h 3242"/>
                    <a:gd name="T114" fmla="*/ 580 w 1273"/>
                    <a:gd name="T115" fmla="*/ 30 h 3242"/>
                    <a:gd name="T116" fmla="*/ 592 w 1273"/>
                    <a:gd name="T117" fmla="*/ 18 h 3242"/>
                    <a:gd name="T118" fmla="*/ 605 w 1273"/>
                    <a:gd name="T119" fmla="*/ 7 h 3242"/>
                    <a:gd name="T120" fmla="*/ 620 w 1273"/>
                    <a:gd name="T121" fmla="*/ 1 h 3242"/>
                    <a:gd name="T122" fmla="*/ 636 w 1273"/>
                    <a:gd name="T123" fmla="*/ 0 h 3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3" h="3242">
                      <a:moveTo>
                        <a:pt x="636" y="0"/>
                      </a:moveTo>
                      <a:lnTo>
                        <a:pt x="653" y="1"/>
                      </a:lnTo>
                      <a:lnTo>
                        <a:pt x="668" y="7"/>
                      </a:lnTo>
                      <a:lnTo>
                        <a:pt x="682" y="18"/>
                      </a:lnTo>
                      <a:lnTo>
                        <a:pt x="692" y="30"/>
                      </a:lnTo>
                      <a:lnTo>
                        <a:pt x="1262" y="946"/>
                      </a:lnTo>
                      <a:lnTo>
                        <a:pt x="1270" y="962"/>
                      </a:lnTo>
                      <a:lnTo>
                        <a:pt x="1273" y="980"/>
                      </a:lnTo>
                      <a:lnTo>
                        <a:pt x="1270" y="996"/>
                      </a:lnTo>
                      <a:lnTo>
                        <a:pt x="1264" y="1012"/>
                      </a:lnTo>
                      <a:lnTo>
                        <a:pt x="1254" y="1025"/>
                      </a:lnTo>
                      <a:lnTo>
                        <a:pt x="1241" y="1037"/>
                      </a:lnTo>
                      <a:lnTo>
                        <a:pt x="1225" y="1044"/>
                      </a:lnTo>
                      <a:lnTo>
                        <a:pt x="1207" y="1046"/>
                      </a:lnTo>
                      <a:lnTo>
                        <a:pt x="927" y="1046"/>
                      </a:lnTo>
                      <a:lnTo>
                        <a:pt x="927" y="1766"/>
                      </a:lnTo>
                      <a:lnTo>
                        <a:pt x="874" y="1830"/>
                      </a:lnTo>
                      <a:lnTo>
                        <a:pt x="828" y="1898"/>
                      </a:lnTo>
                      <a:lnTo>
                        <a:pt x="786" y="1970"/>
                      </a:lnTo>
                      <a:lnTo>
                        <a:pt x="749" y="2044"/>
                      </a:lnTo>
                      <a:lnTo>
                        <a:pt x="720" y="2122"/>
                      </a:lnTo>
                      <a:lnTo>
                        <a:pt x="696" y="2204"/>
                      </a:lnTo>
                      <a:lnTo>
                        <a:pt x="678" y="2287"/>
                      </a:lnTo>
                      <a:lnTo>
                        <a:pt x="668" y="2373"/>
                      </a:lnTo>
                      <a:lnTo>
                        <a:pt x="664" y="2460"/>
                      </a:lnTo>
                      <a:lnTo>
                        <a:pt x="668" y="2548"/>
                      </a:lnTo>
                      <a:lnTo>
                        <a:pt x="678" y="2634"/>
                      </a:lnTo>
                      <a:lnTo>
                        <a:pt x="696" y="2718"/>
                      </a:lnTo>
                      <a:lnTo>
                        <a:pt x="720" y="2799"/>
                      </a:lnTo>
                      <a:lnTo>
                        <a:pt x="749" y="2877"/>
                      </a:lnTo>
                      <a:lnTo>
                        <a:pt x="786" y="2953"/>
                      </a:lnTo>
                      <a:lnTo>
                        <a:pt x="828" y="3024"/>
                      </a:lnTo>
                      <a:lnTo>
                        <a:pt x="874" y="3091"/>
                      </a:lnTo>
                      <a:lnTo>
                        <a:pt x="926" y="3155"/>
                      </a:lnTo>
                      <a:lnTo>
                        <a:pt x="923" y="3179"/>
                      </a:lnTo>
                      <a:lnTo>
                        <a:pt x="914" y="3199"/>
                      </a:lnTo>
                      <a:lnTo>
                        <a:pt x="900" y="3216"/>
                      </a:lnTo>
                      <a:lnTo>
                        <a:pt x="883" y="3230"/>
                      </a:lnTo>
                      <a:lnTo>
                        <a:pt x="862" y="3239"/>
                      </a:lnTo>
                      <a:lnTo>
                        <a:pt x="839" y="3242"/>
                      </a:lnTo>
                      <a:lnTo>
                        <a:pt x="433" y="3242"/>
                      </a:lnTo>
                      <a:lnTo>
                        <a:pt x="410" y="3239"/>
                      </a:lnTo>
                      <a:lnTo>
                        <a:pt x="390" y="3230"/>
                      </a:lnTo>
                      <a:lnTo>
                        <a:pt x="371" y="3216"/>
                      </a:lnTo>
                      <a:lnTo>
                        <a:pt x="358" y="3199"/>
                      </a:lnTo>
                      <a:lnTo>
                        <a:pt x="349" y="3178"/>
                      </a:lnTo>
                      <a:lnTo>
                        <a:pt x="347" y="3155"/>
                      </a:lnTo>
                      <a:lnTo>
                        <a:pt x="347" y="1046"/>
                      </a:lnTo>
                      <a:lnTo>
                        <a:pt x="66" y="1046"/>
                      </a:lnTo>
                      <a:lnTo>
                        <a:pt x="48" y="1044"/>
                      </a:lnTo>
                      <a:lnTo>
                        <a:pt x="31" y="1037"/>
                      </a:lnTo>
                      <a:lnTo>
                        <a:pt x="18" y="1025"/>
                      </a:lnTo>
                      <a:lnTo>
                        <a:pt x="9" y="1012"/>
                      </a:lnTo>
                      <a:lnTo>
                        <a:pt x="2" y="996"/>
                      </a:lnTo>
                      <a:lnTo>
                        <a:pt x="0" y="980"/>
                      </a:lnTo>
                      <a:lnTo>
                        <a:pt x="3" y="962"/>
                      </a:lnTo>
                      <a:lnTo>
                        <a:pt x="10" y="946"/>
                      </a:lnTo>
                      <a:lnTo>
                        <a:pt x="580" y="30"/>
                      </a:lnTo>
                      <a:lnTo>
                        <a:pt x="592" y="18"/>
                      </a:lnTo>
                      <a:lnTo>
                        <a:pt x="605" y="7"/>
                      </a:lnTo>
                      <a:lnTo>
                        <a:pt x="620" y="1"/>
                      </a:lnTo>
                      <a:lnTo>
                        <a:pt x="636"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sp>
              <p:nvSpPr>
                <p:cNvPr id="107" name="Freeform 771">
                  <a:extLst>
                    <a:ext uri="{FF2B5EF4-FFF2-40B4-BE49-F238E27FC236}">
                      <a16:creationId xmlns:a16="http://schemas.microsoft.com/office/drawing/2014/main" id="{63CFDB45-4D10-4741-A085-9C5E554BD241}"/>
                    </a:ext>
                  </a:extLst>
                </p:cNvPr>
                <p:cNvSpPr>
                  <a:spLocks noEditPoints="1"/>
                </p:cNvSpPr>
                <p:nvPr/>
              </p:nvSpPr>
              <p:spPr bwMode="auto">
                <a:xfrm>
                  <a:off x="1291" y="3458"/>
                  <a:ext cx="830" cy="829"/>
                </a:xfrm>
                <a:custGeom>
                  <a:avLst/>
                  <a:gdLst>
                    <a:gd name="T0" fmla="*/ 766 w 1661"/>
                    <a:gd name="T1" fmla="*/ 276 h 1659"/>
                    <a:gd name="T2" fmla="*/ 762 w 1661"/>
                    <a:gd name="T3" fmla="*/ 365 h 1659"/>
                    <a:gd name="T4" fmla="*/ 746 w 1661"/>
                    <a:gd name="T5" fmla="*/ 398 h 1659"/>
                    <a:gd name="T6" fmla="*/ 655 w 1661"/>
                    <a:gd name="T7" fmla="*/ 439 h 1659"/>
                    <a:gd name="T8" fmla="*/ 569 w 1661"/>
                    <a:gd name="T9" fmla="*/ 530 h 1659"/>
                    <a:gd name="T10" fmla="*/ 544 w 1661"/>
                    <a:gd name="T11" fmla="*/ 665 h 1659"/>
                    <a:gd name="T12" fmla="*/ 595 w 1661"/>
                    <a:gd name="T13" fmla="*/ 782 h 1659"/>
                    <a:gd name="T14" fmla="*/ 710 w 1661"/>
                    <a:gd name="T15" fmla="*/ 866 h 1659"/>
                    <a:gd name="T16" fmla="*/ 862 w 1661"/>
                    <a:gd name="T17" fmla="*/ 932 h 1659"/>
                    <a:gd name="T18" fmla="*/ 923 w 1661"/>
                    <a:gd name="T19" fmla="*/ 1007 h 1659"/>
                    <a:gd name="T20" fmla="*/ 891 w 1661"/>
                    <a:gd name="T21" fmla="*/ 1078 h 1659"/>
                    <a:gd name="T22" fmla="*/ 769 w 1661"/>
                    <a:gd name="T23" fmla="*/ 1103 h 1659"/>
                    <a:gd name="T24" fmla="*/ 612 w 1661"/>
                    <a:gd name="T25" fmla="*/ 1057 h 1659"/>
                    <a:gd name="T26" fmla="*/ 575 w 1661"/>
                    <a:gd name="T27" fmla="*/ 1055 h 1659"/>
                    <a:gd name="T28" fmla="*/ 542 w 1661"/>
                    <a:gd name="T29" fmla="*/ 1158 h 1659"/>
                    <a:gd name="T30" fmla="*/ 544 w 1661"/>
                    <a:gd name="T31" fmla="*/ 1205 h 1659"/>
                    <a:gd name="T32" fmla="*/ 662 w 1661"/>
                    <a:gd name="T33" fmla="*/ 1252 h 1659"/>
                    <a:gd name="T34" fmla="*/ 745 w 1661"/>
                    <a:gd name="T35" fmla="*/ 1271 h 1659"/>
                    <a:gd name="T36" fmla="*/ 752 w 1661"/>
                    <a:gd name="T37" fmla="*/ 1336 h 1659"/>
                    <a:gd name="T38" fmla="*/ 771 w 1661"/>
                    <a:gd name="T39" fmla="*/ 1395 h 1659"/>
                    <a:gd name="T40" fmla="*/ 880 w 1661"/>
                    <a:gd name="T41" fmla="*/ 1395 h 1659"/>
                    <a:gd name="T42" fmla="*/ 898 w 1661"/>
                    <a:gd name="T43" fmla="*/ 1326 h 1659"/>
                    <a:gd name="T44" fmla="*/ 908 w 1661"/>
                    <a:gd name="T45" fmla="*/ 1257 h 1659"/>
                    <a:gd name="T46" fmla="*/ 1007 w 1661"/>
                    <a:gd name="T47" fmla="*/ 1212 h 1659"/>
                    <a:gd name="T48" fmla="*/ 1108 w 1661"/>
                    <a:gd name="T49" fmla="*/ 1092 h 1659"/>
                    <a:gd name="T50" fmla="*/ 1120 w 1661"/>
                    <a:gd name="T51" fmla="*/ 952 h 1659"/>
                    <a:gd name="T52" fmla="*/ 1051 w 1661"/>
                    <a:gd name="T53" fmla="*/ 826 h 1659"/>
                    <a:gd name="T54" fmla="*/ 897 w 1661"/>
                    <a:gd name="T55" fmla="*/ 736 h 1659"/>
                    <a:gd name="T56" fmla="*/ 773 w 1661"/>
                    <a:gd name="T57" fmla="*/ 674 h 1659"/>
                    <a:gd name="T58" fmla="*/ 745 w 1661"/>
                    <a:gd name="T59" fmla="*/ 610 h 1659"/>
                    <a:gd name="T60" fmla="*/ 790 w 1661"/>
                    <a:gd name="T61" fmla="*/ 557 h 1659"/>
                    <a:gd name="T62" fmla="*/ 926 w 1661"/>
                    <a:gd name="T63" fmla="*/ 553 h 1659"/>
                    <a:gd name="T64" fmla="*/ 1038 w 1661"/>
                    <a:gd name="T65" fmla="*/ 588 h 1659"/>
                    <a:gd name="T66" fmla="*/ 1072 w 1661"/>
                    <a:gd name="T67" fmla="*/ 516 h 1659"/>
                    <a:gd name="T68" fmla="*/ 1078 w 1661"/>
                    <a:gd name="T69" fmla="*/ 433 h 1659"/>
                    <a:gd name="T70" fmla="*/ 954 w 1661"/>
                    <a:gd name="T71" fmla="*/ 393 h 1659"/>
                    <a:gd name="T72" fmla="*/ 908 w 1661"/>
                    <a:gd name="T73" fmla="*/ 377 h 1659"/>
                    <a:gd name="T74" fmla="*/ 904 w 1661"/>
                    <a:gd name="T75" fmla="*/ 308 h 1659"/>
                    <a:gd name="T76" fmla="*/ 878 w 1661"/>
                    <a:gd name="T77" fmla="*/ 265 h 1659"/>
                    <a:gd name="T78" fmla="*/ 830 w 1661"/>
                    <a:gd name="T79" fmla="*/ 0 h 1659"/>
                    <a:gd name="T80" fmla="*/ 1120 w 1661"/>
                    <a:gd name="T81" fmla="*/ 53 h 1659"/>
                    <a:gd name="T82" fmla="*/ 1365 w 1661"/>
                    <a:gd name="T83" fmla="*/ 195 h 1659"/>
                    <a:gd name="T84" fmla="*/ 1548 w 1661"/>
                    <a:gd name="T85" fmla="*/ 411 h 1659"/>
                    <a:gd name="T86" fmla="*/ 1648 w 1661"/>
                    <a:gd name="T87" fmla="*/ 680 h 1659"/>
                    <a:gd name="T88" fmla="*/ 1648 w 1661"/>
                    <a:gd name="T89" fmla="*/ 979 h 1659"/>
                    <a:gd name="T90" fmla="*/ 1548 w 1661"/>
                    <a:gd name="T91" fmla="*/ 1248 h 1659"/>
                    <a:gd name="T92" fmla="*/ 1365 w 1661"/>
                    <a:gd name="T93" fmla="*/ 1464 h 1659"/>
                    <a:gd name="T94" fmla="*/ 1120 w 1661"/>
                    <a:gd name="T95" fmla="*/ 1606 h 1659"/>
                    <a:gd name="T96" fmla="*/ 830 w 1661"/>
                    <a:gd name="T97" fmla="*/ 1659 h 1659"/>
                    <a:gd name="T98" fmla="*/ 541 w 1661"/>
                    <a:gd name="T99" fmla="*/ 1606 h 1659"/>
                    <a:gd name="T100" fmla="*/ 296 w 1661"/>
                    <a:gd name="T101" fmla="*/ 1464 h 1659"/>
                    <a:gd name="T102" fmla="*/ 113 w 1661"/>
                    <a:gd name="T103" fmla="*/ 1248 h 1659"/>
                    <a:gd name="T104" fmla="*/ 14 w 1661"/>
                    <a:gd name="T105" fmla="*/ 979 h 1659"/>
                    <a:gd name="T106" fmla="*/ 14 w 1661"/>
                    <a:gd name="T107" fmla="*/ 680 h 1659"/>
                    <a:gd name="T108" fmla="*/ 113 w 1661"/>
                    <a:gd name="T109" fmla="*/ 411 h 1659"/>
                    <a:gd name="T110" fmla="*/ 296 w 1661"/>
                    <a:gd name="T111" fmla="*/ 195 h 1659"/>
                    <a:gd name="T112" fmla="*/ 541 w 1661"/>
                    <a:gd name="T113" fmla="*/ 53 h 1659"/>
                    <a:gd name="T114" fmla="*/ 830 w 1661"/>
                    <a:gd name="T115" fmla="*/ 0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61" h="1659">
                      <a:moveTo>
                        <a:pt x="801" y="264"/>
                      </a:moveTo>
                      <a:lnTo>
                        <a:pt x="785" y="265"/>
                      </a:lnTo>
                      <a:lnTo>
                        <a:pt x="773" y="269"/>
                      </a:lnTo>
                      <a:lnTo>
                        <a:pt x="766" y="276"/>
                      </a:lnTo>
                      <a:lnTo>
                        <a:pt x="763" y="287"/>
                      </a:lnTo>
                      <a:lnTo>
                        <a:pt x="762" y="305"/>
                      </a:lnTo>
                      <a:lnTo>
                        <a:pt x="762" y="349"/>
                      </a:lnTo>
                      <a:lnTo>
                        <a:pt x="762" y="365"/>
                      </a:lnTo>
                      <a:lnTo>
                        <a:pt x="760" y="378"/>
                      </a:lnTo>
                      <a:lnTo>
                        <a:pt x="758" y="386"/>
                      </a:lnTo>
                      <a:lnTo>
                        <a:pt x="753" y="392"/>
                      </a:lnTo>
                      <a:lnTo>
                        <a:pt x="746" y="398"/>
                      </a:lnTo>
                      <a:lnTo>
                        <a:pt x="735" y="403"/>
                      </a:lnTo>
                      <a:lnTo>
                        <a:pt x="718" y="409"/>
                      </a:lnTo>
                      <a:lnTo>
                        <a:pt x="686" y="423"/>
                      </a:lnTo>
                      <a:lnTo>
                        <a:pt x="655" y="439"/>
                      </a:lnTo>
                      <a:lnTo>
                        <a:pt x="628" y="458"/>
                      </a:lnTo>
                      <a:lnTo>
                        <a:pt x="605" y="478"/>
                      </a:lnTo>
                      <a:lnTo>
                        <a:pt x="585" y="503"/>
                      </a:lnTo>
                      <a:lnTo>
                        <a:pt x="569" y="530"/>
                      </a:lnTo>
                      <a:lnTo>
                        <a:pt x="557" y="560"/>
                      </a:lnTo>
                      <a:lnTo>
                        <a:pt x="549" y="594"/>
                      </a:lnTo>
                      <a:lnTo>
                        <a:pt x="544" y="629"/>
                      </a:lnTo>
                      <a:lnTo>
                        <a:pt x="544" y="665"/>
                      </a:lnTo>
                      <a:lnTo>
                        <a:pt x="550" y="698"/>
                      </a:lnTo>
                      <a:lnTo>
                        <a:pt x="561" y="728"/>
                      </a:lnTo>
                      <a:lnTo>
                        <a:pt x="575" y="756"/>
                      </a:lnTo>
                      <a:lnTo>
                        <a:pt x="595" y="782"/>
                      </a:lnTo>
                      <a:lnTo>
                        <a:pt x="617" y="805"/>
                      </a:lnTo>
                      <a:lnTo>
                        <a:pt x="642" y="826"/>
                      </a:lnTo>
                      <a:lnTo>
                        <a:pt x="672" y="845"/>
                      </a:lnTo>
                      <a:lnTo>
                        <a:pt x="710" y="866"/>
                      </a:lnTo>
                      <a:lnTo>
                        <a:pt x="751" y="883"/>
                      </a:lnTo>
                      <a:lnTo>
                        <a:pt x="792" y="899"/>
                      </a:lnTo>
                      <a:lnTo>
                        <a:pt x="832" y="917"/>
                      </a:lnTo>
                      <a:lnTo>
                        <a:pt x="862" y="932"/>
                      </a:lnTo>
                      <a:lnTo>
                        <a:pt x="890" y="951"/>
                      </a:lnTo>
                      <a:lnTo>
                        <a:pt x="906" y="967"/>
                      </a:lnTo>
                      <a:lnTo>
                        <a:pt x="917" y="987"/>
                      </a:lnTo>
                      <a:lnTo>
                        <a:pt x="923" y="1007"/>
                      </a:lnTo>
                      <a:lnTo>
                        <a:pt x="923" y="1027"/>
                      </a:lnTo>
                      <a:lnTo>
                        <a:pt x="917" y="1045"/>
                      </a:lnTo>
                      <a:lnTo>
                        <a:pt x="906" y="1063"/>
                      </a:lnTo>
                      <a:lnTo>
                        <a:pt x="891" y="1078"/>
                      </a:lnTo>
                      <a:lnTo>
                        <a:pt x="871" y="1089"/>
                      </a:lnTo>
                      <a:lnTo>
                        <a:pt x="837" y="1101"/>
                      </a:lnTo>
                      <a:lnTo>
                        <a:pt x="804" y="1105"/>
                      </a:lnTo>
                      <a:lnTo>
                        <a:pt x="769" y="1103"/>
                      </a:lnTo>
                      <a:lnTo>
                        <a:pt x="728" y="1096"/>
                      </a:lnTo>
                      <a:lnTo>
                        <a:pt x="688" y="1087"/>
                      </a:lnTo>
                      <a:lnTo>
                        <a:pt x="649" y="1074"/>
                      </a:lnTo>
                      <a:lnTo>
                        <a:pt x="612" y="1057"/>
                      </a:lnTo>
                      <a:lnTo>
                        <a:pt x="599" y="1051"/>
                      </a:lnTo>
                      <a:lnTo>
                        <a:pt x="590" y="1049"/>
                      </a:lnTo>
                      <a:lnTo>
                        <a:pt x="582" y="1050"/>
                      </a:lnTo>
                      <a:lnTo>
                        <a:pt x="575" y="1055"/>
                      </a:lnTo>
                      <a:lnTo>
                        <a:pt x="570" y="1063"/>
                      </a:lnTo>
                      <a:lnTo>
                        <a:pt x="565" y="1077"/>
                      </a:lnTo>
                      <a:lnTo>
                        <a:pt x="553" y="1117"/>
                      </a:lnTo>
                      <a:lnTo>
                        <a:pt x="542" y="1158"/>
                      </a:lnTo>
                      <a:lnTo>
                        <a:pt x="537" y="1175"/>
                      </a:lnTo>
                      <a:lnTo>
                        <a:pt x="537" y="1186"/>
                      </a:lnTo>
                      <a:lnTo>
                        <a:pt x="538" y="1197"/>
                      </a:lnTo>
                      <a:lnTo>
                        <a:pt x="544" y="1205"/>
                      </a:lnTo>
                      <a:lnTo>
                        <a:pt x="555" y="1212"/>
                      </a:lnTo>
                      <a:lnTo>
                        <a:pt x="570" y="1220"/>
                      </a:lnTo>
                      <a:lnTo>
                        <a:pt x="616" y="1239"/>
                      </a:lnTo>
                      <a:lnTo>
                        <a:pt x="662" y="1252"/>
                      </a:lnTo>
                      <a:lnTo>
                        <a:pt x="711" y="1261"/>
                      </a:lnTo>
                      <a:lnTo>
                        <a:pt x="728" y="1263"/>
                      </a:lnTo>
                      <a:lnTo>
                        <a:pt x="738" y="1267"/>
                      </a:lnTo>
                      <a:lnTo>
                        <a:pt x="745" y="1271"/>
                      </a:lnTo>
                      <a:lnTo>
                        <a:pt x="749" y="1280"/>
                      </a:lnTo>
                      <a:lnTo>
                        <a:pt x="751" y="1291"/>
                      </a:lnTo>
                      <a:lnTo>
                        <a:pt x="751" y="1309"/>
                      </a:lnTo>
                      <a:lnTo>
                        <a:pt x="752" y="1336"/>
                      </a:lnTo>
                      <a:lnTo>
                        <a:pt x="752" y="1362"/>
                      </a:lnTo>
                      <a:lnTo>
                        <a:pt x="755" y="1377"/>
                      </a:lnTo>
                      <a:lnTo>
                        <a:pt x="760" y="1388"/>
                      </a:lnTo>
                      <a:lnTo>
                        <a:pt x="771" y="1395"/>
                      </a:lnTo>
                      <a:lnTo>
                        <a:pt x="786" y="1397"/>
                      </a:lnTo>
                      <a:lnTo>
                        <a:pt x="825" y="1398"/>
                      </a:lnTo>
                      <a:lnTo>
                        <a:pt x="865" y="1397"/>
                      </a:lnTo>
                      <a:lnTo>
                        <a:pt x="880" y="1395"/>
                      </a:lnTo>
                      <a:lnTo>
                        <a:pt x="889" y="1388"/>
                      </a:lnTo>
                      <a:lnTo>
                        <a:pt x="896" y="1377"/>
                      </a:lnTo>
                      <a:lnTo>
                        <a:pt x="897" y="1364"/>
                      </a:lnTo>
                      <a:lnTo>
                        <a:pt x="898" y="1326"/>
                      </a:lnTo>
                      <a:lnTo>
                        <a:pt x="897" y="1290"/>
                      </a:lnTo>
                      <a:lnTo>
                        <a:pt x="898" y="1276"/>
                      </a:lnTo>
                      <a:lnTo>
                        <a:pt x="902" y="1266"/>
                      </a:lnTo>
                      <a:lnTo>
                        <a:pt x="908" y="1257"/>
                      </a:lnTo>
                      <a:lnTo>
                        <a:pt x="918" y="1250"/>
                      </a:lnTo>
                      <a:lnTo>
                        <a:pt x="931" y="1246"/>
                      </a:lnTo>
                      <a:lnTo>
                        <a:pt x="971" y="1232"/>
                      </a:lnTo>
                      <a:lnTo>
                        <a:pt x="1007" y="1212"/>
                      </a:lnTo>
                      <a:lnTo>
                        <a:pt x="1041" y="1187"/>
                      </a:lnTo>
                      <a:lnTo>
                        <a:pt x="1070" y="1157"/>
                      </a:lnTo>
                      <a:lnTo>
                        <a:pt x="1091" y="1126"/>
                      </a:lnTo>
                      <a:lnTo>
                        <a:pt x="1108" y="1092"/>
                      </a:lnTo>
                      <a:lnTo>
                        <a:pt x="1119" y="1058"/>
                      </a:lnTo>
                      <a:lnTo>
                        <a:pt x="1125" y="1022"/>
                      </a:lnTo>
                      <a:lnTo>
                        <a:pt x="1125" y="987"/>
                      </a:lnTo>
                      <a:lnTo>
                        <a:pt x="1120" y="952"/>
                      </a:lnTo>
                      <a:lnTo>
                        <a:pt x="1110" y="918"/>
                      </a:lnTo>
                      <a:lnTo>
                        <a:pt x="1096" y="885"/>
                      </a:lnTo>
                      <a:lnTo>
                        <a:pt x="1076" y="854"/>
                      </a:lnTo>
                      <a:lnTo>
                        <a:pt x="1051" y="826"/>
                      </a:lnTo>
                      <a:lnTo>
                        <a:pt x="1022" y="801"/>
                      </a:lnTo>
                      <a:lnTo>
                        <a:pt x="989" y="780"/>
                      </a:lnTo>
                      <a:lnTo>
                        <a:pt x="944" y="757"/>
                      </a:lnTo>
                      <a:lnTo>
                        <a:pt x="897" y="736"/>
                      </a:lnTo>
                      <a:lnTo>
                        <a:pt x="850" y="718"/>
                      </a:lnTo>
                      <a:lnTo>
                        <a:pt x="823" y="705"/>
                      </a:lnTo>
                      <a:lnTo>
                        <a:pt x="798" y="691"/>
                      </a:lnTo>
                      <a:lnTo>
                        <a:pt x="773" y="674"/>
                      </a:lnTo>
                      <a:lnTo>
                        <a:pt x="759" y="660"/>
                      </a:lnTo>
                      <a:lnTo>
                        <a:pt x="750" y="644"/>
                      </a:lnTo>
                      <a:lnTo>
                        <a:pt x="745" y="628"/>
                      </a:lnTo>
                      <a:lnTo>
                        <a:pt x="745" y="610"/>
                      </a:lnTo>
                      <a:lnTo>
                        <a:pt x="750" y="595"/>
                      </a:lnTo>
                      <a:lnTo>
                        <a:pt x="759" y="580"/>
                      </a:lnTo>
                      <a:lnTo>
                        <a:pt x="772" y="567"/>
                      </a:lnTo>
                      <a:lnTo>
                        <a:pt x="790" y="557"/>
                      </a:lnTo>
                      <a:lnTo>
                        <a:pt x="813" y="550"/>
                      </a:lnTo>
                      <a:lnTo>
                        <a:pt x="836" y="546"/>
                      </a:lnTo>
                      <a:lnTo>
                        <a:pt x="882" y="547"/>
                      </a:lnTo>
                      <a:lnTo>
                        <a:pt x="926" y="553"/>
                      </a:lnTo>
                      <a:lnTo>
                        <a:pt x="969" y="565"/>
                      </a:lnTo>
                      <a:lnTo>
                        <a:pt x="1013" y="581"/>
                      </a:lnTo>
                      <a:lnTo>
                        <a:pt x="1027" y="587"/>
                      </a:lnTo>
                      <a:lnTo>
                        <a:pt x="1038" y="588"/>
                      </a:lnTo>
                      <a:lnTo>
                        <a:pt x="1047" y="585"/>
                      </a:lnTo>
                      <a:lnTo>
                        <a:pt x="1052" y="576"/>
                      </a:lnTo>
                      <a:lnTo>
                        <a:pt x="1058" y="561"/>
                      </a:lnTo>
                      <a:lnTo>
                        <a:pt x="1072" y="516"/>
                      </a:lnTo>
                      <a:lnTo>
                        <a:pt x="1086" y="469"/>
                      </a:lnTo>
                      <a:lnTo>
                        <a:pt x="1089" y="455"/>
                      </a:lnTo>
                      <a:lnTo>
                        <a:pt x="1085" y="444"/>
                      </a:lnTo>
                      <a:lnTo>
                        <a:pt x="1078" y="433"/>
                      </a:lnTo>
                      <a:lnTo>
                        <a:pt x="1065" y="426"/>
                      </a:lnTo>
                      <a:lnTo>
                        <a:pt x="1029" y="412"/>
                      </a:lnTo>
                      <a:lnTo>
                        <a:pt x="993" y="400"/>
                      </a:lnTo>
                      <a:lnTo>
                        <a:pt x="954" y="393"/>
                      </a:lnTo>
                      <a:lnTo>
                        <a:pt x="936" y="390"/>
                      </a:lnTo>
                      <a:lnTo>
                        <a:pt x="923" y="388"/>
                      </a:lnTo>
                      <a:lnTo>
                        <a:pt x="913" y="383"/>
                      </a:lnTo>
                      <a:lnTo>
                        <a:pt x="908" y="377"/>
                      </a:lnTo>
                      <a:lnTo>
                        <a:pt x="905" y="368"/>
                      </a:lnTo>
                      <a:lnTo>
                        <a:pt x="904" y="354"/>
                      </a:lnTo>
                      <a:lnTo>
                        <a:pt x="904" y="335"/>
                      </a:lnTo>
                      <a:lnTo>
                        <a:pt x="904" y="308"/>
                      </a:lnTo>
                      <a:lnTo>
                        <a:pt x="903" y="290"/>
                      </a:lnTo>
                      <a:lnTo>
                        <a:pt x="898" y="277"/>
                      </a:lnTo>
                      <a:lnTo>
                        <a:pt x="891" y="269"/>
                      </a:lnTo>
                      <a:lnTo>
                        <a:pt x="878" y="265"/>
                      </a:lnTo>
                      <a:lnTo>
                        <a:pt x="858" y="264"/>
                      </a:lnTo>
                      <a:lnTo>
                        <a:pt x="833" y="264"/>
                      </a:lnTo>
                      <a:lnTo>
                        <a:pt x="801" y="264"/>
                      </a:lnTo>
                      <a:close/>
                      <a:moveTo>
                        <a:pt x="830" y="0"/>
                      </a:moveTo>
                      <a:lnTo>
                        <a:pt x="906" y="4"/>
                      </a:lnTo>
                      <a:lnTo>
                        <a:pt x="980" y="13"/>
                      </a:lnTo>
                      <a:lnTo>
                        <a:pt x="1051" y="30"/>
                      </a:lnTo>
                      <a:lnTo>
                        <a:pt x="1120" y="53"/>
                      </a:lnTo>
                      <a:lnTo>
                        <a:pt x="1187" y="80"/>
                      </a:lnTo>
                      <a:lnTo>
                        <a:pt x="1250" y="114"/>
                      </a:lnTo>
                      <a:lnTo>
                        <a:pt x="1309" y="152"/>
                      </a:lnTo>
                      <a:lnTo>
                        <a:pt x="1365" y="195"/>
                      </a:lnTo>
                      <a:lnTo>
                        <a:pt x="1418" y="243"/>
                      </a:lnTo>
                      <a:lnTo>
                        <a:pt x="1466" y="295"/>
                      </a:lnTo>
                      <a:lnTo>
                        <a:pt x="1509" y="351"/>
                      </a:lnTo>
                      <a:lnTo>
                        <a:pt x="1548" y="411"/>
                      </a:lnTo>
                      <a:lnTo>
                        <a:pt x="1581" y="474"/>
                      </a:lnTo>
                      <a:lnTo>
                        <a:pt x="1609" y="540"/>
                      </a:lnTo>
                      <a:lnTo>
                        <a:pt x="1632" y="609"/>
                      </a:lnTo>
                      <a:lnTo>
                        <a:pt x="1648" y="680"/>
                      </a:lnTo>
                      <a:lnTo>
                        <a:pt x="1657" y="754"/>
                      </a:lnTo>
                      <a:lnTo>
                        <a:pt x="1661" y="829"/>
                      </a:lnTo>
                      <a:lnTo>
                        <a:pt x="1657" y="905"/>
                      </a:lnTo>
                      <a:lnTo>
                        <a:pt x="1648" y="979"/>
                      </a:lnTo>
                      <a:lnTo>
                        <a:pt x="1632" y="1050"/>
                      </a:lnTo>
                      <a:lnTo>
                        <a:pt x="1609" y="1119"/>
                      </a:lnTo>
                      <a:lnTo>
                        <a:pt x="1581" y="1185"/>
                      </a:lnTo>
                      <a:lnTo>
                        <a:pt x="1548" y="1248"/>
                      </a:lnTo>
                      <a:lnTo>
                        <a:pt x="1509" y="1308"/>
                      </a:lnTo>
                      <a:lnTo>
                        <a:pt x="1466" y="1364"/>
                      </a:lnTo>
                      <a:lnTo>
                        <a:pt x="1418" y="1416"/>
                      </a:lnTo>
                      <a:lnTo>
                        <a:pt x="1365" y="1464"/>
                      </a:lnTo>
                      <a:lnTo>
                        <a:pt x="1309" y="1507"/>
                      </a:lnTo>
                      <a:lnTo>
                        <a:pt x="1250" y="1545"/>
                      </a:lnTo>
                      <a:lnTo>
                        <a:pt x="1187" y="1578"/>
                      </a:lnTo>
                      <a:lnTo>
                        <a:pt x="1120" y="1606"/>
                      </a:lnTo>
                      <a:lnTo>
                        <a:pt x="1051" y="1628"/>
                      </a:lnTo>
                      <a:lnTo>
                        <a:pt x="980" y="1645"/>
                      </a:lnTo>
                      <a:lnTo>
                        <a:pt x="906" y="1655"/>
                      </a:lnTo>
                      <a:lnTo>
                        <a:pt x="830" y="1659"/>
                      </a:lnTo>
                      <a:lnTo>
                        <a:pt x="756" y="1655"/>
                      </a:lnTo>
                      <a:lnTo>
                        <a:pt x="682" y="1645"/>
                      </a:lnTo>
                      <a:lnTo>
                        <a:pt x="610" y="1628"/>
                      </a:lnTo>
                      <a:lnTo>
                        <a:pt x="541" y="1606"/>
                      </a:lnTo>
                      <a:lnTo>
                        <a:pt x="475" y="1578"/>
                      </a:lnTo>
                      <a:lnTo>
                        <a:pt x="411" y="1545"/>
                      </a:lnTo>
                      <a:lnTo>
                        <a:pt x="352" y="1507"/>
                      </a:lnTo>
                      <a:lnTo>
                        <a:pt x="296" y="1464"/>
                      </a:lnTo>
                      <a:lnTo>
                        <a:pt x="244" y="1416"/>
                      </a:lnTo>
                      <a:lnTo>
                        <a:pt x="196" y="1364"/>
                      </a:lnTo>
                      <a:lnTo>
                        <a:pt x="152" y="1308"/>
                      </a:lnTo>
                      <a:lnTo>
                        <a:pt x="113" y="1248"/>
                      </a:lnTo>
                      <a:lnTo>
                        <a:pt x="81" y="1185"/>
                      </a:lnTo>
                      <a:lnTo>
                        <a:pt x="53" y="1119"/>
                      </a:lnTo>
                      <a:lnTo>
                        <a:pt x="30" y="1050"/>
                      </a:lnTo>
                      <a:lnTo>
                        <a:pt x="14" y="979"/>
                      </a:lnTo>
                      <a:lnTo>
                        <a:pt x="4" y="905"/>
                      </a:lnTo>
                      <a:lnTo>
                        <a:pt x="0" y="829"/>
                      </a:lnTo>
                      <a:lnTo>
                        <a:pt x="4" y="754"/>
                      </a:lnTo>
                      <a:lnTo>
                        <a:pt x="14" y="680"/>
                      </a:lnTo>
                      <a:lnTo>
                        <a:pt x="30" y="609"/>
                      </a:lnTo>
                      <a:lnTo>
                        <a:pt x="53" y="540"/>
                      </a:lnTo>
                      <a:lnTo>
                        <a:pt x="81" y="474"/>
                      </a:lnTo>
                      <a:lnTo>
                        <a:pt x="113" y="411"/>
                      </a:lnTo>
                      <a:lnTo>
                        <a:pt x="152" y="351"/>
                      </a:lnTo>
                      <a:lnTo>
                        <a:pt x="196" y="295"/>
                      </a:lnTo>
                      <a:lnTo>
                        <a:pt x="244" y="243"/>
                      </a:lnTo>
                      <a:lnTo>
                        <a:pt x="296" y="195"/>
                      </a:lnTo>
                      <a:lnTo>
                        <a:pt x="352" y="152"/>
                      </a:lnTo>
                      <a:lnTo>
                        <a:pt x="411" y="114"/>
                      </a:lnTo>
                      <a:lnTo>
                        <a:pt x="475" y="80"/>
                      </a:lnTo>
                      <a:lnTo>
                        <a:pt x="541" y="53"/>
                      </a:lnTo>
                      <a:lnTo>
                        <a:pt x="610" y="30"/>
                      </a:lnTo>
                      <a:lnTo>
                        <a:pt x="682" y="13"/>
                      </a:lnTo>
                      <a:lnTo>
                        <a:pt x="756" y="4"/>
                      </a:lnTo>
                      <a:lnTo>
                        <a:pt x="830"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grpSp>
        </p:grpSp>
        <p:sp>
          <p:nvSpPr>
            <p:cNvPr id="94" name="Freeform 145">
              <a:extLst>
                <a:ext uri="{FF2B5EF4-FFF2-40B4-BE49-F238E27FC236}">
                  <a16:creationId xmlns:a16="http://schemas.microsoft.com/office/drawing/2014/main" id="{2EF0C988-5B96-0943-934C-6EE42F4BD228}"/>
                </a:ext>
              </a:extLst>
            </p:cNvPr>
            <p:cNvSpPr>
              <a:spLocks/>
            </p:cNvSpPr>
            <p:nvPr/>
          </p:nvSpPr>
          <p:spPr bwMode="auto">
            <a:xfrm>
              <a:off x="3324068" y="2078543"/>
              <a:ext cx="421420" cy="342404"/>
            </a:xfrm>
            <a:custGeom>
              <a:avLst/>
              <a:gdLst>
                <a:gd name="T0" fmla="*/ 219075 w 64"/>
                <a:gd name="T1" fmla="*/ 175173 h 55"/>
                <a:gd name="T2" fmla="*/ 205383 w 64"/>
                <a:gd name="T3" fmla="*/ 188912 h 55"/>
                <a:gd name="T4" fmla="*/ 167729 w 64"/>
                <a:gd name="T5" fmla="*/ 188912 h 55"/>
                <a:gd name="T6" fmla="*/ 154037 w 64"/>
                <a:gd name="T7" fmla="*/ 175173 h 55"/>
                <a:gd name="T8" fmla="*/ 154037 w 64"/>
                <a:gd name="T9" fmla="*/ 137391 h 55"/>
                <a:gd name="T10" fmla="*/ 167729 w 64"/>
                <a:gd name="T11" fmla="*/ 123651 h 55"/>
                <a:gd name="T12" fmla="*/ 177998 w 64"/>
                <a:gd name="T13" fmla="*/ 123651 h 55"/>
                <a:gd name="T14" fmla="*/ 177998 w 64"/>
                <a:gd name="T15" fmla="*/ 103043 h 55"/>
                <a:gd name="T16" fmla="*/ 116384 w 64"/>
                <a:gd name="T17" fmla="*/ 103043 h 55"/>
                <a:gd name="T18" fmla="*/ 116384 w 64"/>
                <a:gd name="T19" fmla="*/ 123651 h 55"/>
                <a:gd name="T20" fmla="*/ 126653 w 64"/>
                <a:gd name="T21" fmla="*/ 123651 h 55"/>
                <a:gd name="T22" fmla="*/ 140345 w 64"/>
                <a:gd name="T23" fmla="*/ 137391 h 55"/>
                <a:gd name="T24" fmla="*/ 140345 w 64"/>
                <a:gd name="T25" fmla="*/ 175173 h 55"/>
                <a:gd name="T26" fmla="*/ 126653 w 64"/>
                <a:gd name="T27" fmla="*/ 188912 h 55"/>
                <a:gd name="T28" fmla="*/ 88999 w 64"/>
                <a:gd name="T29" fmla="*/ 188912 h 55"/>
                <a:gd name="T30" fmla="*/ 78730 w 64"/>
                <a:gd name="T31" fmla="*/ 175173 h 55"/>
                <a:gd name="T32" fmla="*/ 78730 w 64"/>
                <a:gd name="T33" fmla="*/ 137391 h 55"/>
                <a:gd name="T34" fmla="*/ 88999 w 64"/>
                <a:gd name="T35" fmla="*/ 123651 h 55"/>
                <a:gd name="T36" fmla="*/ 99268 w 64"/>
                <a:gd name="T37" fmla="*/ 123651 h 55"/>
                <a:gd name="T38" fmla="*/ 99268 w 64"/>
                <a:gd name="T39" fmla="*/ 103043 h 55"/>
                <a:gd name="T40" fmla="*/ 37654 w 64"/>
                <a:gd name="T41" fmla="*/ 103043 h 55"/>
                <a:gd name="T42" fmla="*/ 37654 w 64"/>
                <a:gd name="T43" fmla="*/ 123651 h 55"/>
                <a:gd name="T44" fmla="*/ 51346 w 64"/>
                <a:gd name="T45" fmla="*/ 123651 h 55"/>
                <a:gd name="T46" fmla="*/ 61615 w 64"/>
                <a:gd name="T47" fmla="*/ 137391 h 55"/>
                <a:gd name="T48" fmla="*/ 61615 w 64"/>
                <a:gd name="T49" fmla="*/ 175173 h 55"/>
                <a:gd name="T50" fmla="*/ 51346 w 64"/>
                <a:gd name="T51" fmla="*/ 188912 h 55"/>
                <a:gd name="T52" fmla="*/ 10269 w 64"/>
                <a:gd name="T53" fmla="*/ 188912 h 55"/>
                <a:gd name="T54" fmla="*/ 0 w 64"/>
                <a:gd name="T55" fmla="*/ 175173 h 55"/>
                <a:gd name="T56" fmla="*/ 0 w 64"/>
                <a:gd name="T57" fmla="*/ 137391 h 55"/>
                <a:gd name="T58" fmla="*/ 10269 w 64"/>
                <a:gd name="T59" fmla="*/ 123651 h 55"/>
                <a:gd name="T60" fmla="*/ 23961 w 64"/>
                <a:gd name="T61" fmla="*/ 123651 h 55"/>
                <a:gd name="T62" fmla="*/ 23961 w 64"/>
                <a:gd name="T63" fmla="*/ 103043 h 55"/>
                <a:gd name="T64" fmla="*/ 37654 w 64"/>
                <a:gd name="T65" fmla="*/ 85869 h 55"/>
                <a:gd name="T66" fmla="*/ 99268 w 64"/>
                <a:gd name="T67" fmla="*/ 85869 h 55"/>
                <a:gd name="T68" fmla="*/ 99268 w 64"/>
                <a:gd name="T69" fmla="*/ 61826 h 55"/>
                <a:gd name="T70" fmla="*/ 88999 w 64"/>
                <a:gd name="T71" fmla="*/ 61826 h 55"/>
                <a:gd name="T72" fmla="*/ 78730 w 64"/>
                <a:gd name="T73" fmla="*/ 51521 h 55"/>
                <a:gd name="T74" fmla="*/ 78730 w 64"/>
                <a:gd name="T75" fmla="*/ 10304 h 55"/>
                <a:gd name="T76" fmla="*/ 88999 w 64"/>
                <a:gd name="T77" fmla="*/ 0 h 55"/>
                <a:gd name="T78" fmla="*/ 126653 w 64"/>
                <a:gd name="T79" fmla="*/ 0 h 55"/>
                <a:gd name="T80" fmla="*/ 140345 w 64"/>
                <a:gd name="T81" fmla="*/ 10304 h 55"/>
                <a:gd name="T82" fmla="*/ 140345 w 64"/>
                <a:gd name="T83" fmla="*/ 51521 h 55"/>
                <a:gd name="T84" fmla="*/ 126653 w 64"/>
                <a:gd name="T85" fmla="*/ 61826 h 55"/>
                <a:gd name="T86" fmla="*/ 116384 w 64"/>
                <a:gd name="T87" fmla="*/ 61826 h 55"/>
                <a:gd name="T88" fmla="*/ 116384 w 64"/>
                <a:gd name="T89" fmla="*/ 85869 h 55"/>
                <a:gd name="T90" fmla="*/ 177998 w 64"/>
                <a:gd name="T91" fmla="*/ 85869 h 55"/>
                <a:gd name="T92" fmla="*/ 195114 w 64"/>
                <a:gd name="T93" fmla="*/ 103043 h 55"/>
                <a:gd name="T94" fmla="*/ 195114 w 64"/>
                <a:gd name="T95" fmla="*/ 123651 h 55"/>
                <a:gd name="T96" fmla="*/ 205383 w 64"/>
                <a:gd name="T97" fmla="*/ 123651 h 55"/>
                <a:gd name="T98" fmla="*/ 219075 w 64"/>
                <a:gd name="T99" fmla="*/ 137391 h 55"/>
                <a:gd name="T100" fmla="*/ 219075 w 64"/>
                <a:gd name="T101" fmla="*/ 175173 h 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noFill/>
            <a:ln w="12700">
              <a:solidFill>
                <a:srgbClr val="FF6011"/>
              </a:solidFill>
            </a:ln>
          </p:spPr>
          <p:txBody>
            <a:bodyPr/>
            <a:lstStyle/>
            <a:p>
              <a:endParaRPr lang="en-US"/>
            </a:p>
          </p:txBody>
        </p:sp>
        <p:pic>
          <p:nvPicPr>
            <p:cNvPr id="95" name="Рисунок 94">
              <a:extLst>
                <a:ext uri="{FF2B5EF4-FFF2-40B4-BE49-F238E27FC236}">
                  <a16:creationId xmlns:a16="http://schemas.microsoft.com/office/drawing/2014/main" id="{B386B60E-CBD6-7D48-B85E-EFCE900B93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090" y="4624510"/>
              <a:ext cx="442604" cy="442604"/>
            </a:xfrm>
            <a:prstGeom prst="rect">
              <a:avLst/>
            </a:prstGeom>
          </p:spPr>
        </p:pic>
        <p:grpSp>
          <p:nvGrpSpPr>
            <p:cNvPr id="96" name="Group 93">
              <a:extLst>
                <a:ext uri="{FF2B5EF4-FFF2-40B4-BE49-F238E27FC236}">
                  <a16:creationId xmlns:a16="http://schemas.microsoft.com/office/drawing/2014/main" id="{5B8BE3E5-5C5D-E44B-BC42-4963BEA83239}"/>
                </a:ext>
              </a:extLst>
            </p:cNvPr>
            <p:cNvGrpSpPr/>
            <p:nvPr/>
          </p:nvGrpSpPr>
          <p:grpSpPr>
            <a:xfrm>
              <a:off x="2907517" y="5481060"/>
              <a:ext cx="390868" cy="404533"/>
              <a:chOff x="3276600" y="400050"/>
              <a:chExt cx="250826" cy="287338"/>
            </a:xfrm>
            <a:solidFill>
              <a:schemeClr val="bg1"/>
            </a:solidFill>
          </p:grpSpPr>
          <p:sp>
            <p:nvSpPr>
              <p:cNvPr id="99" name="Freeform 35">
                <a:extLst>
                  <a:ext uri="{FF2B5EF4-FFF2-40B4-BE49-F238E27FC236}">
                    <a16:creationId xmlns:a16="http://schemas.microsoft.com/office/drawing/2014/main" id="{C2E02EFB-B18C-A143-B433-99170C42F5D4}"/>
                  </a:ext>
                </a:extLst>
              </p:cNvPr>
              <p:cNvSpPr>
                <a:spLocks/>
              </p:cNvSpPr>
              <p:nvPr/>
            </p:nvSpPr>
            <p:spPr bwMode="auto">
              <a:xfrm>
                <a:off x="3414713" y="406400"/>
                <a:ext cx="112713" cy="107950"/>
              </a:xfrm>
              <a:custGeom>
                <a:avLst/>
                <a:gdLst>
                  <a:gd name="T0" fmla="*/ 96 w 1338"/>
                  <a:gd name="T1" fmla="*/ 3 h 1289"/>
                  <a:gd name="T2" fmla="*/ 129 w 1338"/>
                  <a:gd name="T3" fmla="*/ 23 h 1289"/>
                  <a:gd name="T4" fmla="*/ 148 w 1338"/>
                  <a:gd name="T5" fmla="*/ 56 h 1289"/>
                  <a:gd name="T6" fmla="*/ 152 w 1338"/>
                  <a:gd name="T7" fmla="*/ 131 h 1289"/>
                  <a:gd name="T8" fmla="*/ 267 w 1338"/>
                  <a:gd name="T9" fmla="*/ 190 h 1289"/>
                  <a:gd name="T10" fmla="*/ 383 w 1338"/>
                  <a:gd name="T11" fmla="*/ 224 h 1289"/>
                  <a:gd name="T12" fmla="*/ 500 w 1338"/>
                  <a:gd name="T13" fmla="*/ 239 h 1289"/>
                  <a:gd name="T14" fmla="*/ 616 w 1338"/>
                  <a:gd name="T15" fmla="*/ 241 h 1289"/>
                  <a:gd name="T16" fmla="*/ 732 w 1338"/>
                  <a:gd name="T17" fmla="*/ 234 h 1289"/>
                  <a:gd name="T18" fmla="*/ 848 w 1338"/>
                  <a:gd name="T19" fmla="*/ 224 h 1289"/>
                  <a:gd name="T20" fmla="*/ 965 w 1338"/>
                  <a:gd name="T21" fmla="*/ 218 h 1289"/>
                  <a:gd name="T22" fmla="*/ 1081 w 1338"/>
                  <a:gd name="T23" fmla="*/ 221 h 1289"/>
                  <a:gd name="T24" fmla="*/ 1197 w 1338"/>
                  <a:gd name="T25" fmla="*/ 238 h 1289"/>
                  <a:gd name="T26" fmla="*/ 1314 w 1338"/>
                  <a:gd name="T27" fmla="*/ 274 h 1289"/>
                  <a:gd name="T28" fmla="*/ 1332 w 1338"/>
                  <a:gd name="T29" fmla="*/ 292 h 1289"/>
                  <a:gd name="T30" fmla="*/ 1338 w 1338"/>
                  <a:gd name="T31" fmla="*/ 318 h 1289"/>
                  <a:gd name="T32" fmla="*/ 1324 w 1338"/>
                  <a:gd name="T33" fmla="*/ 341 h 1289"/>
                  <a:gd name="T34" fmla="*/ 1299 w 1338"/>
                  <a:gd name="T35" fmla="*/ 352 h 1289"/>
                  <a:gd name="T36" fmla="*/ 1179 w 1338"/>
                  <a:gd name="T37" fmla="*/ 369 h 1289"/>
                  <a:gd name="T38" fmla="*/ 1058 w 1338"/>
                  <a:gd name="T39" fmla="*/ 406 h 1289"/>
                  <a:gd name="T40" fmla="*/ 937 w 1338"/>
                  <a:gd name="T41" fmla="*/ 459 h 1289"/>
                  <a:gd name="T42" fmla="*/ 816 w 1338"/>
                  <a:gd name="T43" fmla="*/ 519 h 1289"/>
                  <a:gd name="T44" fmla="*/ 696 w 1338"/>
                  <a:gd name="T45" fmla="*/ 580 h 1289"/>
                  <a:gd name="T46" fmla="*/ 574 w 1338"/>
                  <a:gd name="T47" fmla="*/ 637 h 1289"/>
                  <a:gd name="T48" fmla="*/ 453 w 1338"/>
                  <a:gd name="T49" fmla="*/ 683 h 1289"/>
                  <a:gd name="T50" fmla="*/ 332 w 1338"/>
                  <a:gd name="T51" fmla="*/ 712 h 1289"/>
                  <a:gd name="T52" fmla="*/ 212 w 1338"/>
                  <a:gd name="T53" fmla="*/ 718 h 1289"/>
                  <a:gd name="T54" fmla="*/ 152 w 1338"/>
                  <a:gd name="T55" fmla="*/ 1289 h 1289"/>
                  <a:gd name="T56" fmla="*/ 0 w 1338"/>
                  <a:gd name="T57" fmla="*/ 76 h 1289"/>
                  <a:gd name="T58" fmla="*/ 11 w 1338"/>
                  <a:gd name="T59" fmla="*/ 38 h 1289"/>
                  <a:gd name="T60" fmla="*/ 38 w 1338"/>
                  <a:gd name="T61" fmla="*/ 10 h 1289"/>
                  <a:gd name="T62" fmla="*/ 75 w 1338"/>
                  <a:gd name="T63"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8" h="1289">
                    <a:moveTo>
                      <a:pt x="75" y="0"/>
                    </a:moveTo>
                    <a:lnTo>
                      <a:pt x="96" y="3"/>
                    </a:lnTo>
                    <a:lnTo>
                      <a:pt x="114" y="10"/>
                    </a:lnTo>
                    <a:lnTo>
                      <a:pt x="129" y="23"/>
                    </a:lnTo>
                    <a:lnTo>
                      <a:pt x="141" y="38"/>
                    </a:lnTo>
                    <a:lnTo>
                      <a:pt x="148" y="56"/>
                    </a:lnTo>
                    <a:lnTo>
                      <a:pt x="152" y="76"/>
                    </a:lnTo>
                    <a:lnTo>
                      <a:pt x="152" y="131"/>
                    </a:lnTo>
                    <a:lnTo>
                      <a:pt x="209" y="164"/>
                    </a:lnTo>
                    <a:lnTo>
                      <a:pt x="267" y="190"/>
                    </a:lnTo>
                    <a:lnTo>
                      <a:pt x="326" y="209"/>
                    </a:lnTo>
                    <a:lnTo>
                      <a:pt x="383" y="224"/>
                    </a:lnTo>
                    <a:lnTo>
                      <a:pt x="442" y="234"/>
                    </a:lnTo>
                    <a:lnTo>
                      <a:pt x="500" y="239"/>
                    </a:lnTo>
                    <a:lnTo>
                      <a:pt x="558" y="241"/>
                    </a:lnTo>
                    <a:lnTo>
                      <a:pt x="616" y="241"/>
                    </a:lnTo>
                    <a:lnTo>
                      <a:pt x="674" y="238"/>
                    </a:lnTo>
                    <a:lnTo>
                      <a:pt x="732" y="234"/>
                    </a:lnTo>
                    <a:lnTo>
                      <a:pt x="791" y="229"/>
                    </a:lnTo>
                    <a:lnTo>
                      <a:pt x="848" y="224"/>
                    </a:lnTo>
                    <a:lnTo>
                      <a:pt x="906" y="221"/>
                    </a:lnTo>
                    <a:lnTo>
                      <a:pt x="965" y="218"/>
                    </a:lnTo>
                    <a:lnTo>
                      <a:pt x="1022" y="218"/>
                    </a:lnTo>
                    <a:lnTo>
                      <a:pt x="1081" y="221"/>
                    </a:lnTo>
                    <a:lnTo>
                      <a:pt x="1139" y="227"/>
                    </a:lnTo>
                    <a:lnTo>
                      <a:pt x="1197" y="238"/>
                    </a:lnTo>
                    <a:lnTo>
                      <a:pt x="1255" y="253"/>
                    </a:lnTo>
                    <a:lnTo>
                      <a:pt x="1314" y="274"/>
                    </a:lnTo>
                    <a:lnTo>
                      <a:pt x="1325" y="282"/>
                    </a:lnTo>
                    <a:lnTo>
                      <a:pt x="1332" y="292"/>
                    </a:lnTo>
                    <a:lnTo>
                      <a:pt x="1338" y="305"/>
                    </a:lnTo>
                    <a:lnTo>
                      <a:pt x="1338" y="318"/>
                    </a:lnTo>
                    <a:lnTo>
                      <a:pt x="1332" y="332"/>
                    </a:lnTo>
                    <a:lnTo>
                      <a:pt x="1324" y="341"/>
                    </a:lnTo>
                    <a:lnTo>
                      <a:pt x="1313" y="349"/>
                    </a:lnTo>
                    <a:lnTo>
                      <a:pt x="1299" y="352"/>
                    </a:lnTo>
                    <a:lnTo>
                      <a:pt x="1238" y="357"/>
                    </a:lnTo>
                    <a:lnTo>
                      <a:pt x="1179" y="369"/>
                    </a:lnTo>
                    <a:lnTo>
                      <a:pt x="1118" y="385"/>
                    </a:lnTo>
                    <a:lnTo>
                      <a:pt x="1058" y="406"/>
                    </a:lnTo>
                    <a:lnTo>
                      <a:pt x="997" y="432"/>
                    </a:lnTo>
                    <a:lnTo>
                      <a:pt x="937" y="459"/>
                    </a:lnTo>
                    <a:lnTo>
                      <a:pt x="876" y="488"/>
                    </a:lnTo>
                    <a:lnTo>
                      <a:pt x="816" y="519"/>
                    </a:lnTo>
                    <a:lnTo>
                      <a:pt x="755" y="550"/>
                    </a:lnTo>
                    <a:lnTo>
                      <a:pt x="696" y="580"/>
                    </a:lnTo>
                    <a:lnTo>
                      <a:pt x="635" y="610"/>
                    </a:lnTo>
                    <a:lnTo>
                      <a:pt x="574" y="637"/>
                    </a:lnTo>
                    <a:lnTo>
                      <a:pt x="514" y="662"/>
                    </a:lnTo>
                    <a:lnTo>
                      <a:pt x="453" y="683"/>
                    </a:lnTo>
                    <a:lnTo>
                      <a:pt x="393" y="701"/>
                    </a:lnTo>
                    <a:lnTo>
                      <a:pt x="332" y="712"/>
                    </a:lnTo>
                    <a:lnTo>
                      <a:pt x="272" y="719"/>
                    </a:lnTo>
                    <a:lnTo>
                      <a:pt x="212" y="718"/>
                    </a:lnTo>
                    <a:lnTo>
                      <a:pt x="152" y="710"/>
                    </a:lnTo>
                    <a:lnTo>
                      <a:pt x="152" y="1289"/>
                    </a:lnTo>
                    <a:lnTo>
                      <a:pt x="0" y="1208"/>
                    </a:lnTo>
                    <a:lnTo>
                      <a:pt x="0" y="76"/>
                    </a:lnTo>
                    <a:lnTo>
                      <a:pt x="3" y="56"/>
                    </a:lnTo>
                    <a:lnTo>
                      <a:pt x="11" y="38"/>
                    </a:lnTo>
                    <a:lnTo>
                      <a:pt x="22" y="23"/>
                    </a:lnTo>
                    <a:lnTo>
                      <a:pt x="38" y="10"/>
                    </a:lnTo>
                    <a:lnTo>
                      <a:pt x="55" y="3"/>
                    </a:lnTo>
                    <a:lnTo>
                      <a:pt x="75"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sp>
            <p:nvSpPr>
              <p:cNvPr id="100" name="Freeform 36">
                <a:extLst>
                  <a:ext uri="{FF2B5EF4-FFF2-40B4-BE49-F238E27FC236}">
                    <a16:creationId xmlns:a16="http://schemas.microsoft.com/office/drawing/2014/main" id="{D2B52F9A-2370-8442-8BA6-44DDAEE5AEF3}"/>
                  </a:ext>
                </a:extLst>
              </p:cNvPr>
              <p:cNvSpPr>
                <a:spLocks/>
              </p:cNvSpPr>
              <p:nvPr/>
            </p:nvSpPr>
            <p:spPr bwMode="auto">
              <a:xfrm>
                <a:off x="3311525" y="400050"/>
                <a:ext cx="46038" cy="47625"/>
              </a:xfrm>
              <a:custGeom>
                <a:avLst/>
                <a:gdLst>
                  <a:gd name="T0" fmla="*/ 283 w 565"/>
                  <a:gd name="T1" fmla="*/ 0 h 567"/>
                  <a:gd name="T2" fmla="*/ 325 w 565"/>
                  <a:gd name="T3" fmla="*/ 3 h 567"/>
                  <a:gd name="T4" fmla="*/ 365 w 565"/>
                  <a:gd name="T5" fmla="*/ 12 h 567"/>
                  <a:gd name="T6" fmla="*/ 402 w 565"/>
                  <a:gd name="T7" fmla="*/ 26 h 567"/>
                  <a:gd name="T8" fmla="*/ 437 w 565"/>
                  <a:gd name="T9" fmla="*/ 45 h 567"/>
                  <a:gd name="T10" fmla="*/ 468 w 565"/>
                  <a:gd name="T11" fmla="*/ 69 h 567"/>
                  <a:gd name="T12" fmla="*/ 496 w 565"/>
                  <a:gd name="T13" fmla="*/ 98 h 567"/>
                  <a:gd name="T14" fmla="*/ 520 w 565"/>
                  <a:gd name="T15" fmla="*/ 129 h 567"/>
                  <a:gd name="T16" fmla="*/ 539 w 565"/>
                  <a:gd name="T17" fmla="*/ 164 h 567"/>
                  <a:gd name="T18" fmla="*/ 554 w 565"/>
                  <a:gd name="T19" fmla="*/ 201 h 567"/>
                  <a:gd name="T20" fmla="*/ 562 w 565"/>
                  <a:gd name="T21" fmla="*/ 241 h 567"/>
                  <a:gd name="T22" fmla="*/ 565 w 565"/>
                  <a:gd name="T23" fmla="*/ 283 h 567"/>
                  <a:gd name="T24" fmla="*/ 562 w 565"/>
                  <a:gd name="T25" fmla="*/ 325 h 567"/>
                  <a:gd name="T26" fmla="*/ 554 w 565"/>
                  <a:gd name="T27" fmla="*/ 366 h 567"/>
                  <a:gd name="T28" fmla="*/ 539 w 565"/>
                  <a:gd name="T29" fmla="*/ 404 h 567"/>
                  <a:gd name="T30" fmla="*/ 520 w 565"/>
                  <a:gd name="T31" fmla="*/ 438 h 567"/>
                  <a:gd name="T32" fmla="*/ 496 w 565"/>
                  <a:gd name="T33" fmla="*/ 470 h 567"/>
                  <a:gd name="T34" fmla="*/ 468 w 565"/>
                  <a:gd name="T35" fmla="*/ 498 h 567"/>
                  <a:gd name="T36" fmla="*/ 437 w 565"/>
                  <a:gd name="T37" fmla="*/ 521 h 567"/>
                  <a:gd name="T38" fmla="*/ 402 w 565"/>
                  <a:gd name="T39" fmla="*/ 541 h 567"/>
                  <a:gd name="T40" fmla="*/ 365 w 565"/>
                  <a:gd name="T41" fmla="*/ 555 h 567"/>
                  <a:gd name="T42" fmla="*/ 325 w 565"/>
                  <a:gd name="T43" fmla="*/ 564 h 567"/>
                  <a:gd name="T44" fmla="*/ 283 w 565"/>
                  <a:gd name="T45" fmla="*/ 567 h 567"/>
                  <a:gd name="T46" fmla="*/ 242 w 565"/>
                  <a:gd name="T47" fmla="*/ 564 h 567"/>
                  <a:gd name="T48" fmla="*/ 201 w 565"/>
                  <a:gd name="T49" fmla="*/ 555 h 567"/>
                  <a:gd name="T50" fmla="*/ 163 w 565"/>
                  <a:gd name="T51" fmla="*/ 541 h 567"/>
                  <a:gd name="T52" fmla="*/ 129 w 565"/>
                  <a:gd name="T53" fmla="*/ 521 h 567"/>
                  <a:gd name="T54" fmla="*/ 98 w 565"/>
                  <a:gd name="T55" fmla="*/ 498 h 567"/>
                  <a:gd name="T56" fmla="*/ 69 w 565"/>
                  <a:gd name="T57" fmla="*/ 470 h 567"/>
                  <a:gd name="T58" fmla="*/ 45 w 565"/>
                  <a:gd name="T59" fmla="*/ 438 h 567"/>
                  <a:gd name="T60" fmla="*/ 27 w 565"/>
                  <a:gd name="T61" fmla="*/ 404 h 567"/>
                  <a:gd name="T62" fmla="*/ 12 w 565"/>
                  <a:gd name="T63" fmla="*/ 366 h 567"/>
                  <a:gd name="T64" fmla="*/ 4 w 565"/>
                  <a:gd name="T65" fmla="*/ 325 h 567"/>
                  <a:gd name="T66" fmla="*/ 0 w 565"/>
                  <a:gd name="T67" fmla="*/ 283 h 567"/>
                  <a:gd name="T68" fmla="*/ 4 w 565"/>
                  <a:gd name="T69" fmla="*/ 241 h 567"/>
                  <a:gd name="T70" fmla="*/ 12 w 565"/>
                  <a:gd name="T71" fmla="*/ 201 h 567"/>
                  <a:gd name="T72" fmla="*/ 27 w 565"/>
                  <a:gd name="T73" fmla="*/ 164 h 567"/>
                  <a:gd name="T74" fmla="*/ 45 w 565"/>
                  <a:gd name="T75" fmla="*/ 129 h 567"/>
                  <a:gd name="T76" fmla="*/ 69 w 565"/>
                  <a:gd name="T77" fmla="*/ 98 h 567"/>
                  <a:gd name="T78" fmla="*/ 98 w 565"/>
                  <a:gd name="T79" fmla="*/ 69 h 567"/>
                  <a:gd name="T80" fmla="*/ 129 w 565"/>
                  <a:gd name="T81" fmla="*/ 45 h 567"/>
                  <a:gd name="T82" fmla="*/ 163 w 565"/>
                  <a:gd name="T83" fmla="*/ 26 h 567"/>
                  <a:gd name="T84" fmla="*/ 201 w 565"/>
                  <a:gd name="T85" fmla="*/ 12 h 567"/>
                  <a:gd name="T86" fmla="*/ 242 w 565"/>
                  <a:gd name="T87" fmla="*/ 3 h 567"/>
                  <a:gd name="T88" fmla="*/ 283 w 565"/>
                  <a:gd name="T89" fmla="*/ 0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5" h="567">
                    <a:moveTo>
                      <a:pt x="283" y="0"/>
                    </a:moveTo>
                    <a:lnTo>
                      <a:pt x="325" y="3"/>
                    </a:lnTo>
                    <a:lnTo>
                      <a:pt x="365" y="12"/>
                    </a:lnTo>
                    <a:lnTo>
                      <a:pt x="402" y="26"/>
                    </a:lnTo>
                    <a:lnTo>
                      <a:pt x="437" y="45"/>
                    </a:lnTo>
                    <a:lnTo>
                      <a:pt x="468" y="69"/>
                    </a:lnTo>
                    <a:lnTo>
                      <a:pt x="496" y="98"/>
                    </a:lnTo>
                    <a:lnTo>
                      <a:pt x="520" y="129"/>
                    </a:lnTo>
                    <a:lnTo>
                      <a:pt x="539" y="164"/>
                    </a:lnTo>
                    <a:lnTo>
                      <a:pt x="554" y="201"/>
                    </a:lnTo>
                    <a:lnTo>
                      <a:pt x="562" y="241"/>
                    </a:lnTo>
                    <a:lnTo>
                      <a:pt x="565" y="283"/>
                    </a:lnTo>
                    <a:lnTo>
                      <a:pt x="562" y="325"/>
                    </a:lnTo>
                    <a:lnTo>
                      <a:pt x="554" y="366"/>
                    </a:lnTo>
                    <a:lnTo>
                      <a:pt x="539" y="404"/>
                    </a:lnTo>
                    <a:lnTo>
                      <a:pt x="520" y="438"/>
                    </a:lnTo>
                    <a:lnTo>
                      <a:pt x="496" y="470"/>
                    </a:lnTo>
                    <a:lnTo>
                      <a:pt x="468" y="498"/>
                    </a:lnTo>
                    <a:lnTo>
                      <a:pt x="437" y="521"/>
                    </a:lnTo>
                    <a:lnTo>
                      <a:pt x="402" y="541"/>
                    </a:lnTo>
                    <a:lnTo>
                      <a:pt x="365" y="555"/>
                    </a:lnTo>
                    <a:lnTo>
                      <a:pt x="325" y="564"/>
                    </a:lnTo>
                    <a:lnTo>
                      <a:pt x="283" y="567"/>
                    </a:lnTo>
                    <a:lnTo>
                      <a:pt x="242" y="564"/>
                    </a:lnTo>
                    <a:lnTo>
                      <a:pt x="201" y="555"/>
                    </a:lnTo>
                    <a:lnTo>
                      <a:pt x="163" y="541"/>
                    </a:lnTo>
                    <a:lnTo>
                      <a:pt x="129" y="521"/>
                    </a:lnTo>
                    <a:lnTo>
                      <a:pt x="98" y="498"/>
                    </a:lnTo>
                    <a:lnTo>
                      <a:pt x="69" y="470"/>
                    </a:lnTo>
                    <a:lnTo>
                      <a:pt x="45" y="438"/>
                    </a:lnTo>
                    <a:lnTo>
                      <a:pt x="27" y="404"/>
                    </a:lnTo>
                    <a:lnTo>
                      <a:pt x="12" y="366"/>
                    </a:lnTo>
                    <a:lnTo>
                      <a:pt x="4" y="325"/>
                    </a:lnTo>
                    <a:lnTo>
                      <a:pt x="0" y="283"/>
                    </a:lnTo>
                    <a:lnTo>
                      <a:pt x="4" y="241"/>
                    </a:lnTo>
                    <a:lnTo>
                      <a:pt x="12" y="201"/>
                    </a:lnTo>
                    <a:lnTo>
                      <a:pt x="27" y="164"/>
                    </a:lnTo>
                    <a:lnTo>
                      <a:pt x="45" y="129"/>
                    </a:lnTo>
                    <a:lnTo>
                      <a:pt x="69" y="98"/>
                    </a:lnTo>
                    <a:lnTo>
                      <a:pt x="98" y="69"/>
                    </a:lnTo>
                    <a:lnTo>
                      <a:pt x="129" y="45"/>
                    </a:lnTo>
                    <a:lnTo>
                      <a:pt x="163" y="26"/>
                    </a:lnTo>
                    <a:lnTo>
                      <a:pt x="201" y="12"/>
                    </a:lnTo>
                    <a:lnTo>
                      <a:pt x="242" y="3"/>
                    </a:lnTo>
                    <a:lnTo>
                      <a:pt x="283"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sp>
            <p:nvSpPr>
              <p:cNvPr id="101" name="Freeform 37">
                <a:extLst>
                  <a:ext uri="{FF2B5EF4-FFF2-40B4-BE49-F238E27FC236}">
                    <a16:creationId xmlns:a16="http://schemas.microsoft.com/office/drawing/2014/main" id="{E8168657-0F3B-F74D-B8B9-7C474EB30C59}"/>
                  </a:ext>
                </a:extLst>
              </p:cNvPr>
              <p:cNvSpPr>
                <a:spLocks/>
              </p:cNvSpPr>
              <p:nvPr/>
            </p:nvSpPr>
            <p:spPr bwMode="auto">
              <a:xfrm>
                <a:off x="3276600" y="455613"/>
                <a:ext cx="220663" cy="231775"/>
              </a:xfrm>
              <a:custGeom>
                <a:avLst/>
                <a:gdLst>
                  <a:gd name="T0" fmla="*/ 599 w 2651"/>
                  <a:gd name="T1" fmla="*/ 262 h 2789"/>
                  <a:gd name="T2" fmla="*/ 660 w 2651"/>
                  <a:gd name="T3" fmla="*/ 122 h 2789"/>
                  <a:gd name="T4" fmla="*/ 619 w 2651"/>
                  <a:gd name="T5" fmla="*/ 3 h 2789"/>
                  <a:gd name="T6" fmla="*/ 781 w 2651"/>
                  <a:gd name="T7" fmla="*/ 11 h 2789"/>
                  <a:gd name="T8" fmla="*/ 787 w 2651"/>
                  <a:gd name="T9" fmla="*/ 223 h 2789"/>
                  <a:gd name="T10" fmla="*/ 753 w 2651"/>
                  <a:gd name="T11" fmla="*/ 456 h 2789"/>
                  <a:gd name="T12" fmla="*/ 1146 w 2651"/>
                  <a:gd name="T13" fmla="*/ 12 h 2789"/>
                  <a:gd name="T14" fmla="*/ 1288 w 2651"/>
                  <a:gd name="T15" fmla="*/ 95 h 2789"/>
                  <a:gd name="T16" fmla="*/ 1372 w 2651"/>
                  <a:gd name="T17" fmla="*/ 237 h 2789"/>
                  <a:gd name="T18" fmla="*/ 1385 w 2651"/>
                  <a:gd name="T19" fmla="*/ 422 h 2789"/>
                  <a:gd name="T20" fmla="*/ 1386 w 2651"/>
                  <a:gd name="T21" fmla="*/ 564 h 2789"/>
                  <a:gd name="T22" fmla="*/ 1798 w 2651"/>
                  <a:gd name="T23" fmla="*/ 865 h 2789"/>
                  <a:gd name="T24" fmla="*/ 1864 w 2651"/>
                  <a:gd name="T25" fmla="*/ 945 h 2789"/>
                  <a:gd name="T26" fmla="*/ 1853 w 2651"/>
                  <a:gd name="T27" fmla="*/ 1050 h 2789"/>
                  <a:gd name="T28" fmla="*/ 1773 w 2651"/>
                  <a:gd name="T29" fmla="*/ 1116 h 2789"/>
                  <a:gd name="T30" fmla="*/ 1670 w 2651"/>
                  <a:gd name="T31" fmla="*/ 1106 h 2789"/>
                  <a:gd name="T32" fmla="*/ 1134 w 2651"/>
                  <a:gd name="T33" fmla="*/ 795 h 2789"/>
                  <a:gd name="T34" fmla="*/ 1114 w 2651"/>
                  <a:gd name="T35" fmla="*/ 683 h 2789"/>
                  <a:gd name="T36" fmla="*/ 1113 w 2651"/>
                  <a:gd name="T37" fmla="*/ 572 h 2789"/>
                  <a:gd name="T38" fmla="*/ 1113 w 2651"/>
                  <a:gd name="T39" fmla="*/ 510 h 2789"/>
                  <a:gd name="T40" fmla="*/ 1112 w 2651"/>
                  <a:gd name="T41" fmla="*/ 433 h 2789"/>
                  <a:gd name="T42" fmla="*/ 1112 w 2651"/>
                  <a:gd name="T43" fmla="*/ 321 h 2789"/>
                  <a:gd name="T44" fmla="*/ 1083 w 2651"/>
                  <a:gd name="T45" fmla="*/ 292 h 2789"/>
                  <a:gd name="T46" fmla="*/ 1055 w 2651"/>
                  <a:gd name="T47" fmla="*/ 321 h 2789"/>
                  <a:gd name="T48" fmla="*/ 1329 w 2651"/>
                  <a:gd name="T49" fmla="*/ 1707 h 2789"/>
                  <a:gd name="T50" fmla="*/ 1373 w 2651"/>
                  <a:gd name="T51" fmla="*/ 2432 h 2789"/>
                  <a:gd name="T52" fmla="*/ 1510 w 2651"/>
                  <a:gd name="T53" fmla="*/ 2338 h 2789"/>
                  <a:gd name="T54" fmla="*/ 1626 w 2651"/>
                  <a:gd name="T55" fmla="*/ 2265 h 2789"/>
                  <a:gd name="T56" fmla="*/ 1734 w 2651"/>
                  <a:gd name="T57" fmla="*/ 1259 h 2789"/>
                  <a:gd name="T58" fmla="*/ 1874 w 2651"/>
                  <a:gd name="T59" fmla="*/ 2259 h 2789"/>
                  <a:gd name="T60" fmla="*/ 2127 w 2651"/>
                  <a:gd name="T61" fmla="*/ 2346 h 2789"/>
                  <a:gd name="T62" fmla="*/ 2354 w 2651"/>
                  <a:gd name="T63" fmla="*/ 2479 h 2789"/>
                  <a:gd name="T64" fmla="*/ 2538 w 2651"/>
                  <a:gd name="T65" fmla="*/ 2621 h 2789"/>
                  <a:gd name="T66" fmla="*/ 2646 w 2651"/>
                  <a:gd name="T67" fmla="*/ 2720 h 2789"/>
                  <a:gd name="T68" fmla="*/ 2642 w 2651"/>
                  <a:gd name="T69" fmla="*/ 2764 h 2789"/>
                  <a:gd name="T70" fmla="*/ 858 w 2651"/>
                  <a:gd name="T71" fmla="*/ 2780 h 2789"/>
                  <a:gd name="T72" fmla="*/ 818 w 2651"/>
                  <a:gd name="T73" fmla="*/ 2745 h 2789"/>
                  <a:gd name="T74" fmla="*/ 855 w 2651"/>
                  <a:gd name="T75" fmla="*/ 2677 h 2789"/>
                  <a:gd name="T76" fmla="*/ 968 w 2651"/>
                  <a:gd name="T77" fmla="*/ 2588 h 2789"/>
                  <a:gd name="T78" fmla="*/ 1023 w 2651"/>
                  <a:gd name="T79" fmla="*/ 2507 h 2789"/>
                  <a:gd name="T80" fmla="*/ 1004 w 2651"/>
                  <a:gd name="T81" fmla="*/ 1782 h 2789"/>
                  <a:gd name="T82" fmla="*/ 657 w 2651"/>
                  <a:gd name="T83" fmla="*/ 2653 h 2789"/>
                  <a:gd name="T84" fmla="*/ 601 w 2651"/>
                  <a:gd name="T85" fmla="*/ 2750 h 2789"/>
                  <a:gd name="T86" fmla="*/ 496 w 2651"/>
                  <a:gd name="T87" fmla="*/ 2789 h 2789"/>
                  <a:gd name="T88" fmla="*/ 390 w 2651"/>
                  <a:gd name="T89" fmla="*/ 2750 h 2789"/>
                  <a:gd name="T90" fmla="*/ 335 w 2651"/>
                  <a:gd name="T91" fmla="*/ 2653 h 2789"/>
                  <a:gd name="T92" fmla="*/ 325 w 2651"/>
                  <a:gd name="T93" fmla="*/ 305 h 2789"/>
                  <a:gd name="T94" fmla="*/ 286 w 2651"/>
                  <a:gd name="T95" fmla="*/ 305 h 2789"/>
                  <a:gd name="T96" fmla="*/ 270 w 2651"/>
                  <a:gd name="T97" fmla="*/ 1357 h 2789"/>
                  <a:gd name="T98" fmla="*/ 213 w 2651"/>
                  <a:gd name="T99" fmla="*/ 1442 h 2789"/>
                  <a:gd name="T100" fmla="*/ 136 w 2651"/>
                  <a:gd name="T101" fmla="*/ 1465 h 2789"/>
                  <a:gd name="T102" fmla="*/ 40 w 2651"/>
                  <a:gd name="T103" fmla="*/ 1425 h 2789"/>
                  <a:gd name="T104" fmla="*/ 0 w 2651"/>
                  <a:gd name="T105" fmla="*/ 1328 h 2789"/>
                  <a:gd name="T106" fmla="*/ 31 w 2651"/>
                  <a:gd name="T107" fmla="*/ 197 h 2789"/>
                  <a:gd name="T108" fmla="*/ 132 w 2651"/>
                  <a:gd name="T109" fmla="*/ 67 h 2789"/>
                  <a:gd name="T110" fmla="*/ 285 w 2651"/>
                  <a:gd name="T111" fmla="*/ 3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1" h="2789">
                    <a:moveTo>
                      <a:pt x="328" y="0"/>
                    </a:moveTo>
                    <a:lnTo>
                      <a:pt x="465" y="0"/>
                    </a:lnTo>
                    <a:lnTo>
                      <a:pt x="635" y="456"/>
                    </a:lnTo>
                    <a:lnTo>
                      <a:pt x="599" y="262"/>
                    </a:lnTo>
                    <a:lnTo>
                      <a:pt x="598" y="248"/>
                    </a:lnTo>
                    <a:lnTo>
                      <a:pt x="599" y="236"/>
                    </a:lnTo>
                    <a:lnTo>
                      <a:pt x="605" y="223"/>
                    </a:lnTo>
                    <a:lnTo>
                      <a:pt x="660" y="122"/>
                    </a:lnTo>
                    <a:lnTo>
                      <a:pt x="611" y="31"/>
                    </a:lnTo>
                    <a:lnTo>
                      <a:pt x="609" y="20"/>
                    </a:lnTo>
                    <a:lnTo>
                      <a:pt x="612" y="11"/>
                    </a:lnTo>
                    <a:lnTo>
                      <a:pt x="619" y="3"/>
                    </a:lnTo>
                    <a:lnTo>
                      <a:pt x="629" y="0"/>
                    </a:lnTo>
                    <a:lnTo>
                      <a:pt x="763" y="0"/>
                    </a:lnTo>
                    <a:lnTo>
                      <a:pt x="774" y="3"/>
                    </a:lnTo>
                    <a:lnTo>
                      <a:pt x="781" y="11"/>
                    </a:lnTo>
                    <a:lnTo>
                      <a:pt x="784" y="20"/>
                    </a:lnTo>
                    <a:lnTo>
                      <a:pt x="781" y="31"/>
                    </a:lnTo>
                    <a:lnTo>
                      <a:pt x="732" y="122"/>
                    </a:lnTo>
                    <a:lnTo>
                      <a:pt x="787" y="223"/>
                    </a:lnTo>
                    <a:lnTo>
                      <a:pt x="792" y="236"/>
                    </a:lnTo>
                    <a:lnTo>
                      <a:pt x="795" y="248"/>
                    </a:lnTo>
                    <a:lnTo>
                      <a:pt x="794" y="262"/>
                    </a:lnTo>
                    <a:lnTo>
                      <a:pt x="753" y="456"/>
                    </a:lnTo>
                    <a:lnTo>
                      <a:pt x="925" y="0"/>
                    </a:lnTo>
                    <a:lnTo>
                      <a:pt x="1062" y="0"/>
                    </a:lnTo>
                    <a:lnTo>
                      <a:pt x="1105" y="3"/>
                    </a:lnTo>
                    <a:lnTo>
                      <a:pt x="1146" y="12"/>
                    </a:lnTo>
                    <a:lnTo>
                      <a:pt x="1186" y="26"/>
                    </a:lnTo>
                    <a:lnTo>
                      <a:pt x="1224" y="44"/>
                    </a:lnTo>
                    <a:lnTo>
                      <a:pt x="1258" y="67"/>
                    </a:lnTo>
                    <a:lnTo>
                      <a:pt x="1288" y="95"/>
                    </a:lnTo>
                    <a:lnTo>
                      <a:pt x="1317" y="126"/>
                    </a:lnTo>
                    <a:lnTo>
                      <a:pt x="1340" y="160"/>
                    </a:lnTo>
                    <a:lnTo>
                      <a:pt x="1358" y="197"/>
                    </a:lnTo>
                    <a:lnTo>
                      <a:pt x="1372" y="237"/>
                    </a:lnTo>
                    <a:lnTo>
                      <a:pt x="1381" y="279"/>
                    </a:lnTo>
                    <a:lnTo>
                      <a:pt x="1385" y="323"/>
                    </a:lnTo>
                    <a:lnTo>
                      <a:pt x="1385" y="375"/>
                    </a:lnTo>
                    <a:lnTo>
                      <a:pt x="1385" y="422"/>
                    </a:lnTo>
                    <a:lnTo>
                      <a:pt x="1386" y="464"/>
                    </a:lnTo>
                    <a:lnTo>
                      <a:pt x="1386" y="501"/>
                    </a:lnTo>
                    <a:lnTo>
                      <a:pt x="1386" y="535"/>
                    </a:lnTo>
                    <a:lnTo>
                      <a:pt x="1386" y="564"/>
                    </a:lnTo>
                    <a:lnTo>
                      <a:pt x="1386" y="592"/>
                    </a:lnTo>
                    <a:lnTo>
                      <a:pt x="1386" y="618"/>
                    </a:lnTo>
                    <a:lnTo>
                      <a:pt x="1387" y="644"/>
                    </a:lnTo>
                    <a:lnTo>
                      <a:pt x="1798" y="865"/>
                    </a:lnTo>
                    <a:lnTo>
                      <a:pt x="1821" y="880"/>
                    </a:lnTo>
                    <a:lnTo>
                      <a:pt x="1840" y="899"/>
                    </a:lnTo>
                    <a:lnTo>
                      <a:pt x="1854" y="921"/>
                    </a:lnTo>
                    <a:lnTo>
                      <a:pt x="1864" y="945"/>
                    </a:lnTo>
                    <a:lnTo>
                      <a:pt x="1869" y="971"/>
                    </a:lnTo>
                    <a:lnTo>
                      <a:pt x="1869" y="998"/>
                    </a:lnTo>
                    <a:lnTo>
                      <a:pt x="1865" y="1024"/>
                    </a:lnTo>
                    <a:lnTo>
                      <a:pt x="1853" y="1050"/>
                    </a:lnTo>
                    <a:lnTo>
                      <a:pt x="1839" y="1073"/>
                    </a:lnTo>
                    <a:lnTo>
                      <a:pt x="1819" y="1092"/>
                    </a:lnTo>
                    <a:lnTo>
                      <a:pt x="1797" y="1106"/>
                    </a:lnTo>
                    <a:lnTo>
                      <a:pt x="1773" y="1116"/>
                    </a:lnTo>
                    <a:lnTo>
                      <a:pt x="1748" y="1121"/>
                    </a:lnTo>
                    <a:lnTo>
                      <a:pt x="1721" y="1121"/>
                    </a:lnTo>
                    <a:lnTo>
                      <a:pt x="1695" y="1116"/>
                    </a:lnTo>
                    <a:lnTo>
                      <a:pt x="1670" y="1106"/>
                    </a:lnTo>
                    <a:lnTo>
                      <a:pt x="1186" y="846"/>
                    </a:lnTo>
                    <a:lnTo>
                      <a:pt x="1165" y="832"/>
                    </a:lnTo>
                    <a:lnTo>
                      <a:pt x="1148" y="815"/>
                    </a:lnTo>
                    <a:lnTo>
                      <a:pt x="1134" y="795"/>
                    </a:lnTo>
                    <a:lnTo>
                      <a:pt x="1123" y="774"/>
                    </a:lnTo>
                    <a:lnTo>
                      <a:pt x="1116" y="750"/>
                    </a:lnTo>
                    <a:lnTo>
                      <a:pt x="1114" y="726"/>
                    </a:lnTo>
                    <a:lnTo>
                      <a:pt x="1114" y="683"/>
                    </a:lnTo>
                    <a:lnTo>
                      <a:pt x="1114" y="647"/>
                    </a:lnTo>
                    <a:lnTo>
                      <a:pt x="1113" y="617"/>
                    </a:lnTo>
                    <a:lnTo>
                      <a:pt x="1113" y="592"/>
                    </a:lnTo>
                    <a:lnTo>
                      <a:pt x="1113" y="572"/>
                    </a:lnTo>
                    <a:lnTo>
                      <a:pt x="1113" y="554"/>
                    </a:lnTo>
                    <a:lnTo>
                      <a:pt x="1113" y="540"/>
                    </a:lnTo>
                    <a:lnTo>
                      <a:pt x="1113" y="525"/>
                    </a:lnTo>
                    <a:lnTo>
                      <a:pt x="1113" y="510"/>
                    </a:lnTo>
                    <a:lnTo>
                      <a:pt x="1113" y="496"/>
                    </a:lnTo>
                    <a:lnTo>
                      <a:pt x="1113" y="478"/>
                    </a:lnTo>
                    <a:lnTo>
                      <a:pt x="1112" y="458"/>
                    </a:lnTo>
                    <a:lnTo>
                      <a:pt x="1112" y="433"/>
                    </a:lnTo>
                    <a:lnTo>
                      <a:pt x="1112" y="404"/>
                    </a:lnTo>
                    <a:lnTo>
                      <a:pt x="1112" y="368"/>
                    </a:lnTo>
                    <a:lnTo>
                      <a:pt x="1112" y="324"/>
                    </a:lnTo>
                    <a:lnTo>
                      <a:pt x="1112" y="321"/>
                    </a:lnTo>
                    <a:lnTo>
                      <a:pt x="1110" y="310"/>
                    </a:lnTo>
                    <a:lnTo>
                      <a:pt x="1104" y="301"/>
                    </a:lnTo>
                    <a:lnTo>
                      <a:pt x="1094" y="295"/>
                    </a:lnTo>
                    <a:lnTo>
                      <a:pt x="1083" y="292"/>
                    </a:lnTo>
                    <a:lnTo>
                      <a:pt x="1072" y="295"/>
                    </a:lnTo>
                    <a:lnTo>
                      <a:pt x="1063" y="301"/>
                    </a:lnTo>
                    <a:lnTo>
                      <a:pt x="1057" y="310"/>
                    </a:lnTo>
                    <a:lnTo>
                      <a:pt x="1055" y="321"/>
                    </a:lnTo>
                    <a:lnTo>
                      <a:pt x="1055" y="1218"/>
                    </a:lnTo>
                    <a:lnTo>
                      <a:pt x="1309" y="1654"/>
                    </a:lnTo>
                    <a:lnTo>
                      <a:pt x="1321" y="1680"/>
                    </a:lnTo>
                    <a:lnTo>
                      <a:pt x="1329" y="1707"/>
                    </a:lnTo>
                    <a:lnTo>
                      <a:pt x="1331" y="1736"/>
                    </a:lnTo>
                    <a:lnTo>
                      <a:pt x="1331" y="2429"/>
                    </a:lnTo>
                    <a:lnTo>
                      <a:pt x="1329" y="2455"/>
                    </a:lnTo>
                    <a:lnTo>
                      <a:pt x="1373" y="2432"/>
                    </a:lnTo>
                    <a:lnTo>
                      <a:pt x="1413" y="2408"/>
                    </a:lnTo>
                    <a:lnTo>
                      <a:pt x="1447" y="2384"/>
                    </a:lnTo>
                    <a:lnTo>
                      <a:pt x="1480" y="2361"/>
                    </a:lnTo>
                    <a:lnTo>
                      <a:pt x="1510" y="2338"/>
                    </a:lnTo>
                    <a:lnTo>
                      <a:pt x="1538" y="2316"/>
                    </a:lnTo>
                    <a:lnTo>
                      <a:pt x="1567" y="2296"/>
                    </a:lnTo>
                    <a:lnTo>
                      <a:pt x="1595" y="2278"/>
                    </a:lnTo>
                    <a:lnTo>
                      <a:pt x="1626" y="2265"/>
                    </a:lnTo>
                    <a:lnTo>
                      <a:pt x="1658" y="2253"/>
                    </a:lnTo>
                    <a:lnTo>
                      <a:pt x="1658" y="1248"/>
                    </a:lnTo>
                    <a:lnTo>
                      <a:pt x="1696" y="1257"/>
                    </a:lnTo>
                    <a:lnTo>
                      <a:pt x="1734" y="1259"/>
                    </a:lnTo>
                    <a:lnTo>
                      <a:pt x="1772" y="1255"/>
                    </a:lnTo>
                    <a:lnTo>
                      <a:pt x="1810" y="1248"/>
                    </a:lnTo>
                    <a:lnTo>
                      <a:pt x="1810" y="2249"/>
                    </a:lnTo>
                    <a:lnTo>
                      <a:pt x="1874" y="2259"/>
                    </a:lnTo>
                    <a:lnTo>
                      <a:pt x="1939" y="2275"/>
                    </a:lnTo>
                    <a:lnTo>
                      <a:pt x="2003" y="2295"/>
                    </a:lnTo>
                    <a:lnTo>
                      <a:pt x="2065" y="2319"/>
                    </a:lnTo>
                    <a:lnTo>
                      <a:pt x="2127" y="2346"/>
                    </a:lnTo>
                    <a:lnTo>
                      <a:pt x="2186" y="2377"/>
                    </a:lnTo>
                    <a:lnTo>
                      <a:pt x="2245" y="2410"/>
                    </a:lnTo>
                    <a:lnTo>
                      <a:pt x="2300" y="2445"/>
                    </a:lnTo>
                    <a:lnTo>
                      <a:pt x="2354" y="2479"/>
                    </a:lnTo>
                    <a:lnTo>
                      <a:pt x="2405" y="2516"/>
                    </a:lnTo>
                    <a:lnTo>
                      <a:pt x="2453" y="2552"/>
                    </a:lnTo>
                    <a:lnTo>
                      <a:pt x="2498" y="2587"/>
                    </a:lnTo>
                    <a:lnTo>
                      <a:pt x="2538" y="2621"/>
                    </a:lnTo>
                    <a:lnTo>
                      <a:pt x="2576" y="2653"/>
                    </a:lnTo>
                    <a:lnTo>
                      <a:pt x="2609" y="2684"/>
                    </a:lnTo>
                    <a:lnTo>
                      <a:pt x="2639" y="2710"/>
                    </a:lnTo>
                    <a:lnTo>
                      <a:pt x="2646" y="2720"/>
                    </a:lnTo>
                    <a:lnTo>
                      <a:pt x="2650" y="2731"/>
                    </a:lnTo>
                    <a:lnTo>
                      <a:pt x="2651" y="2742"/>
                    </a:lnTo>
                    <a:lnTo>
                      <a:pt x="2648" y="2755"/>
                    </a:lnTo>
                    <a:lnTo>
                      <a:pt x="2642" y="2764"/>
                    </a:lnTo>
                    <a:lnTo>
                      <a:pt x="2633" y="2773"/>
                    </a:lnTo>
                    <a:lnTo>
                      <a:pt x="2623" y="2778"/>
                    </a:lnTo>
                    <a:lnTo>
                      <a:pt x="2611" y="2780"/>
                    </a:lnTo>
                    <a:lnTo>
                      <a:pt x="858" y="2780"/>
                    </a:lnTo>
                    <a:lnTo>
                      <a:pt x="844" y="2777"/>
                    </a:lnTo>
                    <a:lnTo>
                      <a:pt x="831" y="2770"/>
                    </a:lnTo>
                    <a:lnTo>
                      <a:pt x="823" y="2759"/>
                    </a:lnTo>
                    <a:lnTo>
                      <a:pt x="818" y="2745"/>
                    </a:lnTo>
                    <a:lnTo>
                      <a:pt x="819" y="2731"/>
                    </a:lnTo>
                    <a:lnTo>
                      <a:pt x="824" y="2717"/>
                    </a:lnTo>
                    <a:lnTo>
                      <a:pt x="838" y="2698"/>
                    </a:lnTo>
                    <a:lnTo>
                      <a:pt x="855" y="2677"/>
                    </a:lnTo>
                    <a:lnTo>
                      <a:pt x="877" y="2655"/>
                    </a:lnTo>
                    <a:lnTo>
                      <a:pt x="902" y="2633"/>
                    </a:lnTo>
                    <a:lnTo>
                      <a:pt x="932" y="2611"/>
                    </a:lnTo>
                    <a:lnTo>
                      <a:pt x="968" y="2588"/>
                    </a:lnTo>
                    <a:lnTo>
                      <a:pt x="1009" y="2567"/>
                    </a:lnTo>
                    <a:lnTo>
                      <a:pt x="1055" y="2548"/>
                    </a:lnTo>
                    <a:lnTo>
                      <a:pt x="1038" y="2528"/>
                    </a:lnTo>
                    <a:lnTo>
                      <a:pt x="1023" y="2507"/>
                    </a:lnTo>
                    <a:lnTo>
                      <a:pt x="1013" y="2483"/>
                    </a:lnTo>
                    <a:lnTo>
                      <a:pt x="1007" y="2456"/>
                    </a:lnTo>
                    <a:lnTo>
                      <a:pt x="1004" y="2429"/>
                    </a:lnTo>
                    <a:lnTo>
                      <a:pt x="1004" y="1782"/>
                    </a:lnTo>
                    <a:lnTo>
                      <a:pt x="730" y="1312"/>
                    </a:lnTo>
                    <a:lnTo>
                      <a:pt x="660" y="1312"/>
                    </a:lnTo>
                    <a:lnTo>
                      <a:pt x="660" y="2624"/>
                    </a:lnTo>
                    <a:lnTo>
                      <a:pt x="657" y="2653"/>
                    </a:lnTo>
                    <a:lnTo>
                      <a:pt x="649" y="2682"/>
                    </a:lnTo>
                    <a:lnTo>
                      <a:pt x="637" y="2707"/>
                    </a:lnTo>
                    <a:lnTo>
                      <a:pt x="621" y="2730"/>
                    </a:lnTo>
                    <a:lnTo>
                      <a:pt x="601" y="2750"/>
                    </a:lnTo>
                    <a:lnTo>
                      <a:pt x="578" y="2767"/>
                    </a:lnTo>
                    <a:lnTo>
                      <a:pt x="553" y="2778"/>
                    </a:lnTo>
                    <a:lnTo>
                      <a:pt x="525" y="2785"/>
                    </a:lnTo>
                    <a:lnTo>
                      <a:pt x="496" y="2789"/>
                    </a:lnTo>
                    <a:lnTo>
                      <a:pt x="467" y="2785"/>
                    </a:lnTo>
                    <a:lnTo>
                      <a:pt x="439" y="2778"/>
                    </a:lnTo>
                    <a:lnTo>
                      <a:pt x="413" y="2767"/>
                    </a:lnTo>
                    <a:lnTo>
                      <a:pt x="390" y="2750"/>
                    </a:lnTo>
                    <a:lnTo>
                      <a:pt x="371" y="2730"/>
                    </a:lnTo>
                    <a:lnTo>
                      <a:pt x="355" y="2707"/>
                    </a:lnTo>
                    <a:lnTo>
                      <a:pt x="342" y="2682"/>
                    </a:lnTo>
                    <a:lnTo>
                      <a:pt x="335" y="2653"/>
                    </a:lnTo>
                    <a:lnTo>
                      <a:pt x="332" y="2624"/>
                    </a:lnTo>
                    <a:lnTo>
                      <a:pt x="332" y="324"/>
                    </a:lnTo>
                    <a:lnTo>
                      <a:pt x="330" y="313"/>
                    </a:lnTo>
                    <a:lnTo>
                      <a:pt x="325" y="305"/>
                    </a:lnTo>
                    <a:lnTo>
                      <a:pt x="315" y="299"/>
                    </a:lnTo>
                    <a:lnTo>
                      <a:pt x="305" y="297"/>
                    </a:lnTo>
                    <a:lnTo>
                      <a:pt x="294" y="299"/>
                    </a:lnTo>
                    <a:lnTo>
                      <a:pt x="286" y="305"/>
                    </a:lnTo>
                    <a:lnTo>
                      <a:pt x="281" y="313"/>
                    </a:lnTo>
                    <a:lnTo>
                      <a:pt x="278" y="324"/>
                    </a:lnTo>
                    <a:lnTo>
                      <a:pt x="274" y="1329"/>
                    </a:lnTo>
                    <a:lnTo>
                      <a:pt x="270" y="1357"/>
                    </a:lnTo>
                    <a:lnTo>
                      <a:pt x="262" y="1382"/>
                    </a:lnTo>
                    <a:lnTo>
                      <a:pt x="250" y="1405"/>
                    </a:lnTo>
                    <a:lnTo>
                      <a:pt x="233" y="1425"/>
                    </a:lnTo>
                    <a:lnTo>
                      <a:pt x="213" y="1442"/>
                    </a:lnTo>
                    <a:lnTo>
                      <a:pt x="190" y="1455"/>
                    </a:lnTo>
                    <a:lnTo>
                      <a:pt x="164" y="1463"/>
                    </a:lnTo>
                    <a:lnTo>
                      <a:pt x="137" y="1465"/>
                    </a:lnTo>
                    <a:lnTo>
                      <a:pt x="136" y="1465"/>
                    </a:lnTo>
                    <a:lnTo>
                      <a:pt x="109" y="1463"/>
                    </a:lnTo>
                    <a:lnTo>
                      <a:pt x="83" y="1455"/>
                    </a:lnTo>
                    <a:lnTo>
                      <a:pt x="61" y="1442"/>
                    </a:lnTo>
                    <a:lnTo>
                      <a:pt x="40" y="1425"/>
                    </a:lnTo>
                    <a:lnTo>
                      <a:pt x="23" y="1404"/>
                    </a:lnTo>
                    <a:lnTo>
                      <a:pt x="10" y="1381"/>
                    </a:lnTo>
                    <a:lnTo>
                      <a:pt x="3" y="1355"/>
                    </a:lnTo>
                    <a:lnTo>
                      <a:pt x="0" y="1328"/>
                    </a:lnTo>
                    <a:lnTo>
                      <a:pt x="5" y="323"/>
                    </a:lnTo>
                    <a:lnTo>
                      <a:pt x="8" y="279"/>
                    </a:lnTo>
                    <a:lnTo>
                      <a:pt x="18" y="237"/>
                    </a:lnTo>
                    <a:lnTo>
                      <a:pt x="31" y="197"/>
                    </a:lnTo>
                    <a:lnTo>
                      <a:pt x="50" y="160"/>
                    </a:lnTo>
                    <a:lnTo>
                      <a:pt x="73" y="126"/>
                    </a:lnTo>
                    <a:lnTo>
                      <a:pt x="101" y="95"/>
                    </a:lnTo>
                    <a:lnTo>
                      <a:pt x="132" y="67"/>
                    </a:lnTo>
                    <a:lnTo>
                      <a:pt x="166" y="44"/>
                    </a:lnTo>
                    <a:lnTo>
                      <a:pt x="204" y="26"/>
                    </a:lnTo>
                    <a:lnTo>
                      <a:pt x="243" y="12"/>
                    </a:lnTo>
                    <a:lnTo>
                      <a:pt x="285" y="3"/>
                    </a:lnTo>
                    <a:lnTo>
                      <a:pt x="328" y="0"/>
                    </a:lnTo>
                    <a:close/>
                  </a:path>
                </a:pathLst>
              </a:custGeom>
              <a:grpFill/>
              <a:ln w="12700">
                <a:solidFill>
                  <a:srgbClr val="FF6011"/>
                </a:solid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entury Gothic" panose="020B0502020202020204" pitchFamily="34" charset="0"/>
                </a:endParaRPr>
              </a:p>
            </p:txBody>
          </p:sp>
        </p:grpSp>
        <p:pic>
          <p:nvPicPr>
            <p:cNvPr id="97" name="Рисунок 96">
              <a:extLst>
                <a:ext uri="{FF2B5EF4-FFF2-40B4-BE49-F238E27FC236}">
                  <a16:creationId xmlns:a16="http://schemas.microsoft.com/office/drawing/2014/main" id="{5227CE5D-53BF-7643-9F41-1F9C1A35FF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2250" y="3788484"/>
              <a:ext cx="403514" cy="403514"/>
            </a:xfrm>
            <a:prstGeom prst="rect">
              <a:avLst/>
            </a:prstGeom>
          </p:spPr>
        </p:pic>
        <p:pic>
          <p:nvPicPr>
            <p:cNvPr id="98" name="Рисунок 97">
              <a:extLst>
                <a:ext uri="{FF2B5EF4-FFF2-40B4-BE49-F238E27FC236}">
                  <a16:creationId xmlns:a16="http://schemas.microsoft.com/office/drawing/2014/main" id="{90645ADE-E08F-3249-A154-5170723FC2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39489" y="2904051"/>
              <a:ext cx="454588" cy="454588"/>
            </a:xfrm>
            <a:prstGeom prst="rect">
              <a:avLst/>
            </a:prstGeom>
          </p:spPr>
        </p:pic>
      </p:grpSp>
      <p:sp>
        <p:nvSpPr>
          <p:cNvPr id="122" name="Двойная стрелка вверх/вниз 121">
            <a:extLst>
              <a:ext uri="{FF2B5EF4-FFF2-40B4-BE49-F238E27FC236}">
                <a16:creationId xmlns:a16="http://schemas.microsoft.com/office/drawing/2014/main" id="{20E2829D-DC43-594B-9868-12E6110D047D}"/>
              </a:ext>
            </a:extLst>
          </p:cNvPr>
          <p:cNvSpPr/>
          <p:nvPr/>
        </p:nvSpPr>
        <p:spPr>
          <a:xfrm>
            <a:off x="9440583" y="916528"/>
            <a:ext cx="1352811" cy="5573172"/>
          </a:xfrm>
          <a:prstGeom prst="upDownArrow">
            <a:avLst>
              <a:gd name="adj1" fmla="val 50000"/>
              <a:gd name="adj2" fmla="val 41667"/>
            </a:avLst>
          </a:prstGeom>
          <a:solidFill>
            <a:srgbClr val="FF6011">
              <a:alpha val="90000"/>
            </a:srgbClr>
          </a:solidFill>
          <a:ln>
            <a:solidFill>
              <a:srgbClr val="FF4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123" name="TextBox 122">
            <a:extLst>
              <a:ext uri="{FF2B5EF4-FFF2-40B4-BE49-F238E27FC236}">
                <a16:creationId xmlns:a16="http://schemas.microsoft.com/office/drawing/2014/main" id="{0E0EF883-1F84-8C43-8E51-774E12B2F152}"/>
              </a:ext>
            </a:extLst>
          </p:cNvPr>
          <p:cNvSpPr txBox="1"/>
          <p:nvPr/>
        </p:nvSpPr>
        <p:spPr>
          <a:xfrm rot="16200000">
            <a:off x="7902878" y="3524707"/>
            <a:ext cx="4378122"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Governance and Change Management</a:t>
            </a:r>
            <a:endParaRPr lang="ru-AZ"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8989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a:solidFill>
                  <a:srgbClr val="000000">
                    <a:lumMod val="95000"/>
                    <a:lumOff val="5000"/>
                  </a:srgbClr>
                </a:solidFill>
                <a:latin typeface="Arial"/>
              </a:rPr>
              <a:t>U-TRANSFORM PROGRAM (Repositioning)</a:t>
            </a:r>
            <a:endParaRPr kumimoji="0" lang="en-US" sz="2041" i="0" u="none" strike="noStrike" kern="0" cap="none" spc="0" normalizeH="0" baseline="0" noProof="0" dirty="0">
              <a:ln>
                <a:noFill/>
              </a:ln>
              <a:solidFill>
                <a:srgbClr val="000000">
                  <a:lumMod val="95000"/>
                  <a:lumOff val="5000"/>
                </a:srgbClr>
              </a:solidFill>
              <a:effectLst/>
              <a:uLnTx/>
              <a:uFillTx/>
              <a:latin typeface="Arial"/>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4" y="136603"/>
            <a:ext cx="335482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932958">
              <a:defRPr/>
            </a:pPr>
            <a:r>
              <a:rPr lang="en-US" sz="816" cap="all" dirty="0">
                <a:solidFill>
                  <a:srgbClr val="808080"/>
                </a:solidFill>
                <a:latin typeface="Arial"/>
              </a:rPr>
              <a:t>Grow in Core Business</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82012" y="5617056"/>
            <a:ext cx="1791689" cy="11593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Logo Renewal</a:t>
            </a: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U-card Product Description &amp; IT feedback</a:t>
            </a: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U-card Design agency brief</a:t>
            </a: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ATM UX/UI design</a:t>
            </a: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82012" y="5259549"/>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882221"/>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Faig</a:t>
            </a:r>
            <a:r>
              <a:rPr kumimoji="0" lang="en-US" sz="1300" b="0" i="0" u="none" strike="noStrike" kern="0" cap="none" spc="0" normalizeH="0" noProof="0" dirty="0">
                <a:ln>
                  <a:noFill/>
                </a:ln>
                <a:solidFill>
                  <a:srgbClr val="000000"/>
                </a:solidFill>
                <a:effectLst/>
                <a:uLnTx/>
                <a:uFillTx/>
                <a:latin typeface="Arial"/>
                <a:sym typeface="+mn-lt"/>
              </a:rPr>
              <a:t> Huseyn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892177"/>
            <a:ext cx="1366988" cy="472062"/>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Heybat Gadirov</a:t>
            </a: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882221"/>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gram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88561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gram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04837"/>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03162" y="1675713"/>
            <a:ext cx="1576964" cy="2299625"/>
            <a:chOff x="8203162" y="1675713"/>
            <a:chExt cx="1576964"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sp>
          <p:nvSpPr>
            <p:cNvPr id="93" name="TextBox 92">
              <a:extLst>
                <a:ext uri="{FF2B5EF4-FFF2-40B4-BE49-F238E27FC236}">
                  <a16:creationId xmlns:a16="http://schemas.microsoft.com/office/drawing/2014/main" id="{7AEB6247-2D14-5049-9F62-DF45346419F6}"/>
                </a:ext>
              </a:extLst>
            </p:cNvPr>
            <p:cNvSpPr txBox="1"/>
            <p:nvPr/>
          </p:nvSpPr>
          <p:spPr>
            <a:xfrm>
              <a:off x="8203162" y="2063940"/>
              <a:ext cx="1525931" cy="830997"/>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lanned Total * -</a:t>
              </a:r>
            </a:p>
            <a:p>
              <a:r>
                <a:rPr lang="en-US" sz="1200" dirty="0">
                  <a:latin typeface="Arial" panose="020B0604020202020204" pitchFamily="34" charset="0"/>
                  <a:cs typeface="Arial" panose="020B0604020202020204" pitchFamily="34" charset="0"/>
                </a:rPr>
                <a:t>3,708,339 AZN)</a:t>
              </a:r>
            </a:p>
            <a:p>
              <a:r>
                <a:rPr lang="en-US" sz="1200" dirty="0">
                  <a:latin typeface="Arial" panose="020B0604020202020204" pitchFamily="34" charset="0"/>
                  <a:cs typeface="Arial" panose="020B0604020202020204" pitchFamily="34" charset="0"/>
                </a:rPr>
                <a:t>(2,740,339 AZN for </a:t>
              </a:r>
            </a:p>
            <a:p>
              <a:r>
                <a:rPr lang="en-US" sz="1200" dirty="0">
                  <a:latin typeface="Arial" panose="020B0604020202020204" pitchFamily="34" charset="0"/>
                  <a:cs typeface="Arial" panose="020B0604020202020204" pitchFamily="34" charset="0"/>
                </a:rPr>
                <a:t>2021 only)</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8506" y="2671382"/>
              <a:ext cx="184731" cy="246221"/>
            </a:xfrm>
            <a:prstGeom prst="rect">
              <a:avLst/>
            </a:prstGeom>
            <a:noFill/>
          </p:spPr>
          <p:txBody>
            <a:bodyPr wrap="none" rtlCol="0">
              <a:spAutoFit/>
            </a:bodyPr>
            <a:lstStyle/>
            <a:p>
              <a:endParaRPr lang="en-US" sz="1000" dirty="0">
                <a:latin typeface="Arial" panose="020B0604020202020204" pitchFamily="34" charset="0"/>
                <a:cs typeface="Arial" panose="020B0604020202020204" pitchFamily="34" charset="0"/>
              </a:endParaRP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29090" y="3057677"/>
              <a:ext cx="1332693" cy="0"/>
            </a:xfrm>
            <a:prstGeom prst="line">
              <a:avLst/>
            </a:prstGeom>
            <a:noFill/>
            <a:ln w="9525" cap="flat" cmpd="sng" algn="ctr">
              <a:solidFill>
                <a:srgbClr val="808080"/>
              </a:solidFill>
              <a:prstDash val="sysDot"/>
            </a:ln>
            <a:effectLst/>
          </p:spPr>
        </p:cxn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435604"/>
            <a:ext cx="1687343"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899440"/>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387051"/>
            <a:ext cx="1695263"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65199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226681"/>
            <a:ext cx="3601756" cy="40237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 </a:t>
            </a:r>
          </a:p>
          <a:p>
            <a:pPr fontAlgn="base">
              <a:spcBef>
                <a:spcPct val="0"/>
              </a:spcBef>
              <a:spcAft>
                <a:spcPct val="0"/>
              </a:spcAft>
              <a:buClr>
                <a:srgbClr val="FFFFFF"/>
              </a:buClr>
            </a:pPr>
            <a:r>
              <a:rPr lang="en-US" sz="1300" b="1" dirty="0">
                <a:solidFill>
                  <a:srgbClr val="FFFFFF"/>
                </a:solidFill>
                <a:latin typeface="Arial"/>
                <a:sym typeface="+mn-lt"/>
              </a:rPr>
              <a:t>(planning stage is still ongoing)</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511211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47939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84098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620402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801265"/>
            <a:ext cx="1514004"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Chief Retail Officer </a:t>
            </a:r>
            <a:endParaRPr lang="x-none"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5160366"/>
            <a:ext cx="138691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ject Managers</a:t>
            </a:r>
            <a:endParaRPr lang="x-none"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531885"/>
            <a:ext cx="159370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IT/ Digital/ Marketing</a:t>
            </a:r>
            <a:endParaRPr lang="x-none"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867878"/>
            <a:ext cx="94333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TO Partner</a:t>
            </a:r>
            <a:endParaRPr lang="x-none"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31062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x-none"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1236795" y="4792091"/>
            <a:ext cx="56938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X MH</a:t>
            </a:r>
            <a:endParaRPr lang="x-none"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247171" y="5553426"/>
            <a:ext cx="5666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Y MH</a:t>
            </a:r>
            <a:endParaRPr lang="x-none"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246834" y="5885138"/>
            <a:ext cx="5666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Y MH</a:t>
            </a:r>
            <a:endParaRPr lang="x-none"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1246834" y="6290070"/>
            <a:ext cx="561372"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Z MH</a:t>
            </a:r>
            <a:endParaRPr lang="x-none"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58330" y="1533936"/>
            <a:ext cx="6400513" cy="3403952"/>
            <a:chOff x="358122" y="1763435"/>
            <a:chExt cx="6284842" cy="2868566"/>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800238"/>
              <a:ext cx="4819687" cy="434190"/>
              <a:chOff x="7040958" y="703284"/>
              <a:chExt cx="4819687" cy="434190"/>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711361"/>
                <a:ext cx="527799"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30792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lang="en-US" sz="1400" b="1" dirty="0">
                    <a:solidFill>
                      <a:srgbClr val="C00000"/>
                    </a:solidFill>
                    <a:latin typeface="Arial"/>
                    <a:ea typeface="ABBvoiceOffice" panose="020D0603020503020204" pitchFamily="34" charset="0"/>
                    <a:cs typeface="Arial" panose="020B0604020202020204" pitchFamily="34" charset="0"/>
                  </a:rPr>
                  <a:t>9</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406064" y="703284"/>
                <a:ext cx="615095"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394662"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50493"/>
                <a:ext cx="216204" cy="1869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60223" y="2219267"/>
              <a:ext cx="1236389" cy="45300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Brand</a:t>
              </a:r>
              <a:r>
                <a:rPr kumimoji="0" lang="en-US" sz="1000" b="0" i="0" u="none" strike="noStrike" kern="1200" cap="none" spc="0" normalizeH="0" noProof="0" dirty="0">
                  <a:ln>
                    <a:noFill/>
                  </a:ln>
                  <a:solidFill>
                    <a:srgbClr val="FFFFFF"/>
                  </a:solidFill>
                  <a:effectLst/>
                  <a:uLnTx/>
                  <a:uFillTx/>
                  <a:latin typeface="Arial"/>
                  <a:ea typeface="+mn-ea"/>
                  <a:cs typeface="+mn-cs"/>
                </a:rPr>
                <a:t> Guidelines &amp; Integrated Launch Campaign</a:t>
              </a: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2039395" y="2357175"/>
              <a:ext cx="4587481" cy="205843"/>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lumMod val="50000"/>
                  </a:schemeClr>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2"/>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2635" y="2715901"/>
              <a:ext cx="1236389" cy="424743"/>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U-Card/ Loan</a:t>
              </a:r>
              <a:endParaRPr kumimoji="0" lang="en-US"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046032" y="2847096"/>
              <a:ext cx="4584191" cy="21226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62635" y="3191259"/>
              <a:ext cx="1236389" cy="42585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BPM/ Loan process</a:t>
              </a:r>
              <a:endParaRPr kumimoji="0" lang="en-US" sz="1100" b="0" i="0" u="none" strike="noStrike" kern="1200" cap="none" spc="0" normalizeH="0" baseline="0" noProof="0" dirty="0">
                <a:ln>
                  <a:noFill/>
                </a:ln>
                <a:solidFill>
                  <a:srgbClr val="FFFFFF"/>
                </a:solidFill>
                <a:effectLst/>
                <a:uLnTx/>
                <a:uFillTx/>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2342727" y="3837319"/>
              <a:ext cx="4300237" cy="21236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4AE1F945-9691-C14A-8778-A74CDEA7F2DA}"/>
                </a:ext>
              </a:extLst>
            </p:cNvPr>
            <p:cNvSpPr txBox="1">
              <a:spLocks/>
            </p:cNvSpPr>
            <p:nvPr/>
          </p:nvSpPr>
          <p:spPr>
            <a:xfrm>
              <a:off x="358122" y="3667723"/>
              <a:ext cx="1236389" cy="45127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ATM &amp; Mobile App Integration</a:t>
              </a:r>
              <a:endParaRPr kumimoji="0" lang="en-US" sz="1100" b="0" i="0" u="none" strike="noStrike" kern="1200" cap="none" spc="0" normalizeH="0" baseline="0" noProof="0" dirty="0">
                <a:ln>
                  <a:noFill/>
                </a:ln>
                <a:solidFill>
                  <a:srgbClr val="FFFFFF"/>
                </a:solidFill>
                <a:effectLst/>
                <a:uLnTx/>
                <a:uFillTx/>
              </a:endParaRPr>
            </a:p>
          </p:txBody>
        </p:sp>
        <p:sp>
          <p:nvSpPr>
            <p:cNvPr id="166" name="TextBox 165">
              <a:extLst>
                <a:ext uri="{FF2B5EF4-FFF2-40B4-BE49-F238E27FC236}">
                  <a16:creationId xmlns:a16="http://schemas.microsoft.com/office/drawing/2014/main" id="{4F7F715E-0EA4-CA4C-9441-18A31CEF6438}"/>
                </a:ext>
              </a:extLst>
            </p:cNvPr>
            <p:cNvSpPr txBox="1">
              <a:spLocks/>
            </p:cNvSpPr>
            <p:nvPr/>
          </p:nvSpPr>
          <p:spPr>
            <a:xfrm>
              <a:off x="358122" y="4163039"/>
              <a:ext cx="1236389" cy="46896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100" b="0" dirty="0">
                  <a:solidFill>
                    <a:srgbClr val="FFFFFF"/>
                  </a:solidFill>
                </a:rPr>
                <a:t>Corporate Culture</a:t>
              </a:r>
            </a:p>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0" i="0" u="none" strike="noStrike" kern="1200" cap="none" spc="0" normalizeH="0" baseline="0" noProof="0" dirty="0">
                  <a:ln>
                    <a:noFill/>
                  </a:ln>
                  <a:solidFill>
                    <a:srgbClr val="FFFFFF"/>
                  </a:solidFill>
                  <a:effectLst/>
                  <a:uLnTx/>
                  <a:uFillTx/>
                </a:rPr>
                <a:t>(</a:t>
              </a:r>
              <a:r>
                <a:rPr kumimoji="0" lang="en-US" sz="1100" b="0" i="0" u="none" strike="noStrike" kern="1200" cap="none" spc="0" normalizeH="0" baseline="0" noProof="0" dirty="0" err="1">
                  <a:ln>
                    <a:noFill/>
                  </a:ln>
                  <a:solidFill>
                    <a:srgbClr val="FFFFFF"/>
                  </a:solidFill>
                  <a:effectLst/>
                  <a:uLnTx/>
                  <a:uFillTx/>
                </a:rPr>
                <a:t>HiPos</a:t>
              </a:r>
              <a:r>
                <a:rPr kumimoji="0" lang="en-US" sz="1100" b="0" i="0" u="none" strike="noStrike" kern="1200" cap="none" spc="0" normalizeH="0" baseline="0" noProof="0" dirty="0">
                  <a:ln>
                    <a:noFill/>
                  </a:ln>
                  <a:solidFill>
                    <a:srgbClr val="FFFFFF"/>
                  </a:solidFill>
                  <a:effectLst/>
                  <a:uLnTx/>
                  <a:uFillTx/>
                </a:rPr>
                <a:t> &amp; Touch</a:t>
              </a:r>
              <a:r>
                <a:rPr kumimoji="0" lang="en-US" sz="1100" b="0" i="0" u="none" strike="noStrike" kern="1200" cap="none" spc="0" normalizeH="0" noProof="0" dirty="0">
                  <a:ln>
                    <a:noFill/>
                  </a:ln>
                  <a:solidFill>
                    <a:srgbClr val="FFFFFF"/>
                  </a:solidFill>
                  <a:effectLst/>
                  <a:uLnTx/>
                  <a:uFillTx/>
                </a:rPr>
                <a:t> Points)</a:t>
              </a:r>
              <a:endParaRPr kumimoji="0" lang="en-US" sz="1100" b="0" i="0" u="none" strike="noStrike" kern="1200" cap="none" spc="0" normalizeH="0" baseline="0" noProof="0" dirty="0">
                <a:ln>
                  <a:noFill/>
                </a:ln>
                <a:solidFill>
                  <a:srgbClr val="FFFFFF"/>
                </a:solidFill>
                <a:effectLst/>
                <a:uLnTx/>
                <a:uFillTx/>
              </a:endParaRP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311407" y="5624195"/>
            <a:ext cx="3758541" cy="115216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fontAlgn="base">
              <a:spcBef>
                <a:spcPct val="0"/>
              </a:spcBef>
              <a:spcAft>
                <a:spcPct val="0"/>
              </a:spcAft>
              <a:defRPr/>
            </a:pPr>
            <a:endParaRPr lang="az-Latn-AZ" sz="1200" dirty="0">
              <a:solidFill>
                <a:schemeClr val="tx1">
                  <a:lumMod val="65000"/>
                  <a:lumOff val="35000"/>
                </a:schemeClr>
              </a:solidFill>
              <a:ea typeface="Times New Roman"/>
              <a:cs typeface="Times New Roman"/>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93850" y="525940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37931" y="5617055"/>
            <a:ext cx="1791689" cy="11593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fontAlgn="base">
              <a:spcBef>
                <a:spcPct val="0"/>
              </a:spcBef>
              <a:spcAft>
                <a:spcPct val="0"/>
              </a:spcAft>
              <a:defRPr/>
            </a:pPr>
            <a:endParaRPr lang="en-US" sz="900" dirty="0">
              <a:latin typeface="Arial" panose="020B0604020202020204" pitchFamily="34" charset="0"/>
              <a:ea typeface="Times New Roman"/>
              <a:cs typeface="Arial" panose="020B0604020202020204" pitchFamily="34" charset="0"/>
            </a:endParaRP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Detailed Roadmap of Key activities/ tasks is needed</a:t>
            </a: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We suggest to cover last item by U-Talent Program</a:t>
            </a:r>
          </a:p>
          <a:p>
            <a:pPr marL="171450" indent="-171450" fontAlgn="base">
              <a:spcBef>
                <a:spcPct val="0"/>
              </a:spcBef>
              <a:spcAft>
                <a:spcPct val="0"/>
              </a:spcAft>
              <a:buFont typeface="Arial" panose="020B0604020202020204" pitchFamily="34" charset="0"/>
              <a:buChar char="•"/>
              <a:defRPr/>
            </a:pPr>
            <a:r>
              <a:rPr lang="en-US" sz="900" dirty="0">
                <a:latin typeface="Arial" panose="020B0604020202020204" pitchFamily="34" charset="0"/>
                <a:ea typeface="Times New Roman"/>
                <a:cs typeface="Arial" panose="020B0604020202020204" pitchFamily="34" charset="0"/>
              </a:rPr>
              <a:t>SME/ micro dimensions to be added to the program???    </a:t>
            </a:r>
          </a:p>
          <a:p>
            <a:pPr fontAlgn="base">
              <a:spcBef>
                <a:spcPct val="0"/>
              </a:spcBef>
              <a:spcAft>
                <a:spcPct val="0"/>
              </a:spcAft>
              <a:defRPr/>
            </a:pPr>
            <a:endParaRPr lang="en-US" sz="800" dirty="0">
              <a:latin typeface="Arial" panose="020B0604020202020204" pitchFamily="34" charset="0"/>
              <a:ea typeface="Times New Roman"/>
              <a:cs typeface="Arial" panose="020B0604020202020204" pitchFamily="34" charset="0"/>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51239" y="526763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56648" y="2149033"/>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43020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Quality of planning  </a:t>
            </a:r>
            <a:endParaRPr lang="x-none"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443688"/>
            <a:ext cx="1499128" cy="430887"/>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urnover of Key </a:t>
            </a:r>
          </a:p>
          <a:p>
            <a:r>
              <a:rPr lang="en-US" sz="1100" dirty="0">
                <a:latin typeface="Arial" panose="020B0604020202020204" pitchFamily="34" charset="0"/>
                <a:cs typeface="Arial" panose="020B0604020202020204" pitchFamily="34" charset="0"/>
              </a:rPr>
              <a:t>Contributors (incl. IT)</a:t>
            </a:r>
            <a:endParaRPr lang="x-none"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17728"/>
            <a:ext cx="1444626" cy="430887"/>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Lack of Leadership </a:t>
            </a:r>
          </a:p>
          <a:p>
            <a:r>
              <a:rPr lang="en-US" sz="1100" dirty="0">
                <a:latin typeface="Arial" panose="020B0604020202020204" pitchFamily="34" charset="0"/>
                <a:cs typeface="Arial" panose="020B0604020202020204" pitchFamily="34" charset="0"/>
              </a:rPr>
              <a:t>(heavy run agenda) </a:t>
            </a:r>
            <a:endParaRPr lang="x-none" sz="1100" dirty="0">
              <a:latin typeface="Arial" panose="020B0604020202020204" pitchFamily="34" charset="0"/>
              <a:cs typeface="Arial" panose="020B0604020202020204" pitchFamily="34" charset="0"/>
            </a:endParaRP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1"/>
            </p:custDataLst>
          </p:nvPr>
        </p:nvSpPr>
        <p:spPr bwMode="gray">
          <a:xfrm>
            <a:off x="11617278" y="494053"/>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345" name="Rectangle 99">
            <a:extLst>
              <a:ext uri="{FF2B5EF4-FFF2-40B4-BE49-F238E27FC236}">
                <a16:creationId xmlns:a16="http://schemas.microsoft.com/office/drawing/2014/main" id="{875EF904-C7A4-7342-934E-91E35B7FFEEC}"/>
              </a:ext>
            </a:extLst>
          </p:cNvPr>
          <p:cNvSpPr>
            <a:spLocks/>
          </p:cNvSpPr>
          <p:nvPr/>
        </p:nvSpPr>
        <p:spPr>
          <a:xfrm>
            <a:off x="1802475" y="3352328"/>
            <a:ext cx="4956368"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48" name="Rectangle 99">
            <a:extLst>
              <a:ext uri="{FF2B5EF4-FFF2-40B4-BE49-F238E27FC236}">
                <a16:creationId xmlns:a16="http://schemas.microsoft.com/office/drawing/2014/main" id="{B8AAB2CE-D37B-894E-B004-7FDA994B5E3D}"/>
              </a:ext>
            </a:extLst>
          </p:cNvPr>
          <p:cNvSpPr>
            <a:spLocks/>
          </p:cNvSpPr>
          <p:nvPr/>
        </p:nvSpPr>
        <p:spPr>
          <a:xfrm>
            <a:off x="3176632" y="4448466"/>
            <a:ext cx="3572272" cy="252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50" name="Rectangle 99">
            <a:extLst>
              <a:ext uri="{FF2B5EF4-FFF2-40B4-BE49-F238E27FC236}">
                <a16:creationId xmlns:a16="http://schemas.microsoft.com/office/drawing/2014/main" id="{0596E707-B512-2142-BEA7-D9C9F5E056B9}"/>
              </a:ext>
            </a:extLst>
          </p:cNvPr>
          <p:cNvSpPr>
            <a:spLocks/>
          </p:cNvSpPr>
          <p:nvPr/>
        </p:nvSpPr>
        <p:spPr>
          <a:xfrm>
            <a:off x="2086526" y="2267484"/>
            <a:ext cx="625028" cy="161808"/>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a:t>
            </a:r>
          </a:p>
        </p:txBody>
      </p:sp>
      <p:cxnSp>
        <p:nvCxnSpPr>
          <p:cNvPr id="168" name="Straight Connector 74">
            <a:extLst>
              <a:ext uri="{FF2B5EF4-FFF2-40B4-BE49-F238E27FC236}">
                <a16:creationId xmlns:a16="http://schemas.microsoft.com/office/drawing/2014/main" id="{DC01B8FE-1E94-564B-B5F7-50B06B023506}"/>
              </a:ext>
            </a:extLst>
          </p:cNvPr>
          <p:cNvCxnSpPr>
            <a:cxnSpLocks/>
          </p:cNvCxnSpPr>
          <p:nvPr/>
        </p:nvCxnSpPr>
        <p:spPr>
          <a:xfrm flipH="1">
            <a:off x="6474610" y="1810504"/>
            <a:ext cx="46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9" name="Rectangle 10">
            <a:extLst>
              <a:ext uri="{FF2B5EF4-FFF2-40B4-BE49-F238E27FC236}">
                <a16:creationId xmlns:a16="http://schemas.microsoft.com/office/drawing/2014/main" id="{927EF8DD-9927-EA48-BEE8-24CBDB88AD3E}"/>
              </a:ext>
            </a:extLst>
          </p:cNvPr>
          <p:cNvSpPr txBox="1">
            <a:spLocks/>
          </p:cNvSpPr>
          <p:nvPr/>
        </p:nvSpPr>
        <p:spPr>
          <a:xfrm>
            <a:off x="6492127" y="1542757"/>
            <a:ext cx="626416"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2</a:t>
            </a:r>
          </a:p>
        </p:txBody>
      </p:sp>
      <p:sp>
        <p:nvSpPr>
          <p:cNvPr id="170" name="TextBox 169">
            <a:extLst>
              <a:ext uri="{FF2B5EF4-FFF2-40B4-BE49-F238E27FC236}">
                <a16:creationId xmlns:a16="http://schemas.microsoft.com/office/drawing/2014/main" id="{87B23D8C-E2D8-A642-8ACE-E928FE08724E}"/>
              </a:ext>
            </a:extLst>
          </p:cNvPr>
          <p:cNvSpPr txBox="1"/>
          <p:nvPr/>
        </p:nvSpPr>
        <p:spPr>
          <a:xfrm>
            <a:off x="11230515" y="5182617"/>
            <a:ext cx="56938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X MH</a:t>
            </a:r>
            <a:endParaRPr lang="x-none" sz="1200" dirty="0">
              <a:latin typeface="Arial" panose="020B0604020202020204" pitchFamily="34" charset="0"/>
              <a:cs typeface="Arial" panose="020B0604020202020204" pitchFamily="34" charset="0"/>
            </a:endParaRPr>
          </a:p>
        </p:txBody>
      </p:sp>
      <p:pic>
        <p:nvPicPr>
          <p:cNvPr id="172"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54810" y="2554823"/>
            <a:ext cx="187624" cy="187624"/>
          </a:xfrm>
          <a:prstGeom prst="rect">
            <a:avLst/>
          </a:prstGeom>
        </p:spPr>
      </p:pic>
      <p:sp>
        <p:nvSpPr>
          <p:cNvPr id="173" name="TextBox 172">
            <a:extLst>
              <a:ext uri="{FF2B5EF4-FFF2-40B4-BE49-F238E27FC236}">
                <a16:creationId xmlns:a16="http://schemas.microsoft.com/office/drawing/2014/main" id="{68F2FBC9-C2A2-A346-9569-81B6338FE598}"/>
              </a:ext>
            </a:extLst>
          </p:cNvPr>
          <p:cNvSpPr txBox="1"/>
          <p:nvPr/>
        </p:nvSpPr>
        <p:spPr>
          <a:xfrm>
            <a:off x="9948941" y="3433708"/>
            <a:ext cx="1351652"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Budget constraints</a:t>
            </a:r>
            <a:endParaRPr lang="x-none" sz="1100" dirty="0">
              <a:latin typeface="Arial" panose="020B0604020202020204" pitchFamily="34" charset="0"/>
              <a:cs typeface="Arial" panose="020B0604020202020204" pitchFamily="34" charset="0"/>
            </a:endParaRPr>
          </a:p>
        </p:txBody>
      </p:sp>
      <p:pic>
        <p:nvPicPr>
          <p:cNvPr id="174"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61663" y="3004595"/>
            <a:ext cx="187624" cy="187624"/>
          </a:xfrm>
          <a:prstGeom prst="rect">
            <a:avLst/>
          </a:prstGeom>
        </p:spPr>
      </p:pic>
      <p:pic>
        <p:nvPicPr>
          <p:cNvPr id="175"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61663" y="3487891"/>
            <a:ext cx="187624" cy="187624"/>
          </a:xfrm>
          <a:prstGeom prst="rect">
            <a:avLst/>
          </a:prstGeom>
        </p:spPr>
      </p:pic>
      <p:sp>
        <p:nvSpPr>
          <p:cNvPr id="176" name="TextBox 175">
            <a:extLst>
              <a:ext uri="{FF2B5EF4-FFF2-40B4-BE49-F238E27FC236}">
                <a16:creationId xmlns:a16="http://schemas.microsoft.com/office/drawing/2014/main" id="{7AEB6247-2D14-5049-9F62-DF45346419F6}"/>
              </a:ext>
            </a:extLst>
          </p:cNvPr>
          <p:cNvSpPr txBox="1"/>
          <p:nvPr/>
        </p:nvSpPr>
        <p:spPr>
          <a:xfrm>
            <a:off x="8232470" y="3030972"/>
            <a:ext cx="1632178" cy="646331"/>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 excluding ATM/ </a:t>
            </a:r>
          </a:p>
          <a:p>
            <a:r>
              <a:rPr lang="en-US" sz="1200" dirty="0">
                <a:latin typeface="Arial" panose="020B0604020202020204" pitchFamily="34" charset="0"/>
                <a:cs typeface="Arial" panose="020B0604020202020204" pitchFamily="34" charset="0"/>
              </a:rPr>
              <a:t>digital branch design/</a:t>
            </a:r>
          </a:p>
          <a:p>
            <a:r>
              <a:rPr lang="en-US" sz="1200" dirty="0">
                <a:latin typeface="Arial" panose="020B0604020202020204" pitchFamily="34" charset="0"/>
                <a:cs typeface="Arial" panose="020B0604020202020204" pitchFamily="34" charset="0"/>
              </a:rPr>
              <a:t>production</a:t>
            </a:r>
          </a:p>
        </p:txBody>
      </p:sp>
      <p:sp>
        <p:nvSpPr>
          <p:cNvPr id="161" name="Rectangle 99">
            <a:extLst>
              <a:ext uri="{FF2B5EF4-FFF2-40B4-BE49-F238E27FC236}">
                <a16:creationId xmlns:a16="http://schemas.microsoft.com/office/drawing/2014/main" id="{0596E707-B512-2142-BEA7-D9C9F5E056B9}"/>
              </a:ext>
            </a:extLst>
          </p:cNvPr>
          <p:cNvSpPr>
            <a:spLocks/>
          </p:cNvSpPr>
          <p:nvPr/>
        </p:nvSpPr>
        <p:spPr>
          <a:xfrm>
            <a:off x="2108142" y="2849557"/>
            <a:ext cx="603412" cy="187267"/>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a:t>
            </a:r>
          </a:p>
        </p:txBody>
      </p:sp>
      <p:sp>
        <p:nvSpPr>
          <p:cNvPr id="163" name="Rectangle 99">
            <a:extLst>
              <a:ext uri="{FF2B5EF4-FFF2-40B4-BE49-F238E27FC236}">
                <a16:creationId xmlns:a16="http://schemas.microsoft.com/office/drawing/2014/main" id="{0596E707-B512-2142-BEA7-D9C9F5E056B9}"/>
              </a:ext>
            </a:extLst>
          </p:cNvPr>
          <p:cNvSpPr>
            <a:spLocks/>
          </p:cNvSpPr>
          <p:nvPr/>
        </p:nvSpPr>
        <p:spPr>
          <a:xfrm>
            <a:off x="1812298" y="3406063"/>
            <a:ext cx="2009841" cy="138254"/>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to be covered in BPM project </a:t>
            </a:r>
          </a:p>
        </p:txBody>
      </p:sp>
      <p:sp>
        <p:nvSpPr>
          <p:cNvPr id="164" name="Rectangle 99">
            <a:extLst>
              <a:ext uri="{FF2B5EF4-FFF2-40B4-BE49-F238E27FC236}">
                <a16:creationId xmlns:a16="http://schemas.microsoft.com/office/drawing/2014/main" id="{0596E707-B512-2142-BEA7-D9C9F5E056B9}"/>
              </a:ext>
            </a:extLst>
          </p:cNvPr>
          <p:cNvSpPr>
            <a:spLocks/>
          </p:cNvSpPr>
          <p:nvPr/>
        </p:nvSpPr>
        <p:spPr>
          <a:xfrm>
            <a:off x="2394382" y="4027312"/>
            <a:ext cx="603412" cy="187267"/>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10%</a:t>
            </a:r>
          </a:p>
        </p:txBody>
      </p:sp>
      <p:grpSp>
        <p:nvGrpSpPr>
          <p:cNvPr id="158" name="Группа 157">
            <a:extLst>
              <a:ext uri="{FF2B5EF4-FFF2-40B4-BE49-F238E27FC236}">
                <a16:creationId xmlns:a16="http://schemas.microsoft.com/office/drawing/2014/main" id="{51867E3E-9782-5A48-9A28-79C295CFE152}"/>
              </a:ext>
            </a:extLst>
          </p:cNvPr>
          <p:cNvGrpSpPr/>
          <p:nvPr/>
        </p:nvGrpSpPr>
        <p:grpSpPr>
          <a:xfrm>
            <a:off x="5420284" y="862587"/>
            <a:ext cx="6399824" cy="503552"/>
            <a:chOff x="5406358" y="998167"/>
            <a:chExt cx="6399824" cy="503552"/>
          </a:xfrm>
        </p:grpSpPr>
        <p:sp>
          <p:nvSpPr>
            <p:cNvPr id="167" name="Rectangle 116">
              <a:extLst>
                <a:ext uri="{FF2B5EF4-FFF2-40B4-BE49-F238E27FC236}">
                  <a16:creationId xmlns:a16="http://schemas.microsoft.com/office/drawing/2014/main" id="{5147773E-9CD5-9E48-9C2E-E33165925C68}"/>
                </a:ext>
              </a:extLst>
            </p:cNvPr>
            <p:cNvSpPr>
              <a:spLocks noChangeArrowheads="1"/>
            </p:cNvSpPr>
            <p:nvPr/>
          </p:nvSpPr>
          <p:spPr bwMode="auto">
            <a:xfrm>
              <a:off x="8965116" y="101042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April 2021</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71" name="Rectangle 116">
              <a:extLst>
                <a:ext uri="{FF2B5EF4-FFF2-40B4-BE49-F238E27FC236}">
                  <a16:creationId xmlns:a16="http://schemas.microsoft.com/office/drawing/2014/main" id="{7BB7F962-55CA-F34C-BB31-6E2714D7D150}"/>
                </a:ext>
              </a:extLst>
            </p:cNvPr>
            <p:cNvSpPr>
              <a:spLocks noChangeArrowheads="1"/>
            </p:cNvSpPr>
            <p:nvPr/>
          </p:nvSpPr>
          <p:spPr bwMode="auto">
            <a:xfrm>
              <a:off x="7786750" y="1003854"/>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77" name="Rectangle 116">
              <a:extLst>
                <a:ext uri="{FF2B5EF4-FFF2-40B4-BE49-F238E27FC236}">
                  <a16:creationId xmlns:a16="http://schemas.microsoft.com/office/drawing/2014/main" id="{AC040D09-04F9-B34F-9BE0-DC1B6C367E4E}"/>
                </a:ext>
              </a:extLst>
            </p:cNvPr>
            <p:cNvSpPr>
              <a:spLocks noChangeArrowheads="1"/>
            </p:cNvSpPr>
            <p:nvPr/>
          </p:nvSpPr>
          <p:spPr bwMode="auto">
            <a:xfrm>
              <a:off x="6584724" y="1008771"/>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Aug 2020</a:t>
              </a:r>
            </a:p>
          </p:txBody>
        </p:sp>
        <p:sp>
          <p:nvSpPr>
            <p:cNvPr id="178" name="Rectangle 116">
              <a:extLst>
                <a:ext uri="{FF2B5EF4-FFF2-40B4-BE49-F238E27FC236}">
                  <a16:creationId xmlns:a16="http://schemas.microsoft.com/office/drawing/2014/main" id="{61D61347-205D-8645-BECC-1C259F4661A2}"/>
                </a:ext>
              </a:extLst>
            </p:cNvPr>
            <p:cNvSpPr>
              <a:spLocks noChangeArrowheads="1"/>
            </p:cNvSpPr>
            <p:nvPr/>
          </p:nvSpPr>
          <p:spPr bwMode="auto">
            <a:xfrm>
              <a:off x="5406358" y="100714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80" name="Rectangle 116">
              <a:extLst>
                <a:ext uri="{FF2B5EF4-FFF2-40B4-BE49-F238E27FC236}">
                  <a16:creationId xmlns:a16="http://schemas.microsoft.com/office/drawing/2014/main" id="{C61234D6-BAD8-B94D-B88C-E9A4D7C26F48}"/>
                </a:ext>
              </a:extLst>
            </p:cNvPr>
            <p:cNvSpPr>
              <a:spLocks noChangeArrowheads="1"/>
            </p:cNvSpPr>
            <p:nvPr/>
          </p:nvSpPr>
          <p:spPr bwMode="auto">
            <a:xfrm>
              <a:off x="11203807" y="1004734"/>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lt;1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81" name="Rectangle 116">
              <a:extLst>
                <a:ext uri="{FF2B5EF4-FFF2-40B4-BE49-F238E27FC236}">
                  <a16:creationId xmlns:a16="http://schemas.microsoft.com/office/drawing/2014/main" id="{1997661B-0EF5-C34D-9D9F-36D5AB6FE395}"/>
                </a:ext>
              </a:extLst>
            </p:cNvPr>
            <p:cNvSpPr>
              <a:spLocks noChangeArrowheads="1"/>
            </p:cNvSpPr>
            <p:nvPr/>
          </p:nvSpPr>
          <p:spPr bwMode="auto">
            <a:xfrm>
              <a:off x="10025441" y="998167"/>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grpSp>
    </p:spTree>
    <p:extLst>
      <p:ext uri="{BB962C8B-B14F-4D97-AF65-F5344CB8AC3E}">
        <p14:creationId xmlns:p14="http://schemas.microsoft.com/office/powerpoint/2010/main" val="36137352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28D29DE1-2C4C-4B1F-A21E-7D541DC6E527}"/>
              </a:ext>
            </a:extLst>
          </p:cNvPr>
          <p:cNvSpPr txBox="1">
            <a:spLocks/>
          </p:cNvSpPr>
          <p:nvPr/>
        </p:nvSpPr>
        <p:spPr bwMode="gray">
          <a:xfrm>
            <a:off x="540070" y="205857"/>
            <a:ext cx="11111046" cy="1080000"/>
          </a:xfrm>
          <a:prstGeom prst="rect">
            <a:avLst/>
          </a:prstGeom>
        </p:spPr>
        <p:txBody>
          <a:bodyPr vert="horz" lIns="0" tIns="0" rIns="0" bIns="0" rtlCol="0" anchor="t">
            <a:noAutofit/>
          </a:bodyPr>
          <a:lstStyle>
            <a:lvl1pPr algn="l" defTabSz="914491" rtl="0" eaLnBrk="1" latinLnBrk="0" hangingPunct="1">
              <a:lnSpc>
                <a:spcPct val="90000"/>
              </a:lnSpc>
              <a:spcBef>
                <a:spcPct val="0"/>
              </a:spcBef>
              <a:buNone/>
              <a:defRPr sz="3600" kern="1200" cap="all" baseline="0">
                <a:solidFill>
                  <a:schemeClr val="tx1"/>
                </a:solidFill>
                <a:latin typeface="+mj-lt"/>
                <a:ea typeface="+mj-ea"/>
                <a:cs typeface="+mj-cs"/>
              </a:defRPr>
            </a:lvl1pPr>
          </a:lstStyle>
          <a:p>
            <a:pPr marL="0" marR="0" lvl="0" indent="0" algn="l" defTabSz="914491" rtl="0" eaLnBrk="1" fontAlgn="auto" latinLnBrk="0" hangingPunct="1">
              <a:lnSpc>
                <a:spcPct val="90000"/>
              </a:lnSpc>
              <a:spcBef>
                <a:spcPct val="0"/>
              </a:spcBef>
              <a:spcAft>
                <a:spcPts val="0"/>
              </a:spcAft>
              <a:buClrTx/>
              <a:buSzTx/>
              <a:buFontTx/>
              <a:buNone/>
              <a:tabLst/>
              <a:defRPr/>
            </a:pPr>
            <a:r>
              <a:rPr kumimoji="0" lang="en-US" sz="2800" b="0" i="0" u="none" strike="noStrike" kern="1200" cap="all" spc="0" normalizeH="0" baseline="0" noProof="0" dirty="0">
                <a:ln>
                  <a:noFill/>
                </a:ln>
                <a:effectLst/>
                <a:uLnTx/>
                <a:uFillTx/>
                <a:latin typeface="Calibri"/>
                <a:ea typeface="+mj-ea"/>
                <a:cs typeface="+mj-cs"/>
              </a:rPr>
              <a:t>Risk management enhancement</a:t>
            </a:r>
            <a:r>
              <a:rPr kumimoji="0" lang="en-US" sz="2800" b="0" i="0" u="none" strike="noStrike" kern="1200" cap="all" spc="0" normalizeH="0" noProof="0" dirty="0">
                <a:ln>
                  <a:noFill/>
                </a:ln>
                <a:effectLst/>
                <a:uLnTx/>
                <a:uFillTx/>
                <a:latin typeface="Calibri"/>
                <a:ea typeface="+mj-ea"/>
                <a:cs typeface="+mj-cs"/>
              </a:rPr>
              <a:t> project</a:t>
            </a:r>
            <a:endParaRPr kumimoji="0" lang="en-US" sz="2800" b="0" i="0" u="none" strike="noStrike" kern="1200" cap="all" spc="0" normalizeH="0" baseline="0" noProof="0" dirty="0">
              <a:ln>
                <a:noFill/>
              </a:ln>
              <a:effectLst/>
              <a:uLnTx/>
              <a:uFillTx/>
              <a:latin typeface="Calibri"/>
              <a:ea typeface="+mj-ea"/>
              <a:cs typeface="+mj-cs"/>
            </a:endParaRPr>
          </a:p>
        </p:txBody>
      </p:sp>
      <p:sp>
        <p:nvSpPr>
          <p:cNvPr id="37" name="Textplatzhalter 2">
            <a:extLst>
              <a:ext uri="{FF2B5EF4-FFF2-40B4-BE49-F238E27FC236}">
                <a16:creationId xmlns:a16="http://schemas.microsoft.com/office/drawing/2014/main" id="{EBEC6FE6-5556-45D6-AD40-343300C41BF9}"/>
              </a:ext>
            </a:extLst>
          </p:cNvPr>
          <p:cNvSpPr txBox="1">
            <a:spLocks/>
          </p:cNvSpPr>
          <p:nvPr/>
        </p:nvSpPr>
        <p:spPr bwMode="gray">
          <a:xfrm>
            <a:off x="540070" y="667202"/>
            <a:ext cx="11111046" cy="540000"/>
          </a:xfrm>
          <a:prstGeom prst="rect">
            <a:avLst/>
          </a:prstGeom>
        </p:spPr>
        <p:txBody>
          <a:bodyPr vert="horz" lIns="0" tIns="0" rIns="0" bIns="0" rtlCol="0">
            <a:noAutofit/>
          </a:bodyPr>
          <a:lstStyle>
            <a:lvl1pPr marL="0" indent="0" algn="l" defTabSz="914491" rtl="0" eaLnBrk="1" latinLnBrk="0" hangingPunct="1">
              <a:lnSpc>
                <a:spcPct val="90000"/>
              </a:lnSpc>
              <a:spcBef>
                <a:spcPts val="0"/>
              </a:spcBef>
              <a:spcAft>
                <a:spcPts val="1000"/>
              </a:spcAft>
              <a:buFont typeface="Wingdings" panose="05000000000000000000" pitchFamily="2" charset="2"/>
              <a:buNone/>
              <a:defRPr sz="2200" kern="1200" baseline="0">
                <a:solidFill>
                  <a:schemeClr val="bg1">
                    <a:lumMod val="50000"/>
                  </a:schemeClr>
                </a:solidFill>
                <a:latin typeface="+mn-lt"/>
                <a:ea typeface="+mn-ea"/>
                <a:cs typeface="+mn-cs"/>
              </a:defRPr>
            </a:lvl1pPr>
            <a:lvl2pPr marL="720072" indent="-270027" algn="l" defTabSz="914491" rtl="0" eaLnBrk="1" latinLnBrk="0" hangingPunct="1">
              <a:lnSpc>
                <a:spcPct val="90000"/>
              </a:lnSpc>
              <a:spcBef>
                <a:spcPts val="0"/>
              </a:spcBef>
              <a:spcAft>
                <a:spcPts val="1000"/>
              </a:spcAft>
              <a:buFont typeface="Calibri Light" panose="020F0302020204030204" pitchFamily="34" charset="0"/>
              <a:buChar char="–"/>
              <a:defRPr sz="2000" kern="1200">
                <a:solidFill>
                  <a:schemeClr val="tx1"/>
                </a:solidFill>
                <a:latin typeface="+mn-lt"/>
                <a:ea typeface="+mn-ea"/>
                <a:cs typeface="+mn-cs"/>
              </a:defRPr>
            </a:lvl2pPr>
            <a:lvl3pPr marL="1080108" indent="-270027" algn="l" defTabSz="914491" rtl="0" eaLnBrk="1" latinLnBrk="0" hangingPunct="1">
              <a:lnSpc>
                <a:spcPct val="90000"/>
              </a:lnSpc>
              <a:spcBef>
                <a:spcPts val="0"/>
              </a:spcBef>
              <a:spcAft>
                <a:spcPts val="1000"/>
              </a:spcAft>
              <a:buFont typeface="Calibri Light" panose="020F0302020204030204" pitchFamily="34" charset="0"/>
              <a:buChar char="–"/>
              <a:defRPr sz="1800" kern="1200">
                <a:solidFill>
                  <a:schemeClr val="tx1"/>
                </a:solidFill>
                <a:latin typeface="+mn-lt"/>
                <a:ea typeface="+mn-ea"/>
                <a:cs typeface="+mn-cs"/>
              </a:defRPr>
            </a:lvl3pPr>
            <a:lvl4pPr marL="1440144"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4pPr>
            <a:lvl5pPr marL="1800180" indent="-270027" algn="l" defTabSz="914491"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5pPr>
            <a:lvl6pPr marL="2514851"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91" rtl="0" eaLnBrk="1" fontAlgn="auto" latinLnBrk="0" hangingPunct="1">
              <a:lnSpc>
                <a:spcPct val="90000"/>
              </a:lnSpc>
              <a:spcBef>
                <a:spcPts val="0"/>
              </a:spcBef>
              <a:spcAft>
                <a:spcPts val="1000"/>
              </a:spcAft>
              <a:buClrTx/>
              <a:buSzTx/>
              <a:buFont typeface="Wingdings" panose="05000000000000000000" pitchFamily="2" charset="2"/>
              <a:buNone/>
              <a:tabLst/>
              <a:defRPr/>
            </a:pPr>
            <a:r>
              <a:rPr kumimoji="0" lang="en-US" sz="2200" b="0" i="0" u="none" strike="noStrike" kern="1200" cap="none" spc="0" normalizeH="0" baseline="0" noProof="0" dirty="0">
                <a:ln>
                  <a:noFill/>
                </a:ln>
                <a:solidFill>
                  <a:schemeClr val="tx1"/>
                </a:solidFill>
                <a:effectLst/>
                <a:uLnTx/>
                <a:uFillTx/>
                <a:latin typeface="Calibri Light"/>
                <a:ea typeface="+mn-ea"/>
                <a:cs typeface="+mn-cs"/>
              </a:rPr>
              <a:t>Project Charter</a:t>
            </a:r>
          </a:p>
        </p:txBody>
      </p:sp>
      <p:graphicFrame>
        <p:nvGraphicFramePr>
          <p:cNvPr id="38" name="Inhaltsplatzhalter 7">
            <a:extLst>
              <a:ext uri="{FF2B5EF4-FFF2-40B4-BE49-F238E27FC236}">
                <a16:creationId xmlns:a16="http://schemas.microsoft.com/office/drawing/2014/main" id="{E82B92F4-3F9F-4B72-8F94-A0D631171498}"/>
              </a:ext>
            </a:extLst>
          </p:cNvPr>
          <p:cNvGraphicFramePr>
            <a:graphicFrameLocks/>
          </p:cNvGraphicFramePr>
          <p:nvPr/>
        </p:nvGraphicFramePr>
        <p:xfrm>
          <a:off x="539749" y="1068847"/>
          <a:ext cx="11111030" cy="2256053"/>
        </p:xfrm>
        <a:graphic>
          <a:graphicData uri="http://schemas.openxmlformats.org/drawingml/2006/table">
            <a:tbl>
              <a:tblPr firstRow="1" bandRow="1"/>
              <a:tblGrid>
                <a:gridCol w="1696675">
                  <a:extLst>
                    <a:ext uri="{9D8B030D-6E8A-4147-A177-3AD203B41FA5}">
                      <a16:colId xmlns:a16="http://schemas.microsoft.com/office/drawing/2014/main" val="263815621"/>
                    </a:ext>
                  </a:extLst>
                </a:gridCol>
                <a:gridCol w="2758270">
                  <a:extLst>
                    <a:ext uri="{9D8B030D-6E8A-4147-A177-3AD203B41FA5}">
                      <a16:colId xmlns:a16="http://schemas.microsoft.com/office/drawing/2014/main" val="2456201543"/>
                    </a:ext>
                  </a:extLst>
                </a:gridCol>
                <a:gridCol w="3303732">
                  <a:extLst>
                    <a:ext uri="{9D8B030D-6E8A-4147-A177-3AD203B41FA5}">
                      <a16:colId xmlns:a16="http://schemas.microsoft.com/office/drawing/2014/main" val="2699711611"/>
                    </a:ext>
                  </a:extLst>
                </a:gridCol>
                <a:gridCol w="3352353">
                  <a:extLst>
                    <a:ext uri="{9D8B030D-6E8A-4147-A177-3AD203B41FA5}">
                      <a16:colId xmlns:a16="http://schemas.microsoft.com/office/drawing/2014/main" val="1330925591"/>
                    </a:ext>
                  </a:extLst>
                </a:gridCol>
              </a:tblGrid>
              <a:tr h="360000">
                <a:tc gridSpan="2">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ject nam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hMerge="1">
                  <a:txBody>
                    <a:bodyPr/>
                    <a:lstStyle/>
                    <a:p>
                      <a:endParaRPr lang="de-DE"/>
                    </a:p>
                  </a:txBody>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Project Purpose</a:t>
                      </a: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ctr">
                        <a:lnSpc>
                          <a:spcPct val="90000"/>
                        </a:lnSpc>
                      </a:pPr>
                      <a:r>
                        <a:rPr lang="en-US" sz="1800" b="0" noProof="0" dirty="0">
                          <a:solidFill>
                            <a:schemeClr val="bg1"/>
                          </a:solidFill>
                          <a:latin typeface="+mj-lt"/>
                        </a:rPr>
                        <a:t>Main Deliverables of Phase</a:t>
                      </a:r>
                      <a:r>
                        <a:rPr lang="en-US" sz="1800" b="0" baseline="0" noProof="0" dirty="0">
                          <a:solidFill>
                            <a:schemeClr val="bg1"/>
                          </a:solidFill>
                          <a:latin typeface="+mj-lt"/>
                        </a:rPr>
                        <a:t> 1</a:t>
                      </a:r>
                      <a:endParaRPr lang="en-US" sz="1800" b="0" noProof="0" dirty="0">
                        <a:solidFill>
                          <a:schemeClr val="bg1"/>
                        </a:solidFill>
                        <a:latin typeface="+mj-lt"/>
                      </a:endParaRPr>
                    </a:p>
                  </a:txBody>
                  <a:tcPr marL="108000" marR="108000" marT="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2469138335"/>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Spons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Farid</a:t>
                      </a:r>
                      <a:r>
                        <a:rPr lang="en-US" sz="1400" b="0" kern="1200" baseline="0" noProof="0" dirty="0">
                          <a:solidFill>
                            <a:schemeClr val="tx1"/>
                          </a:solidFill>
                          <a:latin typeface="+mn-lt"/>
                          <a:ea typeface="+mn-ea"/>
                          <a:cs typeface="+mn-cs"/>
                        </a:rPr>
                        <a:t> Abushov</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lvl="0" indent="-171450">
                        <a:buFont typeface="Arial" panose="020B0604020202020204" pitchFamily="34" charset="0"/>
                        <a:buChar char="•"/>
                      </a:pPr>
                      <a:endParaRPr lang="en-US" sz="1200" b="0" i="0" u="none" strike="noStrike" kern="1200" dirty="0">
                        <a:solidFill>
                          <a:schemeClr val="dk1"/>
                        </a:solidFill>
                        <a:effectLst/>
                        <a:latin typeface="Calibri Light"/>
                        <a:ea typeface="+mn-ea"/>
                        <a:cs typeface="+mn-cs"/>
                      </a:endParaRPr>
                    </a:p>
                    <a:p>
                      <a:pPr marL="171450" lvl="0" indent="-171450">
                        <a:buFont typeface="Arial" panose="020B0604020202020204" pitchFamily="34" charset="0"/>
                        <a:buChar char="•"/>
                      </a:pPr>
                      <a:r>
                        <a:rPr lang="en-US" sz="1200" b="0" i="0" u="none" strike="noStrike" kern="1200" dirty="0">
                          <a:solidFill>
                            <a:schemeClr val="dk1"/>
                          </a:solidFill>
                          <a:effectLst/>
                          <a:latin typeface="Calibri Light"/>
                          <a:ea typeface="+mn-ea"/>
                          <a:cs typeface="+mn-cs"/>
                        </a:rPr>
                        <a:t>To enhance Risk Management Capabilities of the</a:t>
                      </a:r>
                      <a:r>
                        <a:rPr lang="en-US" sz="1200" b="0" i="0" u="none" strike="noStrike" kern="1200" baseline="0" dirty="0">
                          <a:solidFill>
                            <a:schemeClr val="dk1"/>
                          </a:solidFill>
                          <a:effectLst/>
                          <a:latin typeface="Calibri Light"/>
                          <a:ea typeface="+mn-ea"/>
                          <a:cs typeface="+mn-cs"/>
                        </a:rPr>
                        <a:t> Group (</a:t>
                      </a:r>
                      <a:r>
                        <a:rPr lang="en-US" sz="1200" b="0" i="0" u="none" strike="noStrike" kern="1200" baseline="0" dirty="0" err="1">
                          <a:solidFill>
                            <a:schemeClr val="dk1"/>
                          </a:solidFill>
                          <a:effectLst/>
                          <a:latin typeface="Calibri Light"/>
                          <a:ea typeface="+mn-ea"/>
                          <a:cs typeface="+mn-cs"/>
                        </a:rPr>
                        <a:t>UniBank</a:t>
                      </a:r>
                      <a:r>
                        <a:rPr lang="en-US" sz="1200" b="0" i="0" u="none" strike="noStrike" kern="1200" baseline="0" dirty="0">
                          <a:solidFill>
                            <a:schemeClr val="dk1"/>
                          </a:solidFill>
                          <a:effectLst/>
                          <a:latin typeface="Calibri Light"/>
                          <a:ea typeface="+mn-ea"/>
                          <a:cs typeface="+mn-cs"/>
                        </a:rPr>
                        <a:t> &amp; </a:t>
                      </a:r>
                      <a:r>
                        <a:rPr lang="en-US" sz="1200" b="0" i="0" u="none" strike="noStrike" kern="1200" baseline="0" dirty="0" err="1">
                          <a:solidFill>
                            <a:schemeClr val="dk1"/>
                          </a:solidFill>
                          <a:effectLst/>
                          <a:latin typeface="Calibri Light"/>
                          <a:ea typeface="+mn-ea"/>
                          <a:cs typeface="+mn-cs"/>
                        </a:rPr>
                        <a:t>UniCapital</a:t>
                      </a:r>
                      <a:r>
                        <a:rPr lang="en-US" sz="1200" b="0" i="0" u="none" strike="noStrike" kern="1200" baseline="0" dirty="0">
                          <a:solidFill>
                            <a:schemeClr val="dk1"/>
                          </a:solidFill>
                          <a:effectLst/>
                          <a:latin typeface="Calibri Light"/>
                          <a:ea typeface="+mn-ea"/>
                          <a:cs typeface="+mn-cs"/>
                        </a:rPr>
                        <a:t>)</a:t>
                      </a:r>
                    </a:p>
                    <a:p>
                      <a:pPr marL="171450" lvl="0" indent="-171450">
                        <a:buFont typeface="Arial" panose="020B0604020202020204" pitchFamily="34" charset="0"/>
                        <a:buChar char="•"/>
                      </a:pPr>
                      <a:endParaRPr lang="en-US" sz="1200" b="0" i="0" u="none" strike="noStrike" kern="1200" baseline="0" dirty="0">
                        <a:solidFill>
                          <a:schemeClr val="dk1"/>
                        </a:solidFill>
                        <a:effectLst/>
                        <a:latin typeface="Calibri Light"/>
                        <a:ea typeface="+mn-ea"/>
                        <a:cs typeface="+mn-cs"/>
                      </a:endParaRPr>
                    </a:p>
                    <a:p>
                      <a:pPr marL="171450" lvl="0" indent="-171450">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Review organizational structure including roles &amp; responsibilities, authority maps etc.</a:t>
                      </a:r>
                    </a:p>
                    <a:p>
                      <a:pPr marL="171450" lvl="0" indent="-171450">
                        <a:buFont typeface="Arial" panose="020B0604020202020204" pitchFamily="34" charset="0"/>
                        <a:buChar char="•"/>
                      </a:pPr>
                      <a:endParaRPr lang="en-US" sz="1200" b="0" i="0" u="none" strike="noStrike" kern="1200" baseline="0" dirty="0">
                        <a:solidFill>
                          <a:schemeClr val="dk1"/>
                        </a:solidFill>
                        <a:effectLst/>
                        <a:latin typeface="Calibri Light"/>
                        <a:ea typeface="+mn-ea"/>
                        <a:cs typeface="+mn-cs"/>
                      </a:endParaRPr>
                    </a:p>
                    <a:p>
                      <a:pPr marL="171450" lvl="0" indent="-171450">
                        <a:buFont typeface="Arial" panose="020B0604020202020204" pitchFamily="34" charset="0"/>
                        <a:buChar char="•"/>
                      </a:pPr>
                      <a:r>
                        <a:rPr lang="en-US" sz="1200" b="0" i="0" u="none" strike="noStrike" kern="1200" baseline="0" dirty="0">
                          <a:solidFill>
                            <a:schemeClr val="dk1"/>
                          </a:solidFill>
                          <a:effectLst/>
                          <a:latin typeface="Calibri Light"/>
                          <a:ea typeface="+mn-ea"/>
                          <a:cs typeface="+mn-cs"/>
                        </a:rPr>
                        <a:t>Streamline Group Risk Management processes </a:t>
                      </a:r>
                      <a:endParaRPr lang="en-US" sz="1200" b="0" i="0" u="none" strike="noStrike" kern="1200" dirty="0">
                        <a:solidFill>
                          <a:schemeClr val="dk1"/>
                        </a:solidFill>
                        <a:effectLst/>
                        <a:latin typeface="Calibri Light"/>
                        <a:ea typeface="+mn-ea"/>
                        <a:cs typeface="+mn-cs"/>
                      </a:endParaRPr>
                    </a:p>
                    <a:p>
                      <a:pPr marL="0" indent="0" algn="l" defTabSz="914491" rtl="0" eaLnBrk="1" latinLnBrk="0" hangingPunct="1">
                        <a:lnSpc>
                          <a:spcPct val="90000"/>
                        </a:lnSpc>
                        <a:buFont typeface="Arial" panose="020B0604020202020204" pitchFamily="34" charset="0"/>
                        <a:buNone/>
                      </a:pPr>
                      <a:endParaRPr lang="en-US" sz="1200" b="0" i="0" u="none" strike="noStrike" kern="1200" baseline="0" noProof="0" dirty="0">
                        <a:solidFill>
                          <a:schemeClr val="dk1"/>
                        </a:solidFill>
                        <a:effectLst/>
                        <a:latin typeface="Calibri Ligh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6">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The recommendations for the regulations (including roles &amp; responsibilities) and compositions of the Committees </a:t>
                      </a:r>
                    </a:p>
                    <a:p>
                      <a:pPr marL="171450" indent="-171450" algn="l" defTabSz="914491" rtl="0" eaLnBrk="1" latinLnBrk="0" hangingPunct="1">
                        <a:lnSpc>
                          <a:spcPct val="90000"/>
                        </a:lnSpc>
                        <a:buFont typeface="Arial" panose="020B0604020202020204" pitchFamily="34" charset="0"/>
                        <a:buChar char="•"/>
                      </a:pPr>
                      <a:endParaRPr lang="en-US" sz="1200" b="0" i="0" u="none" strike="noStrike" kern="120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dirty="0">
                          <a:solidFill>
                            <a:schemeClr val="dk1"/>
                          </a:solidFill>
                          <a:effectLst/>
                          <a:latin typeface="Calibri Light"/>
                          <a:ea typeface="+mn-ea"/>
                          <a:cs typeface="+mn-cs"/>
                        </a:rPr>
                        <a:t>The recommendations for the system of authorities delegation </a:t>
                      </a:r>
                    </a:p>
                    <a:p>
                      <a:pPr marL="171450" indent="-171450" algn="l" defTabSz="914491" rtl="0" eaLnBrk="1" latinLnBrk="0" hangingPunct="1">
                        <a:lnSpc>
                          <a:spcPct val="90000"/>
                        </a:lnSpc>
                        <a:buFont typeface="Arial" panose="020B0604020202020204" pitchFamily="34" charset="0"/>
                        <a:buChar char="•"/>
                      </a:pPr>
                      <a:endParaRPr lang="en-US" sz="1200" b="0" i="0" u="none" strike="noStrike" kern="1200" dirty="0">
                        <a:solidFill>
                          <a:schemeClr val="dk1"/>
                        </a:solidFill>
                        <a:effectLst/>
                        <a:latin typeface="Calibri Light"/>
                        <a:ea typeface="+mn-ea"/>
                        <a:cs typeface="+mn-cs"/>
                      </a:endParaRPr>
                    </a:p>
                    <a:p>
                      <a:pPr marL="171450" indent="-171450" algn="l" defTabSz="914491" rtl="0" eaLnBrk="1" latinLnBrk="0" hangingPunct="1">
                        <a:lnSpc>
                          <a:spcPct val="90000"/>
                        </a:lnSpc>
                        <a:buFont typeface="Arial" panose="020B0604020202020204" pitchFamily="34" charset="0"/>
                        <a:buChar char="•"/>
                      </a:pPr>
                      <a:r>
                        <a:rPr lang="en-US" sz="1200" b="0" i="0" u="none" strike="noStrike" kern="1200" baseline="0" noProof="0" dirty="0">
                          <a:solidFill>
                            <a:schemeClr val="dk1"/>
                          </a:solidFill>
                          <a:effectLst/>
                          <a:latin typeface="Calibri Light"/>
                          <a:ea typeface="+mn-ea"/>
                          <a:cs typeface="+mn-cs"/>
                        </a:rPr>
                        <a:t>The recommendations for products and limits systems, business processes etc. </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Manage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Tural Hasanov</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918820192"/>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Project Coordinator</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Samir Hasanov or Vafa Abdullayeva</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Main</a:t>
                      </a:r>
                      <a:r>
                        <a:rPr lang="en-US" sz="1400" b="1" kern="1200" baseline="0" noProof="0" dirty="0">
                          <a:solidFill>
                            <a:schemeClr val="tx1"/>
                          </a:solidFill>
                          <a:latin typeface="+mj-lt"/>
                          <a:ea typeface="+mn-ea"/>
                          <a:cs typeface="+mn-cs"/>
                        </a:rPr>
                        <a:t> Stakeholders</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RM,</a:t>
                      </a:r>
                      <a:r>
                        <a:rPr lang="en-US" sz="1400" b="0" kern="1200" baseline="0" noProof="0" dirty="0">
                          <a:solidFill>
                            <a:schemeClr val="tx1"/>
                          </a:solidFill>
                          <a:latin typeface="+mn-lt"/>
                          <a:ea typeface="+mn-ea"/>
                          <a:cs typeface="+mn-cs"/>
                        </a:rPr>
                        <a:t> Business Lines, </a:t>
                      </a:r>
                      <a:r>
                        <a:rPr lang="en-US" sz="1400" b="0" kern="1200" noProof="0" dirty="0">
                          <a:solidFill>
                            <a:schemeClr val="tx1"/>
                          </a:solidFill>
                          <a:latin typeface="+mn-lt"/>
                          <a:ea typeface="+mn-ea"/>
                          <a:cs typeface="+mn-cs"/>
                        </a:rPr>
                        <a:t>HR, Legal,</a:t>
                      </a:r>
                      <a:r>
                        <a:rPr lang="en-US" sz="1400" b="0" kern="1200" baseline="0" noProof="0" dirty="0">
                          <a:solidFill>
                            <a:schemeClr val="tx1"/>
                          </a:solidFill>
                          <a:latin typeface="+mn-lt"/>
                          <a:ea typeface="+mn-ea"/>
                          <a:cs typeface="+mn-cs"/>
                        </a:rPr>
                        <a:t> Corporate Secretary</a:t>
                      </a:r>
                      <a:endParaRPr lang="en-US" sz="1400" b="0" kern="1200" noProof="0" dirty="0">
                        <a:solidFill>
                          <a:schemeClr val="tx1"/>
                        </a:solidFill>
                        <a:latin typeface="+mn-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r h="288000">
                <a:tc>
                  <a:txBody>
                    <a:bodyPr/>
                    <a:lstStyle/>
                    <a:p>
                      <a:pPr marL="0" algn="l" defTabSz="914491" rtl="0" eaLnBrk="1" latinLnBrk="0" hangingPunct="1">
                        <a:lnSpc>
                          <a:spcPct val="90000"/>
                        </a:lnSpc>
                      </a:pPr>
                      <a:r>
                        <a:rPr lang="en-US" sz="1400" b="1" kern="1200" noProof="0" dirty="0">
                          <a:solidFill>
                            <a:schemeClr val="tx1"/>
                          </a:solidFill>
                          <a:latin typeface="+mj-lt"/>
                          <a:ea typeface="+mn-ea"/>
                          <a:cs typeface="+mn-cs"/>
                        </a:rPr>
                        <a:t>Selected</a:t>
                      </a:r>
                      <a:r>
                        <a:rPr lang="en-US" sz="1400" b="1" kern="1200" baseline="0" noProof="0" dirty="0">
                          <a:solidFill>
                            <a:schemeClr val="tx1"/>
                          </a:solidFill>
                          <a:latin typeface="+mj-lt"/>
                          <a:ea typeface="+mn-ea"/>
                          <a:cs typeface="+mn-cs"/>
                        </a:rPr>
                        <a:t> Vendor</a:t>
                      </a:r>
                      <a:endParaRPr lang="en-US" sz="1400" b="1" kern="1200" noProof="0" dirty="0">
                        <a:solidFill>
                          <a:schemeClr val="tx1"/>
                        </a:solidFill>
                        <a:latin typeface="+mj-lt"/>
                        <a:ea typeface="+mn-ea"/>
                        <a:cs typeface="+mn-cs"/>
                      </a:endParaRP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l" defTabSz="914491" rtl="0" eaLnBrk="1" latinLnBrk="0" hangingPunct="1">
                        <a:lnSpc>
                          <a:spcPct val="90000"/>
                        </a:lnSpc>
                      </a:pPr>
                      <a:r>
                        <a:rPr lang="en-US" sz="1400" b="0" kern="1200" noProof="0" dirty="0">
                          <a:solidFill>
                            <a:schemeClr val="tx1"/>
                          </a:solidFill>
                          <a:latin typeface="+mn-lt"/>
                          <a:ea typeface="+mn-ea"/>
                          <a:cs typeface="+mn-cs"/>
                        </a:rPr>
                        <a:t>TA Consult</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1" kern="1200" noProof="0" dirty="0">
                          <a:solidFill>
                            <a:schemeClr val="tx1"/>
                          </a:solidFill>
                          <a:latin typeface="+mj-lt"/>
                          <a:ea typeface="+mn-ea"/>
                          <a:cs typeface="+mn-cs"/>
                        </a:rPr>
                        <a:t>Expected Start Date</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algn="l" defTabSz="914491" rtl="0" eaLnBrk="1" latinLnBrk="0" hangingPunct="1">
                        <a:lnSpc>
                          <a:spcPct val="90000"/>
                        </a:lnSpc>
                      </a:pPr>
                      <a:r>
                        <a:rPr lang="en-US" sz="1400" b="0" kern="1200" noProof="0" dirty="0">
                          <a:solidFill>
                            <a:schemeClr val="tx1"/>
                          </a:solidFill>
                          <a:latin typeface="+mn-lt"/>
                          <a:ea typeface="+mn-ea"/>
                          <a:cs typeface="+mn-cs"/>
                        </a:rPr>
                        <a:t>October’</a:t>
                      </a:r>
                      <a:r>
                        <a:rPr lang="en-US" sz="1400" b="0" kern="1200" baseline="0" noProof="0" dirty="0">
                          <a:solidFill>
                            <a:schemeClr val="tx1"/>
                          </a:solidFill>
                          <a:latin typeface="+mn-lt"/>
                          <a:ea typeface="+mn-ea"/>
                          <a:cs typeface="+mn-cs"/>
                        </a:rPr>
                        <a:t> </a:t>
                      </a:r>
                      <a:r>
                        <a:rPr lang="en-US" sz="1400" b="0" kern="1200" noProof="0" dirty="0">
                          <a:solidFill>
                            <a:schemeClr val="tx1"/>
                          </a:solidFill>
                          <a:latin typeface="+mn-lt"/>
                          <a:ea typeface="+mn-ea"/>
                          <a:cs typeface="+mn-cs"/>
                        </a:rPr>
                        <a:t>2020</a:t>
                      </a:r>
                    </a:p>
                  </a:txBody>
                  <a:tcPr marL="108000" marR="108000" marT="36000" marB="36005">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617183572"/>
                  </a:ext>
                </a:extLst>
              </a:tr>
            </a:tbl>
          </a:graphicData>
        </a:graphic>
      </p:graphicFrame>
      <p:graphicFrame>
        <p:nvGraphicFramePr>
          <p:cNvPr id="5" name="Table 4"/>
          <p:cNvGraphicFramePr>
            <a:graphicFrameLocks noGrp="1"/>
          </p:cNvGraphicFramePr>
          <p:nvPr/>
        </p:nvGraphicFramePr>
        <p:xfrm>
          <a:off x="540070" y="5592941"/>
          <a:ext cx="11111046" cy="1052776"/>
        </p:xfrm>
        <a:graphic>
          <a:graphicData uri="http://schemas.openxmlformats.org/drawingml/2006/table">
            <a:tbl>
              <a:tblPr firstRow="1" bandRow="1"/>
              <a:tblGrid>
                <a:gridCol w="3088033">
                  <a:extLst>
                    <a:ext uri="{9D8B030D-6E8A-4147-A177-3AD203B41FA5}">
                      <a16:colId xmlns:a16="http://schemas.microsoft.com/office/drawing/2014/main" val="20000"/>
                    </a:ext>
                  </a:extLst>
                </a:gridCol>
                <a:gridCol w="3864078">
                  <a:extLst>
                    <a:ext uri="{9D8B030D-6E8A-4147-A177-3AD203B41FA5}">
                      <a16:colId xmlns:a16="http://schemas.microsoft.com/office/drawing/2014/main" val="20001"/>
                    </a:ext>
                  </a:extLst>
                </a:gridCol>
                <a:gridCol w="4158935">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Budget:</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algn="l">
                        <a:lnSpc>
                          <a:spcPct val="90000"/>
                        </a:lnSpc>
                        <a:spcAft>
                          <a:spcPts val="1000"/>
                        </a:spcAft>
                      </a:pPr>
                      <a:r>
                        <a:rPr lang="en-US" sz="1800" b="0" dirty="0">
                          <a:solidFill>
                            <a:schemeClr val="bg1"/>
                          </a:solidFill>
                          <a:latin typeface="+mj-lt"/>
                        </a:rPr>
                        <a:t>Risk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tc>
                  <a:txBody>
                    <a:bodyPr/>
                    <a:lstStyle>
                      <a:lvl1pPr marL="0" algn="l" defTabSz="914400" rtl="0" eaLnBrk="1" latinLnBrk="0" hangingPunct="1">
                        <a:defRPr sz="1800" b="1" kern="1200">
                          <a:solidFill>
                            <a:schemeClr val="lt1"/>
                          </a:solidFill>
                          <a:latin typeface="Calibri Light"/>
                        </a:defRPr>
                      </a:lvl1pPr>
                      <a:lvl2pPr marL="457200" algn="l" defTabSz="914400" rtl="0" eaLnBrk="1" latinLnBrk="0" hangingPunct="1">
                        <a:defRPr sz="1800" b="1" kern="1200">
                          <a:solidFill>
                            <a:schemeClr val="lt1"/>
                          </a:solidFill>
                          <a:latin typeface="Calibri Light"/>
                        </a:defRPr>
                      </a:lvl2pPr>
                      <a:lvl3pPr marL="914400" algn="l" defTabSz="914400" rtl="0" eaLnBrk="1" latinLnBrk="0" hangingPunct="1">
                        <a:defRPr sz="1800" b="1" kern="1200">
                          <a:solidFill>
                            <a:schemeClr val="lt1"/>
                          </a:solidFill>
                          <a:latin typeface="Calibri Light"/>
                        </a:defRPr>
                      </a:lvl3pPr>
                      <a:lvl4pPr marL="1371600" algn="l" defTabSz="914400" rtl="0" eaLnBrk="1" latinLnBrk="0" hangingPunct="1">
                        <a:defRPr sz="1800" b="1" kern="1200">
                          <a:solidFill>
                            <a:schemeClr val="lt1"/>
                          </a:solidFill>
                          <a:latin typeface="Calibri Light"/>
                        </a:defRPr>
                      </a:lvl4pPr>
                      <a:lvl5pPr marL="1828800" algn="l" defTabSz="914400" rtl="0" eaLnBrk="1" latinLnBrk="0" hangingPunct="1">
                        <a:defRPr sz="1800" b="1" kern="1200">
                          <a:solidFill>
                            <a:schemeClr val="lt1"/>
                          </a:solidFill>
                          <a:latin typeface="Calibri Light"/>
                        </a:defRPr>
                      </a:lvl5pPr>
                      <a:lvl6pPr marL="2286000" algn="l" defTabSz="914400" rtl="0" eaLnBrk="1" latinLnBrk="0" hangingPunct="1">
                        <a:defRPr sz="1800" b="1" kern="1200">
                          <a:solidFill>
                            <a:schemeClr val="lt1"/>
                          </a:solidFill>
                          <a:latin typeface="Calibri Light"/>
                        </a:defRPr>
                      </a:lvl6pPr>
                      <a:lvl7pPr marL="2743200" algn="l" defTabSz="914400" rtl="0" eaLnBrk="1" latinLnBrk="0" hangingPunct="1">
                        <a:defRPr sz="1800" b="1" kern="1200">
                          <a:solidFill>
                            <a:schemeClr val="lt1"/>
                          </a:solidFill>
                          <a:latin typeface="Calibri Light"/>
                        </a:defRPr>
                      </a:lvl7pPr>
                      <a:lvl8pPr marL="3200400" algn="l" defTabSz="914400" rtl="0" eaLnBrk="1" latinLnBrk="0" hangingPunct="1">
                        <a:defRPr sz="1800" b="1" kern="1200">
                          <a:solidFill>
                            <a:schemeClr val="lt1"/>
                          </a:solidFill>
                          <a:latin typeface="Calibri Light"/>
                        </a:defRPr>
                      </a:lvl8pPr>
                      <a:lvl9pPr marL="3657600" algn="l" defTabSz="914400" rtl="0" eaLnBrk="1" latinLnBrk="0" hangingPunct="1">
                        <a:defRPr sz="1800" b="1" kern="1200">
                          <a:solidFill>
                            <a:schemeClr val="lt1"/>
                          </a:solidFill>
                          <a:latin typeface="Calibri Light"/>
                        </a:defRPr>
                      </a:lvl9pPr>
                    </a:lstStyle>
                    <a:p>
                      <a:pPr marL="0" marR="0" lvl="0" indent="0" algn="l" defTabSz="914400" rtl="0" eaLnBrk="1" fontAlgn="auto" latinLnBrk="0" hangingPunct="1">
                        <a:lnSpc>
                          <a:spcPct val="90000"/>
                        </a:lnSpc>
                        <a:spcBef>
                          <a:spcPts val="0"/>
                        </a:spcBef>
                        <a:spcAft>
                          <a:spcPts val="1000"/>
                        </a:spcAft>
                        <a:buClrTx/>
                        <a:buSzTx/>
                        <a:buFontTx/>
                        <a:buNone/>
                        <a:tabLst/>
                        <a:defRPr/>
                      </a:pPr>
                      <a:r>
                        <a:rPr lang="en-US" sz="1800" b="0" dirty="0">
                          <a:solidFill>
                            <a:schemeClr val="bg1"/>
                          </a:solidFill>
                          <a:latin typeface="+mj-lt"/>
                        </a:rPr>
                        <a:t>Dependencies:</a:t>
                      </a:r>
                    </a:p>
                  </a:txBody>
                  <a:tcPr marL="108000" marR="144019"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solidFill>
                      <a:srgbClr val="FF6011"/>
                    </a:solidFill>
                  </a:tcPr>
                </a:tc>
                <a:extLst>
                  <a:ext uri="{0D108BD9-81ED-4DB2-BD59-A6C34878D82A}">
                    <a16:rowId xmlns:a16="http://schemas.microsoft.com/office/drawing/2014/main" val="10000"/>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Proposed Total Budget: 147 100Euro</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171450" indent="-171450" algn="l">
                        <a:lnSpc>
                          <a:spcPct val="90000"/>
                        </a:lnSpc>
                        <a:spcAft>
                          <a:spcPts val="1000"/>
                        </a:spcAft>
                        <a:buFont typeface="Arial" panose="020B0604020202020204" pitchFamily="34" charset="0"/>
                        <a:buChar char="•"/>
                      </a:pPr>
                      <a:r>
                        <a:rPr lang="en-US" sz="1200" dirty="0">
                          <a:latin typeface="+mj-lt"/>
                        </a:rPr>
                        <a:t>Project full stop after phase</a:t>
                      </a:r>
                      <a:r>
                        <a:rPr lang="en-US" sz="1200" baseline="0" dirty="0">
                          <a:latin typeface="+mj-lt"/>
                        </a:rPr>
                        <a:t> 1 (</a:t>
                      </a:r>
                      <a:r>
                        <a:rPr lang="en-US" sz="1200" kern="1200" baseline="0" dirty="0">
                          <a:solidFill>
                            <a:schemeClr val="dk1"/>
                          </a:solidFill>
                          <a:latin typeface="+mj-lt"/>
                          <a:ea typeface="+mn-ea"/>
                          <a:cs typeface="+mn-cs"/>
                        </a:rPr>
                        <a:t>if we don’t agree on the phase 2 scope)</a:t>
                      </a:r>
                    </a:p>
                    <a:p>
                      <a:pPr marL="171450" indent="-171450" algn="l">
                        <a:lnSpc>
                          <a:spcPct val="90000"/>
                        </a:lnSpc>
                        <a:spcAft>
                          <a:spcPts val="1000"/>
                        </a:spcAft>
                        <a:buFont typeface="Arial" panose="020B0604020202020204" pitchFamily="34" charset="0"/>
                        <a:buChar char="•"/>
                      </a:pPr>
                      <a:r>
                        <a:rPr lang="en-US" sz="1200" kern="1200" baseline="0" dirty="0">
                          <a:solidFill>
                            <a:schemeClr val="dk1"/>
                          </a:solidFill>
                          <a:latin typeface="+mj-lt"/>
                          <a:ea typeface="+mn-ea"/>
                          <a:cs typeface="+mn-cs"/>
                        </a:rPr>
                        <a:t>Resource insufficiency by the bank</a:t>
                      </a:r>
                      <a:endParaRPr lang="en-US" sz="1200" baseline="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dirty="0">
                          <a:latin typeface="+mj-lt"/>
                        </a:rPr>
                        <a:t>Involvement</a:t>
                      </a:r>
                      <a:r>
                        <a:rPr lang="en-US" sz="1200" baseline="0" dirty="0">
                          <a:latin typeface="+mj-lt"/>
                        </a:rPr>
                        <a:t> and commitment of working group (Risk function + Business lines) are success critical for the project</a:t>
                      </a:r>
                      <a:endParaRPr lang="en-US" sz="1200" dirty="0">
                        <a:latin typeface="+mj-lt"/>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8000">
                <a:tc>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algn="l">
                        <a:lnSpc>
                          <a:spcPct val="90000"/>
                        </a:lnSpc>
                        <a:spcAft>
                          <a:spcPts val="1000"/>
                        </a:spcAft>
                      </a:pPr>
                      <a:r>
                        <a:rPr lang="en-US" sz="1200" baseline="0" dirty="0">
                          <a:latin typeface="+mj-lt"/>
                        </a:rPr>
                        <a:t>Budget to be paid by UniBank: 19 123Euro</a:t>
                      </a:r>
                      <a:r>
                        <a:rPr lang="en-US" sz="1200" dirty="0">
                          <a:latin typeface="+mj-lt"/>
                        </a:rPr>
                        <a:t> </a:t>
                      </a: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dk1"/>
                          </a:solidFill>
                          <a:latin typeface="Calibri Light"/>
                        </a:defRPr>
                      </a:lvl1pPr>
                      <a:lvl2pPr marL="457200" algn="l" defTabSz="914400" rtl="0" eaLnBrk="1" latinLnBrk="0" hangingPunct="1">
                        <a:defRPr sz="1800" kern="1200">
                          <a:solidFill>
                            <a:schemeClr val="dk1"/>
                          </a:solidFill>
                          <a:latin typeface="Calibri Light"/>
                        </a:defRPr>
                      </a:lvl2pPr>
                      <a:lvl3pPr marL="914400" algn="l" defTabSz="914400" rtl="0" eaLnBrk="1" latinLnBrk="0" hangingPunct="1">
                        <a:defRPr sz="1800" kern="1200">
                          <a:solidFill>
                            <a:schemeClr val="dk1"/>
                          </a:solidFill>
                          <a:latin typeface="Calibri Light"/>
                        </a:defRPr>
                      </a:lvl3pPr>
                      <a:lvl4pPr marL="1371600" algn="l" defTabSz="914400" rtl="0" eaLnBrk="1" latinLnBrk="0" hangingPunct="1">
                        <a:defRPr sz="1800" kern="1200">
                          <a:solidFill>
                            <a:schemeClr val="dk1"/>
                          </a:solidFill>
                          <a:latin typeface="Calibri Light"/>
                        </a:defRPr>
                      </a:lvl4pPr>
                      <a:lvl5pPr marL="1828800" algn="l" defTabSz="914400" rtl="0" eaLnBrk="1" latinLnBrk="0" hangingPunct="1">
                        <a:defRPr sz="1800" kern="1200">
                          <a:solidFill>
                            <a:schemeClr val="dk1"/>
                          </a:solidFill>
                          <a:latin typeface="Calibri Light"/>
                        </a:defRPr>
                      </a:lvl5pPr>
                      <a:lvl6pPr marL="2286000" algn="l" defTabSz="914400" rtl="0" eaLnBrk="1" latinLnBrk="0" hangingPunct="1">
                        <a:defRPr sz="1800" kern="1200">
                          <a:solidFill>
                            <a:schemeClr val="dk1"/>
                          </a:solidFill>
                          <a:latin typeface="Calibri Light"/>
                        </a:defRPr>
                      </a:lvl6pPr>
                      <a:lvl7pPr marL="2743200" algn="l" defTabSz="914400" rtl="0" eaLnBrk="1" latinLnBrk="0" hangingPunct="1">
                        <a:defRPr sz="1800" kern="1200">
                          <a:solidFill>
                            <a:schemeClr val="dk1"/>
                          </a:solidFill>
                          <a:latin typeface="Calibri Light"/>
                        </a:defRPr>
                      </a:lvl7pPr>
                      <a:lvl8pPr marL="3200400" algn="l" defTabSz="914400" rtl="0" eaLnBrk="1" latinLnBrk="0" hangingPunct="1">
                        <a:defRPr sz="1800" kern="1200">
                          <a:solidFill>
                            <a:schemeClr val="dk1"/>
                          </a:solidFill>
                          <a:latin typeface="Calibri Light"/>
                        </a:defRPr>
                      </a:lvl8pPr>
                      <a:lvl9pPr marL="3657600" algn="l" defTabSz="914400" rtl="0" eaLnBrk="1" latinLnBrk="0" hangingPunct="1">
                        <a:defRPr sz="1800" kern="1200">
                          <a:solidFill>
                            <a:schemeClr val="dk1"/>
                          </a:solidFill>
                          <a:latin typeface="Calibri Light"/>
                        </a:defRPr>
                      </a:lvl9pPr>
                    </a:lstStyle>
                    <a:p>
                      <a:pPr marL="0" marR="0" indent="0" algn="l" defTabSz="914400" rtl="0" eaLnBrk="1" fontAlgn="auto" latinLnBrk="0" hangingPunct="1">
                        <a:lnSpc>
                          <a:spcPct val="90000"/>
                        </a:lnSpc>
                        <a:spcBef>
                          <a:spcPts val="0"/>
                        </a:spcBef>
                        <a:spcAft>
                          <a:spcPts val="1000"/>
                        </a:spcAft>
                        <a:buClrTx/>
                        <a:buSzTx/>
                        <a:buFontTx/>
                        <a:buNone/>
                        <a:tabLst/>
                        <a:defRPr/>
                      </a:pPr>
                      <a:endParaRPr lang="en-US" sz="1200" kern="1200" baseline="0" dirty="0">
                        <a:solidFill>
                          <a:schemeClr val="dk1"/>
                        </a:solidFill>
                        <a:latin typeface="Calibri Light"/>
                        <a:ea typeface="+mn-ea"/>
                        <a:cs typeface="+mn-cs"/>
                      </a:endParaRPr>
                    </a:p>
                  </a:txBody>
                  <a:tcPr marL="108000" marR="108000" marT="36000" marB="36000"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a:lnSpc>
                          <a:spcPct val="90000"/>
                        </a:lnSpc>
                        <a:spcAft>
                          <a:spcPts val="1000"/>
                        </a:spcAft>
                      </a:pPr>
                      <a:endParaRPr lang="en-US" sz="1100" dirty="0">
                        <a:latin typeface="+mj-lt"/>
                      </a:endParaRPr>
                    </a:p>
                  </a:txBody>
                  <a:tcPr marL="121904" marR="121904" marT="60960" marB="60960"/>
                </a:tc>
                <a:extLst>
                  <a:ext uri="{0D108BD9-81ED-4DB2-BD59-A6C34878D82A}">
                    <a16:rowId xmlns:a16="http://schemas.microsoft.com/office/drawing/2014/main" val="10002"/>
                  </a:ext>
                </a:extLst>
              </a:tr>
            </a:tbl>
          </a:graphicData>
        </a:graphic>
      </p:graphicFrame>
      <p:grpSp>
        <p:nvGrpSpPr>
          <p:cNvPr id="78" name="Gruppieren 30">
            <a:extLst>
              <a:ext uri="{FF2B5EF4-FFF2-40B4-BE49-F238E27FC236}">
                <a16:creationId xmlns:a16="http://schemas.microsoft.com/office/drawing/2014/main" id="{A4AD4FAB-FCC8-4F7D-835B-55A25C89CC75}"/>
              </a:ext>
            </a:extLst>
          </p:cNvPr>
          <p:cNvGrpSpPr>
            <a:grpSpLocks noChangeAspect="1"/>
          </p:cNvGrpSpPr>
          <p:nvPr/>
        </p:nvGrpSpPr>
        <p:grpSpPr bwMode="gray">
          <a:xfrm>
            <a:off x="540070" y="3783411"/>
            <a:ext cx="1092494" cy="1655926"/>
            <a:chOff x="455541" y="2960951"/>
            <a:chExt cx="1092494" cy="1655926"/>
          </a:xfrm>
        </p:grpSpPr>
        <p:sp>
          <p:nvSpPr>
            <p:cNvPr id="79" name="Rechteck 10">
              <a:extLst>
                <a:ext uri="{FF2B5EF4-FFF2-40B4-BE49-F238E27FC236}">
                  <a16:creationId xmlns:a16="http://schemas.microsoft.com/office/drawing/2014/main" id="{4DA48D98-D2A9-4E83-AE37-8B2A7281B75E}"/>
                </a:ext>
              </a:extLst>
            </p:cNvPr>
            <p:cNvSpPr/>
            <p:nvPr/>
          </p:nvSpPr>
          <p:spPr bwMode="gray">
            <a:xfrm>
              <a:off x="468035" y="3925031"/>
              <a:ext cx="1080000" cy="540000"/>
            </a:xfrm>
            <a:prstGeom prst="rect">
              <a:avLst/>
            </a:prstGeom>
            <a:noFill/>
            <a:ln w="25400" cap="flat" cmpd="sng" algn="ctr">
              <a:noFill/>
              <a:prstDash val="solid"/>
            </a:ln>
            <a:effectLst/>
          </p:spPr>
          <p:txBody>
            <a:bodyPr lIns="0" tIns="0" rIns="0" bIns="0" spcCol="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effectLst/>
                  <a:uLnTx/>
                  <a:uFillTx/>
                  <a:latin typeface="Bebas Neue" panose="020B0506020202020201" pitchFamily="34" charset="0"/>
                  <a:ea typeface="+mn-ea"/>
                  <a:cs typeface="+mn-cs"/>
                </a:rPr>
                <a:t>Tentative Plan </a:t>
              </a:r>
              <a:endParaRPr kumimoji="0" lang="en-US" sz="1400" b="0" i="0" u="none" strike="noStrike" kern="0" cap="none" spc="0" normalizeH="0" baseline="0" noProof="0" dirty="0">
                <a:ln>
                  <a:noFill/>
                </a:ln>
                <a:effectLst/>
                <a:uLnTx/>
                <a:uFillTx/>
                <a:latin typeface="Calibri Light"/>
                <a:ea typeface="+mn-ea"/>
                <a:cs typeface="+mn-cs"/>
              </a:endParaRPr>
            </a:p>
          </p:txBody>
        </p:sp>
        <p:grpSp>
          <p:nvGrpSpPr>
            <p:cNvPr id="80" name="Gruppieren 25">
              <a:extLst>
                <a:ext uri="{FF2B5EF4-FFF2-40B4-BE49-F238E27FC236}">
                  <a16:creationId xmlns:a16="http://schemas.microsoft.com/office/drawing/2014/main" id="{48ABBB53-85BF-4500-8DA1-056FEE8D3C8C}"/>
                </a:ext>
              </a:extLst>
            </p:cNvPr>
            <p:cNvGrpSpPr>
              <a:grpSpLocks noChangeAspect="1"/>
            </p:cNvGrpSpPr>
            <p:nvPr/>
          </p:nvGrpSpPr>
          <p:grpSpPr bwMode="gray">
            <a:xfrm>
              <a:off x="455541" y="2960951"/>
              <a:ext cx="1092494" cy="1655926"/>
              <a:chOff x="455541" y="2960951"/>
              <a:chExt cx="1092494" cy="1655926"/>
            </a:xfrm>
          </p:grpSpPr>
          <p:sp>
            <p:nvSpPr>
              <p:cNvPr id="81" name="Ellipse 5">
                <a:extLst>
                  <a:ext uri="{FF2B5EF4-FFF2-40B4-BE49-F238E27FC236}">
                    <a16:creationId xmlns:a16="http://schemas.microsoft.com/office/drawing/2014/main" id="{2F4D8319-9F4B-43D7-90FA-278EC196E006}"/>
                  </a:ext>
                </a:extLst>
              </p:cNvPr>
              <p:cNvSpPr>
                <a:spLocks noChangeAspect="1"/>
              </p:cNvSpPr>
              <p:nvPr/>
            </p:nvSpPr>
            <p:spPr bwMode="gray">
              <a:xfrm>
                <a:off x="455541" y="3256056"/>
                <a:ext cx="468000" cy="468000"/>
              </a:xfrm>
              <a:prstGeom prst="ellipse">
                <a:avLst/>
              </a:prstGeom>
              <a:solidFill>
                <a:srgbClr val="9BBB59">
                  <a:lumMod val="20000"/>
                  <a:lumOff val="80000"/>
                </a:srgbClr>
              </a:solidFill>
              <a:ln w="254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800" b="0" i="0" u="none" strike="noStrike" kern="0" cap="none" spc="0" normalizeH="0" baseline="0" noProof="0" dirty="0">
                  <a:ln>
                    <a:noFill/>
                  </a:ln>
                  <a:effectLst/>
                  <a:uLnTx/>
                  <a:uFillTx/>
                  <a:latin typeface="Calibri Light"/>
                  <a:ea typeface="+mn-ea"/>
                  <a:cs typeface="+mn-cs"/>
                </a:endParaRPr>
              </a:p>
            </p:txBody>
          </p:sp>
          <p:grpSp>
            <p:nvGrpSpPr>
              <p:cNvPr id="82" name="Gruppieren 86">
                <a:extLst>
                  <a:ext uri="{FF2B5EF4-FFF2-40B4-BE49-F238E27FC236}">
                    <a16:creationId xmlns:a16="http://schemas.microsoft.com/office/drawing/2014/main" id="{896C9FC7-D7D6-4522-8778-AC586851BCD2}"/>
                  </a:ext>
                </a:extLst>
              </p:cNvPr>
              <p:cNvGrpSpPr>
                <a:grpSpLocks noChangeAspect="1"/>
              </p:cNvGrpSpPr>
              <p:nvPr/>
            </p:nvGrpSpPr>
            <p:grpSpPr bwMode="gray">
              <a:xfrm>
                <a:off x="540070" y="2960951"/>
                <a:ext cx="721214" cy="611922"/>
                <a:chOff x="6254298" y="14463442"/>
                <a:chExt cx="787100" cy="667824"/>
              </a:xfrm>
            </p:grpSpPr>
            <p:sp>
              <p:nvSpPr>
                <p:cNvPr id="84" name="Freihandform: Form 95">
                  <a:extLst>
                    <a:ext uri="{FF2B5EF4-FFF2-40B4-BE49-F238E27FC236}">
                      <a16:creationId xmlns:a16="http://schemas.microsoft.com/office/drawing/2014/main" id="{FAA7C7F2-A1FC-4F87-83DF-D995F7EEED9C}"/>
                    </a:ext>
                  </a:extLst>
                </p:cNvPr>
                <p:cNvSpPr/>
                <p:nvPr/>
              </p:nvSpPr>
              <p:spPr bwMode="gray">
                <a:xfrm>
                  <a:off x="6254298" y="14671115"/>
                  <a:ext cx="787100" cy="460151"/>
                </a:xfrm>
                <a:custGeom>
                  <a:avLst/>
                  <a:gdLst>
                    <a:gd name="connsiteX0" fmla="*/ 1046212 w 1058836"/>
                    <a:gd name="connsiteY0" fmla="*/ 18326 h 619011"/>
                    <a:gd name="connsiteX1" fmla="*/ 1046212 w 1058836"/>
                    <a:gd name="connsiteY1" fmla="*/ 550187 h 619011"/>
                    <a:gd name="connsiteX2" fmla="*/ 995713 w 1058836"/>
                    <a:gd name="connsiteY2" fmla="*/ 600686 h 619011"/>
                    <a:gd name="connsiteX3" fmla="*/ 68824 w 1058836"/>
                    <a:gd name="connsiteY3" fmla="*/ 600686 h 619011"/>
                    <a:gd name="connsiteX4" fmla="*/ 18326 w 1058836"/>
                    <a:gd name="connsiteY4" fmla="*/ 550187 h 619011"/>
                    <a:gd name="connsiteX5" fmla="*/ 18326 w 1058836"/>
                    <a:gd name="connsiteY5" fmla="*/ 18326 h 6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836" h="619011">
                      <a:moveTo>
                        <a:pt x="1046212" y="18326"/>
                      </a:moveTo>
                      <a:lnTo>
                        <a:pt x="1046212" y="550187"/>
                      </a:lnTo>
                      <a:cubicBezTo>
                        <a:pt x="1046212" y="577880"/>
                        <a:pt x="1023406" y="600686"/>
                        <a:pt x="995713" y="600686"/>
                      </a:cubicBezTo>
                      <a:lnTo>
                        <a:pt x="68824" y="600686"/>
                      </a:lnTo>
                      <a:cubicBezTo>
                        <a:pt x="41132" y="600686"/>
                        <a:pt x="18326" y="577880"/>
                        <a:pt x="18326" y="550187"/>
                      </a:cubicBezTo>
                      <a:lnTo>
                        <a:pt x="18326" y="18326"/>
                      </a:lnTo>
                    </a:path>
                  </a:pathLst>
                </a:custGeom>
                <a:noFill/>
                <a:ln w="25400" cap="flat">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85" name="Freihandform: Form 96">
                  <a:extLst>
                    <a:ext uri="{FF2B5EF4-FFF2-40B4-BE49-F238E27FC236}">
                      <a16:creationId xmlns:a16="http://schemas.microsoft.com/office/drawing/2014/main" id="{C7CD4F6F-3ECA-455C-AB69-017B06E8E3BA}"/>
                    </a:ext>
                  </a:extLst>
                </p:cNvPr>
                <p:cNvSpPr/>
                <p:nvPr/>
              </p:nvSpPr>
              <p:spPr bwMode="gray">
                <a:xfrm>
                  <a:off x="6382051" y="14533675"/>
                  <a:ext cx="96874" cy="72656"/>
                </a:xfrm>
                <a:custGeom>
                  <a:avLst/>
                  <a:gdLst>
                    <a:gd name="connsiteX0" fmla="*/ 22398 w 130318"/>
                    <a:gd name="connsiteY0" fmla="*/ 18326 h 97738"/>
                    <a:gd name="connsiteX1" fmla="*/ 18326 w 130318"/>
                    <a:gd name="connsiteY1" fmla="*/ 36245 h 97738"/>
                    <a:gd name="connsiteX2" fmla="*/ 65566 w 130318"/>
                    <a:gd name="connsiteY2" fmla="*/ 83485 h 97738"/>
                    <a:gd name="connsiteX3" fmla="*/ 112807 w 130318"/>
                    <a:gd name="connsiteY3" fmla="*/ 36245 h 97738"/>
                    <a:gd name="connsiteX4" fmla="*/ 108734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22398" y="18326"/>
                      </a:moveTo>
                      <a:cubicBezTo>
                        <a:pt x="19955" y="24028"/>
                        <a:pt x="18326" y="29729"/>
                        <a:pt x="18326" y="36245"/>
                      </a:cubicBezTo>
                      <a:cubicBezTo>
                        <a:pt x="18326" y="62309"/>
                        <a:pt x="39503" y="83485"/>
                        <a:pt x="65566" y="83485"/>
                      </a:cubicBezTo>
                      <a:cubicBezTo>
                        <a:pt x="91630" y="83485"/>
                        <a:pt x="112807" y="62309"/>
                        <a:pt x="112807" y="36245"/>
                      </a:cubicBezTo>
                      <a:cubicBezTo>
                        <a:pt x="112807" y="29729"/>
                        <a:pt x="111178" y="23213"/>
                        <a:pt x="108734"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86" name="Freihandform: Form 113">
                  <a:extLst>
                    <a:ext uri="{FF2B5EF4-FFF2-40B4-BE49-F238E27FC236}">
                      <a16:creationId xmlns:a16="http://schemas.microsoft.com/office/drawing/2014/main" id="{7F1E6192-8D5E-475E-AA43-FD1117977360}"/>
                    </a:ext>
                  </a:extLst>
                </p:cNvPr>
                <p:cNvSpPr/>
                <p:nvPr/>
              </p:nvSpPr>
              <p:spPr bwMode="gray">
                <a:xfrm>
                  <a:off x="6417773"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87" name="Freihandform: Form 114">
                  <a:extLst>
                    <a:ext uri="{FF2B5EF4-FFF2-40B4-BE49-F238E27FC236}">
                      <a16:creationId xmlns:a16="http://schemas.microsoft.com/office/drawing/2014/main" id="{7FA32BF6-3BC9-4EB9-9B7D-84DE5D61B1C1}"/>
                    </a:ext>
                  </a:extLst>
                </p:cNvPr>
                <p:cNvSpPr/>
                <p:nvPr/>
              </p:nvSpPr>
              <p:spPr bwMode="gray">
                <a:xfrm>
                  <a:off x="6820405" y="14533675"/>
                  <a:ext cx="96874" cy="72656"/>
                </a:xfrm>
                <a:custGeom>
                  <a:avLst/>
                  <a:gdLst>
                    <a:gd name="connsiteX0" fmla="*/ 108734 w 130318"/>
                    <a:gd name="connsiteY0" fmla="*/ 18326 h 97738"/>
                    <a:gd name="connsiteX1" fmla="*/ 112807 w 130318"/>
                    <a:gd name="connsiteY1" fmla="*/ 36245 h 97738"/>
                    <a:gd name="connsiteX2" fmla="*/ 65566 w 130318"/>
                    <a:gd name="connsiteY2" fmla="*/ 83485 h 97738"/>
                    <a:gd name="connsiteX3" fmla="*/ 18326 w 130318"/>
                    <a:gd name="connsiteY3" fmla="*/ 36245 h 97738"/>
                    <a:gd name="connsiteX4" fmla="*/ 22398 w 130318"/>
                    <a:gd name="connsiteY4" fmla="*/ 18326 h 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97738">
                      <a:moveTo>
                        <a:pt x="108734" y="18326"/>
                      </a:moveTo>
                      <a:cubicBezTo>
                        <a:pt x="111178" y="24028"/>
                        <a:pt x="112807" y="29729"/>
                        <a:pt x="112807" y="36245"/>
                      </a:cubicBezTo>
                      <a:cubicBezTo>
                        <a:pt x="112807" y="62309"/>
                        <a:pt x="91630" y="83485"/>
                        <a:pt x="65566" y="83485"/>
                      </a:cubicBezTo>
                      <a:cubicBezTo>
                        <a:pt x="39503" y="83485"/>
                        <a:pt x="18326" y="62309"/>
                        <a:pt x="18326" y="36245"/>
                      </a:cubicBezTo>
                      <a:cubicBezTo>
                        <a:pt x="18326" y="29729"/>
                        <a:pt x="19955" y="23213"/>
                        <a:pt x="22398" y="18326"/>
                      </a:cubicBez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88" name="Freihandform: Form 115">
                  <a:extLst>
                    <a:ext uri="{FF2B5EF4-FFF2-40B4-BE49-F238E27FC236}">
                      <a16:creationId xmlns:a16="http://schemas.microsoft.com/office/drawing/2014/main" id="{43DE409F-110F-4048-9552-1697497698AB}"/>
                    </a:ext>
                  </a:extLst>
                </p:cNvPr>
                <p:cNvSpPr/>
                <p:nvPr/>
              </p:nvSpPr>
              <p:spPr bwMode="gray">
                <a:xfrm>
                  <a:off x="6854916" y="14463442"/>
                  <a:ext cx="24219" cy="108983"/>
                </a:xfrm>
                <a:custGeom>
                  <a:avLst/>
                  <a:gdLst>
                    <a:gd name="connsiteX0" fmla="*/ 18326 w 32579"/>
                    <a:gd name="connsiteY0" fmla="*/ 129911 h 146608"/>
                    <a:gd name="connsiteX1" fmla="*/ 18326 w 32579"/>
                    <a:gd name="connsiteY1" fmla="*/ 18326 h 146608"/>
                  </a:gdLst>
                  <a:ahLst/>
                  <a:cxnLst>
                    <a:cxn ang="0">
                      <a:pos x="connsiteX0" y="connsiteY0"/>
                    </a:cxn>
                    <a:cxn ang="0">
                      <a:pos x="connsiteX1" y="connsiteY1"/>
                    </a:cxn>
                  </a:cxnLst>
                  <a:rect l="l" t="t" r="r" b="b"/>
                  <a:pathLst>
                    <a:path w="32579" h="146608">
                      <a:moveTo>
                        <a:pt x="18326" y="129911"/>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89" name="Freihandform: Form 116">
                  <a:extLst>
                    <a:ext uri="{FF2B5EF4-FFF2-40B4-BE49-F238E27FC236}">
                      <a16:creationId xmlns:a16="http://schemas.microsoft.com/office/drawing/2014/main" id="{A9052A0E-050E-47FA-BDD5-B661298FA3ED}"/>
                    </a:ext>
                  </a:extLst>
                </p:cNvPr>
                <p:cNvSpPr/>
                <p:nvPr/>
              </p:nvSpPr>
              <p:spPr bwMode="gray">
                <a:xfrm>
                  <a:off x="6457128" y="14486450"/>
                  <a:ext cx="381441" cy="24219"/>
                </a:xfrm>
                <a:custGeom>
                  <a:avLst/>
                  <a:gdLst>
                    <a:gd name="connsiteX0" fmla="*/ 501318 w 513128"/>
                    <a:gd name="connsiteY0" fmla="*/ 18326 h 32579"/>
                    <a:gd name="connsiteX1" fmla="*/ 18326 w 513128"/>
                    <a:gd name="connsiteY1" fmla="*/ 18326 h 32579"/>
                  </a:gdLst>
                  <a:ahLst/>
                  <a:cxnLst>
                    <a:cxn ang="0">
                      <a:pos x="connsiteX0" y="connsiteY0"/>
                    </a:cxn>
                    <a:cxn ang="0">
                      <a:pos x="connsiteX1" y="connsiteY1"/>
                    </a:cxn>
                  </a:cxnLst>
                  <a:rect l="l" t="t" r="r" b="b"/>
                  <a:pathLst>
                    <a:path w="513128" h="32579">
                      <a:moveTo>
                        <a:pt x="501318" y="18326"/>
                      </a:moveTo>
                      <a:lnTo>
                        <a:pt x="18326"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90" name="Freihandform: Form 117">
                  <a:extLst>
                    <a:ext uri="{FF2B5EF4-FFF2-40B4-BE49-F238E27FC236}">
                      <a16:creationId xmlns:a16="http://schemas.microsoft.com/office/drawing/2014/main" id="{E66FB6D5-502A-4134-A4DB-6D030E0DFB03}"/>
                    </a:ext>
                  </a:extLst>
                </p:cNvPr>
                <p:cNvSpPr/>
                <p:nvPr/>
              </p:nvSpPr>
              <p:spPr bwMode="gray">
                <a:xfrm>
                  <a:off x="6254298" y="14486450"/>
                  <a:ext cx="787100" cy="211911"/>
                </a:xfrm>
                <a:custGeom>
                  <a:avLst/>
                  <a:gdLst>
                    <a:gd name="connsiteX0" fmla="*/ 186111 w 1058836"/>
                    <a:gd name="connsiteY0" fmla="*/ 18326 h 285071"/>
                    <a:gd name="connsiteX1" fmla="*/ 68824 w 1058836"/>
                    <a:gd name="connsiteY1" fmla="*/ 18326 h 285071"/>
                    <a:gd name="connsiteX2" fmla="*/ 18326 w 1058836"/>
                    <a:gd name="connsiteY2" fmla="*/ 68824 h 285071"/>
                    <a:gd name="connsiteX3" fmla="*/ 18326 w 1058836"/>
                    <a:gd name="connsiteY3" fmla="*/ 266745 h 285071"/>
                    <a:gd name="connsiteX4" fmla="*/ 1046212 w 1058836"/>
                    <a:gd name="connsiteY4" fmla="*/ 266745 h 285071"/>
                    <a:gd name="connsiteX5" fmla="*/ 1046212 w 1058836"/>
                    <a:gd name="connsiteY5" fmla="*/ 68824 h 285071"/>
                    <a:gd name="connsiteX6" fmla="*/ 995713 w 1058836"/>
                    <a:gd name="connsiteY6" fmla="*/ 18326 h 285071"/>
                    <a:gd name="connsiteX7" fmla="*/ 878427 w 1058836"/>
                    <a:gd name="connsiteY7" fmla="*/ 18326 h 28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836" h="285071">
                      <a:moveTo>
                        <a:pt x="186111" y="18326"/>
                      </a:moveTo>
                      <a:lnTo>
                        <a:pt x="68824" y="18326"/>
                      </a:lnTo>
                      <a:cubicBezTo>
                        <a:pt x="41132" y="18326"/>
                        <a:pt x="18326" y="41132"/>
                        <a:pt x="18326" y="68824"/>
                      </a:cubicBezTo>
                      <a:lnTo>
                        <a:pt x="18326" y="266745"/>
                      </a:lnTo>
                      <a:lnTo>
                        <a:pt x="1046212" y="266745"/>
                      </a:lnTo>
                      <a:lnTo>
                        <a:pt x="1046212" y="68824"/>
                      </a:lnTo>
                      <a:cubicBezTo>
                        <a:pt x="1046212" y="41132"/>
                        <a:pt x="1023406" y="18326"/>
                        <a:pt x="995713" y="18326"/>
                      </a:cubicBezTo>
                      <a:lnTo>
                        <a:pt x="878427" y="18326"/>
                      </a:lnTo>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91" name="Freihandform: Form 118">
                  <a:extLst>
                    <a:ext uri="{FF2B5EF4-FFF2-40B4-BE49-F238E27FC236}">
                      <a16:creationId xmlns:a16="http://schemas.microsoft.com/office/drawing/2014/main" id="{8C9632E8-EC46-4B4A-8D59-677454E6CF33}"/>
                    </a:ext>
                  </a:extLst>
                </p:cNvPr>
                <p:cNvSpPr/>
                <p:nvPr/>
              </p:nvSpPr>
              <p:spPr bwMode="gray">
                <a:xfrm>
                  <a:off x="6481952" y="14733478"/>
                  <a:ext cx="333004" cy="333004"/>
                </a:xfrm>
                <a:custGeom>
                  <a:avLst/>
                  <a:gdLst>
                    <a:gd name="connsiteX0" fmla="*/ 433716 w 447969"/>
                    <a:gd name="connsiteY0" fmla="*/ 226021 h 447969"/>
                    <a:gd name="connsiteX1" fmla="*/ 226021 w 447969"/>
                    <a:gd name="connsiteY1" fmla="*/ 433715 h 447969"/>
                    <a:gd name="connsiteX2" fmla="*/ 18326 w 447969"/>
                    <a:gd name="connsiteY2" fmla="*/ 226021 h 447969"/>
                    <a:gd name="connsiteX3" fmla="*/ 226021 w 447969"/>
                    <a:gd name="connsiteY3" fmla="*/ 18326 h 447969"/>
                    <a:gd name="connsiteX4" fmla="*/ 433716 w 447969"/>
                    <a:gd name="connsiteY4" fmla="*/ 226021 h 44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969" h="447969">
                      <a:moveTo>
                        <a:pt x="433716" y="226021"/>
                      </a:moveTo>
                      <a:cubicBezTo>
                        <a:pt x="433716" y="340727"/>
                        <a:pt x="340727" y="433715"/>
                        <a:pt x="226021" y="433715"/>
                      </a:cubicBezTo>
                      <a:cubicBezTo>
                        <a:pt x="111314" y="433715"/>
                        <a:pt x="18326" y="340727"/>
                        <a:pt x="18326" y="226021"/>
                      </a:cubicBezTo>
                      <a:cubicBezTo>
                        <a:pt x="18326" y="111314"/>
                        <a:pt x="111314" y="18326"/>
                        <a:pt x="226021" y="18326"/>
                      </a:cubicBezTo>
                      <a:cubicBezTo>
                        <a:pt x="340727" y="18326"/>
                        <a:pt x="433716" y="111314"/>
                        <a:pt x="433716" y="226021"/>
                      </a:cubicBezTo>
                      <a:close/>
                    </a:path>
                  </a:pathLst>
                </a:custGeom>
                <a:noFill/>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92" name="Freihandform: Form 119">
                  <a:extLst>
                    <a:ext uri="{FF2B5EF4-FFF2-40B4-BE49-F238E27FC236}">
                      <a16:creationId xmlns:a16="http://schemas.microsoft.com/office/drawing/2014/main" id="{B6E8E987-E9D1-4910-9745-1F304319BD73}"/>
                    </a:ext>
                  </a:extLst>
                </p:cNvPr>
                <p:cNvSpPr/>
                <p:nvPr/>
              </p:nvSpPr>
              <p:spPr bwMode="gray">
                <a:xfrm rot="2700000">
                  <a:off x="6670910" y="14822908"/>
                  <a:ext cx="24219" cy="181638"/>
                </a:xfrm>
                <a:custGeom>
                  <a:avLst/>
                  <a:gdLst>
                    <a:gd name="connsiteX0" fmla="*/ 18326 w 32579"/>
                    <a:gd name="connsiteY0" fmla="*/ 18326 h 244346"/>
                    <a:gd name="connsiteX1" fmla="*/ 18326 w 32579"/>
                    <a:gd name="connsiteY1" fmla="*/ 227650 h 244346"/>
                  </a:gdLst>
                  <a:ahLst/>
                  <a:cxnLst>
                    <a:cxn ang="0">
                      <a:pos x="connsiteX0" y="connsiteY0"/>
                    </a:cxn>
                    <a:cxn ang="0">
                      <a:pos x="connsiteX1" y="connsiteY1"/>
                    </a:cxn>
                  </a:cxnLst>
                  <a:rect l="l" t="t" r="r" b="b"/>
                  <a:pathLst>
                    <a:path w="32579" h="244346">
                      <a:moveTo>
                        <a:pt x="18326" y="18326"/>
                      </a:moveTo>
                      <a:lnTo>
                        <a:pt x="18326" y="227650"/>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sp>
              <p:nvSpPr>
                <p:cNvPr id="93" name="Freihandform: Form 120">
                  <a:extLst>
                    <a:ext uri="{FF2B5EF4-FFF2-40B4-BE49-F238E27FC236}">
                      <a16:creationId xmlns:a16="http://schemas.microsoft.com/office/drawing/2014/main" id="{ED14B6BD-DC59-4314-BB9A-E3EE8AFF0A0C}"/>
                    </a:ext>
                  </a:extLst>
                </p:cNvPr>
                <p:cNvSpPr/>
                <p:nvPr/>
              </p:nvSpPr>
              <p:spPr bwMode="gray">
                <a:xfrm rot="2700000">
                  <a:off x="6554892" y="14906651"/>
                  <a:ext cx="90733" cy="58568"/>
                </a:xfrm>
                <a:custGeom>
                  <a:avLst/>
                  <a:gdLst>
                    <a:gd name="connsiteX0" fmla="*/ 18326 w 244346"/>
                    <a:gd name="connsiteY0" fmla="*/ 18326 h 32579"/>
                    <a:gd name="connsiteX1" fmla="*/ 227650 w 244346"/>
                    <a:gd name="connsiteY1" fmla="*/ 18326 h 32579"/>
                  </a:gdLst>
                  <a:ahLst/>
                  <a:cxnLst>
                    <a:cxn ang="0">
                      <a:pos x="connsiteX0" y="connsiteY0"/>
                    </a:cxn>
                    <a:cxn ang="0">
                      <a:pos x="connsiteX1" y="connsiteY1"/>
                    </a:cxn>
                  </a:cxnLst>
                  <a:rect l="l" t="t" r="r" b="b"/>
                  <a:pathLst>
                    <a:path w="244346" h="32579">
                      <a:moveTo>
                        <a:pt x="18326" y="18326"/>
                      </a:moveTo>
                      <a:lnTo>
                        <a:pt x="227650" y="18326"/>
                      </a:lnTo>
                    </a:path>
                  </a:pathLst>
                </a:custGeom>
                <a:ln w="25400" cap="rnd">
                  <a:solidFill>
                    <a:srgbClr val="9BBB59"/>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alibri Light"/>
                  </a:endParaRPr>
                </a:p>
              </p:txBody>
            </p:sp>
          </p:grpSp>
          <p:cxnSp>
            <p:nvCxnSpPr>
              <p:cNvPr id="83" name="Gerader Verbinder 121">
                <a:extLst>
                  <a:ext uri="{FF2B5EF4-FFF2-40B4-BE49-F238E27FC236}">
                    <a16:creationId xmlns:a16="http://schemas.microsoft.com/office/drawing/2014/main" id="{7A668557-0AA1-469C-BB26-F222F25AD340}"/>
                  </a:ext>
                </a:extLst>
              </p:cNvPr>
              <p:cNvCxnSpPr>
                <a:cxnSpLocks/>
              </p:cNvCxnSpPr>
              <p:nvPr/>
            </p:nvCxnSpPr>
            <p:spPr bwMode="gray">
              <a:xfrm rot="5400000">
                <a:off x="738035" y="3806877"/>
                <a:ext cx="1620000" cy="0"/>
              </a:xfrm>
              <a:prstGeom prst="line">
                <a:avLst/>
              </a:prstGeom>
              <a:noFill/>
              <a:ln w="6350" cap="flat" cmpd="sng" algn="ctr">
                <a:solidFill>
                  <a:srgbClr val="9BBB59">
                    <a:lumMod val="75000"/>
                  </a:srgbClr>
                </a:solidFill>
                <a:prstDash val="solid"/>
                <a:tailEnd type="none"/>
              </a:ln>
              <a:effectLst/>
            </p:spPr>
          </p:cxnSp>
        </p:grpSp>
      </p:grpSp>
      <p:graphicFrame>
        <p:nvGraphicFramePr>
          <p:cNvPr id="12" name="Table 11"/>
          <p:cNvGraphicFramePr>
            <a:graphicFrameLocks noGrp="1"/>
          </p:cNvGraphicFramePr>
          <p:nvPr/>
        </p:nvGraphicFramePr>
        <p:xfrm>
          <a:off x="1977090" y="3598599"/>
          <a:ext cx="9674032" cy="1504564"/>
        </p:xfrm>
        <a:graphic>
          <a:graphicData uri="http://schemas.openxmlformats.org/drawingml/2006/table">
            <a:tbl>
              <a:tblPr/>
              <a:tblGrid>
                <a:gridCol w="5185712">
                  <a:extLst>
                    <a:ext uri="{9D8B030D-6E8A-4147-A177-3AD203B41FA5}">
                      <a16:colId xmlns:a16="http://schemas.microsoft.com/office/drawing/2014/main" val="20000"/>
                    </a:ext>
                  </a:extLst>
                </a:gridCol>
                <a:gridCol w="286108">
                  <a:extLst>
                    <a:ext uri="{9D8B030D-6E8A-4147-A177-3AD203B41FA5}">
                      <a16:colId xmlns:a16="http://schemas.microsoft.com/office/drawing/2014/main" val="20001"/>
                    </a:ext>
                  </a:extLst>
                </a:gridCol>
                <a:gridCol w="286108">
                  <a:extLst>
                    <a:ext uri="{9D8B030D-6E8A-4147-A177-3AD203B41FA5}">
                      <a16:colId xmlns:a16="http://schemas.microsoft.com/office/drawing/2014/main" val="20002"/>
                    </a:ext>
                  </a:extLst>
                </a:gridCol>
                <a:gridCol w="286108">
                  <a:extLst>
                    <a:ext uri="{9D8B030D-6E8A-4147-A177-3AD203B41FA5}">
                      <a16:colId xmlns:a16="http://schemas.microsoft.com/office/drawing/2014/main" val="20003"/>
                    </a:ext>
                  </a:extLst>
                </a:gridCol>
                <a:gridCol w="286108">
                  <a:extLst>
                    <a:ext uri="{9D8B030D-6E8A-4147-A177-3AD203B41FA5}">
                      <a16:colId xmlns:a16="http://schemas.microsoft.com/office/drawing/2014/main" val="20004"/>
                    </a:ext>
                  </a:extLst>
                </a:gridCol>
                <a:gridCol w="286108">
                  <a:extLst>
                    <a:ext uri="{9D8B030D-6E8A-4147-A177-3AD203B41FA5}">
                      <a16:colId xmlns:a16="http://schemas.microsoft.com/office/drawing/2014/main" val="20005"/>
                    </a:ext>
                  </a:extLst>
                </a:gridCol>
                <a:gridCol w="286108">
                  <a:extLst>
                    <a:ext uri="{9D8B030D-6E8A-4147-A177-3AD203B41FA5}">
                      <a16:colId xmlns:a16="http://schemas.microsoft.com/office/drawing/2014/main" val="20006"/>
                    </a:ext>
                  </a:extLst>
                </a:gridCol>
                <a:gridCol w="286108">
                  <a:extLst>
                    <a:ext uri="{9D8B030D-6E8A-4147-A177-3AD203B41FA5}">
                      <a16:colId xmlns:a16="http://schemas.microsoft.com/office/drawing/2014/main" val="20007"/>
                    </a:ext>
                  </a:extLst>
                </a:gridCol>
                <a:gridCol w="286108">
                  <a:extLst>
                    <a:ext uri="{9D8B030D-6E8A-4147-A177-3AD203B41FA5}">
                      <a16:colId xmlns:a16="http://schemas.microsoft.com/office/drawing/2014/main" val="20008"/>
                    </a:ext>
                  </a:extLst>
                </a:gridCol>
                <a:gridCol w="286108">
                  <a:extLst>
                    <a:ext uri="{9D8B030D-6E8A-4147-A177-3AD203B41FA5}">
                      <a16:colId xmlns:a16="http://schemas.microsoft.com/office/drawing/2014/main" val="20009"/>
                    </a:ext>
                  </a:extLst>
                </a:gridCol>
                <a:gridCol w="286108">
                  <a:extLst>
                    <a:ext uri="{9D8B030D-6E8A-4147-A177-3AD203B41FA5}">
                      <a16:colId xmlns:a16="http://schemas.microsoft.com/office/drawing/2014/main" val="20010"/>
                    </a:ext>
                  </a:extLst>
                </a:gridCol>
                <a:gridCol w="286108">
                  <a:extLst>
                    <a:ext uri="{9D8B030D-6E8A-4147-A177-3AD203B41FA5}">
                      <a16:colId xmlns:a16="http://schemas.microsoft.com/office/drawing/2014/main" val="20011"/>
                    </a:ext>
                  </a:extLst>
                </a:gridCol>
                <a:gridCol w="286108">
                  <a:extLst>
                    <a:ext uri="{9D8B030D-6E8A-4147-A177-3AD203B41FA5}">
                      <a16:colId xmlns:a16="http://schemas.microsoft.com/office/drawing/2014/main" val="20012"/>
                    </a:ext>
                  </a:extLst>
                </a:gridCol>
                <a:gridCol w="286108">
                  <a:extLst>
                    <a:ext uri="{9D8B030D-6E8A-4147-A177-3AD203B41FA5}">
                      <a16:colId xmlns:a16="http://schemas.microsoft.com/office/drawing/2014/main" val="20013"/>
                    </a:ext>
                  </a:extLst>
                </a:gridCol>
                <a:gridCol w="250345">
                  <a:extLst>
                    <a:ext uri="{9D8B030D-6E8A-4147-A177-3AD203B41FA5}">
                      <a16:colId xmlns:a16="http://schemas.microsoft.com/office/drawing/2014/main" val="20014"/>
                    </a:ext>
                  </a:extLst>
                </a:gridCol>
                <a:gridCol w="250345">
                  <a:extLst>
                    <a:ext uri="{9D8B030D-6E8A-4147-A177-3AD203B41FA5}">
                      <a16:colId xmlns:a16="http://schemas.microsoft.com/office/drawing/2014/main" val="20015"/>
                    </a:ext>
                  </a:extLst>
                </a:gridCol>
                <a:gridCol w="268226">
                  <a:extLst>
                    <a:ext uri="{9D8B030D-6E8A-4147-A177-3AD203B41FA5}">
                      <a16:colId xmlns:a16="http://schemas.microsoft.com/office/drawing/2014/main" val="20016"/>
                    </a:ext>
                  </a:extLst>
                </a:gridCol>
              </a:tblGrid>
              <a:tr h="254335">
                <a:tc gridSpan="5">
                  <a:txBody>
                    <a:bodyPr/>
                    <a:lstStyle/>
                    <a:p>
                      <a:pPr algn="r" fontAlgn="b"/>
                      <a:r>
                        <a:rPr lang="en-US" sz="1400" b="0" i="0" u="none" strike="noStrike" dirty="0">
                          <a:solidFill>
                            <a:srgbClr val="000000"/>
                          </a:solidFill>
                          <a:effectLst/>
                          <a:latin typeface="+mj-lt"/>
                        </a:rPr>
                        <a:t>2020</a:t>
                      </a:r>
                    </a:p>
                  </a:txBody>
                  <a:tcPr marL="6350" marR="6350" marT="6350" marB="0" anchor="b">
                    <a:lnL>
                      <a:noFill/>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pPr algn="ctr"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12">
                  <a:txBody>
                    <a:bodyPr/>
                    <a:lstStyle/>
                    <a:p>
                      <a:pPr algn="ctr" fontAlgn="ctr"/>
                      <a:r>
                        <a:rPr lang="en-US" sz="1400" b="0" i="0" u="none" strike="noStrike" dirty="0">
                          <a:solidFill>
                            <a:srgbClr val="000000"/>
                          </a:solidFill>
                          <a:effectLst/>
                          <a:latin typeface="+mj-lt"/>
                        </a:rPr>
                        <a:t>2021</a:t>
                      </a:r>
                    </a:p>
                  </a:txBody>
                  <a:tcPr marL="6350" marR="6350" marT="6350" marB="0" anchor="ctr">
                    <a:lnL w="3175" cap="flat" cmpd="sng" algn="ctr">
                      <a:solidFill>
                        <a:schemeClr val="tx1"/>
                      </a:solidFill>
                      <a:prstDash val="dot"/>
                      <a:round/>
                      <a:headEnd type="none" w="med" len="med"/>
                      <a:tailEnd type="none" w="med" len="med"/>
                    </a:lnL>
                    <a:lnR>
                      <a:noFill/>
                    </a:lnR>
                    <a:lnT>
                      <a:noFill/>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28449">
                <a:tc gridSpan="2">
                  <a:txBody>
                    <a:bodyPr/>
                    <a:lstStyle/>
                    <a:p>
                      <a:pPr algn="ctr" fontAlgn="ctr"/>
                      <a:r>
                        <a:rPr lang="en-US" sz="1400" b="0" i="0" u="none" strike="noStrike" dirty="0">
                          <a:solidFill>
                            <a:srgbClr val="FFFFFF"/>
                          </a:solidFill>
                          <a:effectLst/>
                          <a:latin typeface="+mj-lt"/>
                        </a:rPr>
                        <a:t>Project Phases/ Milestones</a:t>
                      </a: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lumMod val="50000"/>
                      </a:schemeClr>
                    </a:solidFill>
                  </a:tcPr>
                </a:tc>
                <a:tc hMerge="1">
                  <a:txBody>
                    <a:bodyPr/>
                    <a:lstStyle/>
                    <a:p>
                      <a:pPr algn="ctr" fontAlgn="ctr"/>
                      <a:endParaRPr lang="en-US" sz="1400" b="0" i="0" u="none" strike="noStrike" dirty="0">
                        <a:solidFill>
                          <a:srgbClr val="FFFFFF"/>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2</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3</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4</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5</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6</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7</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8</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9</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0</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1</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ctr" fontAlgn="ctr"/>
                      <a:r>
                        <a:rPr lang="en-US" sz="1400" b="0" i="0" u="none" strike="noStrike" dirty="0">
                          <a:solidFill>
                            <a:srgbClr val="FFFFFF"/>
                          </a:solidFill>
                          <a:effectLst/>
                          <a:latin typeface="+mj-lt"/>
                        </a:rPr>
                        <a:t>12</a:t>
                      </a: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extLst>
                  <a:ext uri="{0D108BD9-81ED-4DB2-BD59-A6C34878D82A}">
                    <a16:rowId xmlns:a16="http://schemas.microsoft.com/office/drawing/2014/main" val="10001"/>
                  </a:ext>
                </a:extLst>
              </a:tr>
              <a:tr h="307260">
                <a:tc gridSpan="17">
                  <a:txBody>
                    <a:bodyPr/>
                    <a:lstStyle/>
                    <a:p>
                      <a:pPr algn="l" fontAlgn="ctr"/>
                      <a:endParaRPr lang="en-US" sz="1400" b="0" i="0" u="none" strike="noStrike" dirty="0">
                        <a:solidFill>
                          <a:srgbClr val="000000"/>
                        </a:solidFill>
                        <a:effectLst/>
                        <a:latin typeface="+mj-lt"/>
                      </a:endParaRPr>
                    </a:p>
                  </a:txBody>
                  <a:tcPr marL="6350" marR="6350" marT="6350" marB="0" anchor="ctr">
                    <a:lnL>
                      <a:noFill/>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07260">
                <a:tc>
                  <a:txBody>
                    <a:bodyPr/>
                    <a:lstStyle/>
                    <a:p>
                      <a:pPr algn="l" fontAlgn="ctr"/>
                      <a:r>
                        <a:rPr lang="en-US" sz="1400" b="0" i="0" u="none" strike="noStrike" dirty="0">
                          <a:solidFill>
                            <a:srgbClr val="000000"/>
                          </a:solidFill>
                          <a:effectLst/>
                          <a:latin typeface="+mj-lt"/>
                        </a:rPr>
                        <a:t>1.</a:t>
                      </a:r>
                      <a:r>
                        <a:rPr lang="ru-RU" sz="1400" b="0" i="0" u="none" strike="noStrike" dirty="0">
                          <a:solidFill>
                            <a:srgbClr val="000000"/>
                          </a:solidFill>
                          <a:effectLst/>
                          <a:latin typeface="+mj-lt"/>
                        </a:rPr>
                        <a:t>1</a:t>
                      </a:r>
                      <a:r>
                        <a:rPr lang="en-US" sz="1400" b="0" i="0" u="none" strike="noStrike" dirty="0">
                          <a:solidFill>
                            <a:srgbClr val="000000"/>
                          </a:solidFill>
                          <a:effectLst/>
                          <a:latin typeface="+mj-lt"/>
                        </a:rPr>
                        <a:t> Organizational</a:t>
                      </a:r>
                      <a:r>
                        <a:rPr lang="en-US" sz="1400" b="0" i="0" u="none" strike="noStrike" baseline="0" dirty="0">
                          <a:solidFill>
                            <a:srgbClr val="000000"/>
                          </a:solidFill>
                          <a:effectLst/>
                          <a:latin typeface="+mj-lt"/>
                        </a:rPr>
                        <a:t> structure review and recommendations for TOM</a:t>
                      </a:r>
                      <a:endParaRPr lang="en-US" sz="1400" b="0" i="0" u="none" strike="noStrike" dirty="0">
                        <a:solidFill>
                          <a:srgbClr val="000000"/>
                        </a:solidFill>
                        <a:effectLst/>
                        <a:latin typeface="+mj-lt"/>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bg1"/>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tc>
                  <a:txBody>
                    <a:bodyPr/>
                    <a:lstStyle/>
                    <a:p>
                      <a:pPr algn="l" fontAlgn="ctr"/>
                      <a:endParaRPr lang="en-US" sz="1400" b="0" i="0" u="none" strike="noStrike">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307260">
                <a:tc>
                  <a:txBody>
                    <a:bodyPr/>
                    <a:lstStyle/>
                    <a:p>
                      <a:pPr algn="l" fontAlgn="ctr"/>
                      <a:r>
                        <a:rPr lang="ru-RU" sz="1400" b="0" i="0" u="none" strike="noStrike" dirty="0">
                          <a:solidFill>
                            <a:srgbClr val="000000"/>
                          </a:solidFill>
                          <a:effectLst/>
                          <a:latin typeface="+mj-lt"/>
                        </a:rPr>
                        <a:t>1</a:t>
                      </a:r>
                      <a:r>
                        <a:rPr lang="en-US" sz="1400" b="0" i="0" u="none" strike="noStrike" dirty="0">
                          <a:solidFill>
                            <a:srgbClr val="000000"/>
                          </a:solidFill>
                          <a:effectLst/>
                          <a:latin typeface="+mj-lt"/>
                        </a:rPr>
                        <a:t>.</a:t>
                      </a:r>
                      <a:r>
                        <a:rPr lang="ru-RU" sz="1400" b="0" i="0" u="none" strike="noStrike" dirty="0">
                          <a:solidFill>
                            <a:srgbClr val="000000"/>
                          </a:solidFill>
                          <a:effectLst/>
                          <a:latin typeface="+mj-lt"/>
                        </a:rPr>
                        <a:t>2</a:t>
                      </a:r>
                      <a:r>
                        <a:rPr lang="en-US" sz="1400" b="0" i="0" u="none" strike="noStrike" dirty="0">
                          <a:solidFill>
                            <a:srgbClr val="000000"/>
                          </a:solidFill>
                          <a:effectLst/>
                          <a:latin typeface="+mj-lt"/>
                        </a:rPr>
                        <a:t> </a:t>
                      </a:r>
                      <a:r>
                        <a:rPr lang="en-US" sz="1400" b="0" i="0" u="none" strike="noStrike" dirty="0" err="1">
                          <a:solidFill>
                            <a:srgbClr val="000000"/>
                          </a:solidFill>
                          <a:effectLst/>
                          <a:latin typeface="+mj-lt"/>
                        </a:rPr>
                        <a:t>UniCapital</a:t>
                      </a:r>
                      <a:r>
                        <a:rPr lang="en-US" sz="1400" b="0" i="0" u="none" strike="noStrike" baseline="0" dirty="0">
                          <a:solidFill>
                            <a:srgbClr val="000000"/>
                          </a:solidFill>
                          <a:effectLst/>
                          <a:latin typeface="+mj-lt"/>
                        </a:rPr>
                        <a:t> sub module (structure, framework, processes)</a:t>
                      </a:r>
                      <a:endParaRPr lang="en-US" sz="1400" b="0" i="0" u="none" strike="noStrike" dirty="0">
                        <a:solidFill>
                          <a:srgbClr val="000000"/>
                        </a:solidFill>
                        <a:effectLst/>
                        <a:latin typeface="+mj-lt"/>
                      </a:endParaRPr>
                    </a:p>
                  </a:txBody>
                  <a:tcPr marL="6350" marR="6350" marT="6350" marB="0" anchor="ctr">
                    <a:lnL>
                      <a:noFill/>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r>
                        <a:rPr lang="en-US" sz="1400" b="0" i="0" u="none" strike="noStrike" dirty="0">
                          <a:solidFill>
                            <a:srgbClr val="FF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r>
                        <a:rPr lang="en-US" sz="1400" b="0" i="0" u="none" strike="noStrike" dirty="0">
                          <a:solidFill>
                            <a:srgbClr val="000000"/>
                          </a:solidFill>
                          <a:effectLst/>
                          <a:latin typeface="+mj-lt"/>
                        </a:rPr>
                        <a:t> </a:t>
                      </a: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solidFill>
                      <a:schemeClr val="accent6"/>
                    </a:solid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w="3175" cap="flat" cmpd="sng" algn="ctr">
                      <a:solidFill>
                        <a:schemeClr val="tx1"/>
                      </a:solidFill>
                      <a:prstDash val="dot"/>
                      <a:round/>
                      <a:headEnd type="none" w="med" len="med"/>
                      <a:tailEnd type="none" w="med" len="med"/>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tc>
                  <a:txBody>
                    <a:bodyPr/>
                    <a:lstStyle/>
                    <a:p>
                      <a:pPr algn="l" fontAlgn="ctr"/>
                      <a:endParaRPr lang="en-US" sz="1400" b="0" i="0" u="none" strike="noStrike" dirty="0">
                        <a:solidFill>
                          <a:srgbClr val="000000"/>
                        </a:solidFill>
                        <a:effectLst/>
                        <a:latin typeface="+mj-lt"/>
                      </a:endParaRPr>
                    </a:p>
                  </a:txBody>
                  <a:tcPr marL="6350" marR="6350" marT="6350" marB="0" anchor="ctr">
                    <a:lnL w="3175" cap="flat" cmpd="sng" algn="ctr">
                      <a:solidFill>
                        <a:schemeClr val="tx1"/>
                      </a:solidFill>
                      <a:prstDash val="dot"/>
                      <a:round/>
                      <a:headEnd type="none" w="med" len="med"/>
                      <a:tailEnd type="none" w="med" len="med"/>
                    </a:lnL>
                    <a:lnR>
                      <a:noFill/>
                    </a:lnR>
                    <a:lnT w="3175" cap="flat" cmpd="sng" algn="ctr">
                      <a:solidFill>
                        <a:schemeClr val="tx1"/>
                      </a:solidFill>
                      <a:prstDash val="dot"/>
                      <a:round/>
                      <a:headEnd type="none" w="med" len="med"/>
                      <a:tailEnd type="none" w="med" len="med"/>
                    </a:lnT>
                    <a:lnB w="3175" cap="flat" cmpd="sng" algn="ctr">
                      <a:solidFill>
                        <a:schemeClr val="tx1"/>
                      </a:solidFill>
                      <a:prstDash val="dot"/>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 name="Isosceles Triangle 1"/>
          <p:cNvSpPr/>
          <p:nvPr/>
        </p:nvSpPr>
        <p:spPr>
          <a:xfrm>
            <a:off x="8055864" y="4557913"/>
            <a:ext cx="216000" cy="180000"/>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Isosceles Triangle 23"/>
          <p:cNvSpPr/>
          <p:nvPr/>
        </p:nvSpPr>
        <p:spPr>
          <a:xfrm>
            <a:off x="1946747" y="5206923"/>
            <a:ext cx="180000" cy="144000"/>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ectangle 2"/>
          <p:cNvSpPr/>
          <p:nvPr/>
        </p:nvSpPr>
        <p:spPr>
          <a:xfrm>
            <a:off x="2118754" y="5196370"/>
            <a:ext cx="5891389" cy="200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mj-lt"/>
              </a:rPr>
              <a:t>scope of the 2</a:t>
            </a:r>
            <a:r>
              <a:rPr lang="en-US" sz="1000" baseline="30000" dirty="0">
                <a:solidFill>
                  <a:schemeClr val="tx1"/>
                </a:solidFill>
                <a:latin typeface="+mj-lt"/>
              </a:rPr>
              <a:t>nd</a:t>
            </a:r>
            <a:r>
              <a:rPr lang="en-US" sz="1000" dirty="0">
                <a:solidFill>
                  <a:schemeClr val="tx1"/>
                </a:solidFill>
                <a:latin typeface="+mj-lt"/>
              </a:rPr>
              <a:t> phase </a:t>
            </a:r>
            <a:r>
              <a:rPr lang="ru-RU" sz="1000" dirty="0">
                <a:solidFill>
                  <a:schemeClr val="tx1"/>
                </a:solidFill>
                <a:latin typeface="+mj-lt"/>
              </a:rPr>
              <a:t>(</a:t>
            </a:r>
            <a:r>
              <a:rPr lang="en-US" sz="1000" dirty="0" err="1">
                <a:solidFill>
                  <a:schemeClr val="tx1"/>
                </a:solidFill>
                <a:latin typeface="+mj-lt"/>
              </a:rPr>
              <a:t>UniBank</a:t>
            </a:r>
            <a:r>
              <a:rPr lang="en-US" sz="1000" dirty="0">
                <a:solidFill>
                  <a:schemeClr val="tx1"/>
                </a:solidFill>
                <a:latin typeface="+mj-lt"/>
              </a:rPr>
              <a:t>) and all further steps will be defined upon the completion of the 1</a:t>
            </a:r>
            <a:r>
              <a:rPr lang="en-US" sz="1000" baseline="30000" dirty="0">
                <a:solidFill>
                  <a:schemeClr val="tx1"/>
                </a:solidFill>
                <a:latin typeface="+mj-lt"/>
              </a:rPr>
              <a:t>st</a:t>
            </a:r>
            <a:r>
              <a:rPr lang="en-US" sz="1000" dirty="0">
                <a:solidFill>
                  <a:schemeClr val="tx1"/>
                </a:solidFill>
                <a:latin typeface="+mj-lt"/>
              </a:rPr>
              <a:t> phase</a:t>
            </a:r>
          </a:p>
        </p:txBody>
      </p:sp>
    </p:spTree>
    <p:extLst>
      <p:ext uri="{BB962C8B-B14F-4D97-AF65-F5344CB8AC3E}">
        <p14:creationId xmlns:p14="http://schemas.microsoft.com/office/powerpoint/2010/main" val="1379705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309146" y="99581"/>
            <a:ext cx="10515600" cy="1325563"/>
          </a:xfrm>
        </p:spPr>
        <p:txBody>
          <a:bodyPr/>
          <a:lstStyle/>
          <a:p>
            <a:r>
              <a:rPr lang="en-US" sz="3600" dirty="0">
                <a:latin typeface="Arial" panose="020B0604020202020204" pitchFamily="34" charset="0"/>
                <a:cs typeface="Arial" panose="020B0604020202020204" pitchFamily="34" charset="0"/>
              </a:rPr>
              <a:t>Prioritization Approach</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Strategic Projects</a:t>
            </a:r>
            <a:endParaRPr lang="ru-AZ" dirty="0">
              <a:latin typeface="Arial" panose="020B0604020202020204" pitchFamily="34" charset="0"/>
              <a:cs typeface="Arial" panose="020B0604020202020204" pitchFamily="34" charset="0"/>
            </a:endParaRPr>
          </a:p>
        </p:txBody>
      </p:sp>
      <p:pic>
        <p:nvPicPr>
          <p:cNvPr id="218" name="Picture 330">
            <a:extLst>
              <a:ext uri="{FF2B5EF4-FFF2-40B4-BE49-F238E27FC236}">
                <a16:creationId xmlns:a16="http://schemas.microsoft.com/office/drawing/2014/main" id="{097C527A-B58D-D740-A5E3-26BA0AF46A54}"/>
              </a:ext>
            </a:extLst>
          </p:cNvPr>
          <p:cNvPicPr>
            <a:picLocks noChangeAspect="1"/>
          </p:cNvPicPr>
          <p:nvPr/>
        </p:nvPicPr>
        <p:blipFill>
          <a:blip r:embed="rId3"/>
          <a:stretch>
            <a:fillRect/>
          </a:stretch>
        </p:blipFill>
        <p:spPr>
          <a:xfrm flipH="1">
            <a:off x="7134634" y="1784758"/>
            <a:ext cx="4677004" cy="3727028"/>
          </a:xfrm>
          <a:prstGeom prst="rect">
            <a:avLst/>
          </a:prstGeom>
        </p:spPr>
      </p:pic>
      <p:sp>
        <p:nvSpPr>
          <p:cNvPr id="219" name="Freeform 5">
            <a:extLst>
              <a:ext uri="{FF2B5EF4-FFF2-40B4-BE49-F238E27FC236}">
                <a16:creationId xmlns:a16="http://schemas.microsoft.com/office/drawing/2014/main" id="{DE2E9F50-6797-3048-9ACA-FEA9CFD895D0}"/>
              </a:ext>
            </a:extLst>
          </p:cNvPr>
          <p:cNvSpPr/>
          <p:nvPr/>
        </p:nvSpPr>
        <p:spPr>
          <a:xfrm>
            <a:off x="2141027" y="1712114"/>
            <a:ext cx="2237232" cy="3765874"/>
          </a:xfrm>
          <a:custGeom>
            <a:avLst/>
            <a:gdLst>
              <a:gd name="connsiteX0" fmla="*/ 0 w 2237232"/>
              <a:gd name="connsiteY0" fmla="*/ 0 h 3858768"/>
              <a:gd name="connsiteX1" fmla="*/ 2237232 w 2237232"/>
              <a:gd name="connsiteY1" fmla="*/ 877824 h 3858768"/>
              <a:gd name="connsiteX2" fmla="*/ 2212848 w 2237232"/>
              <a:gd name="connsiteY2" fmla="*/ 2993136 h 3858768"/>
              <a:gd name="connsiteX3" fmla="*/ 42672 w 2237232"/>
              <a:gd name="connsiteY3" fmla="*/ 3858768 h 3858768"/>
              <a:gd name="connsiteX4" fmla="*/ 0 w 2237232"/>
              <a:gd name="connsiteY4" fmla="*/ 0 h 3858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232" h="3858768">
                <a:moveTo>
                  <a:pt x="0" y="0"/>
                </a:moveTo>
                <a:lnTo>
                  <a:pt x="2237232" y="877824"/>
                </a:lnTo>
                <a:lnTo>
                  <a:pt x="2212848" y="2993136"/>
                </a:lnTo>
                <a:lnTo>
                  <a:pt x="42672" y="3858768"/>
                </a:lnTo>
                <a:lnTo>
                  <a:pt x="0" y="0"/>
                </a:lnTo>
                <a:close/>
              </a:path>
            </a:pathLst>
          </a:custGeom>
          <a:gradFill flip="none" rotWithShape="1">
            <a:gsLst>
              <a:gs pos="100000">
                <a:srgbClr val="FFF5D9">
                  <a:alpha val="0"/>
                </a:srgbClr>
              </a:gs>
              <a:gs pos="33000">
                <a:srgbClr val="FFC000">
                  <a:lumMod val="20000"/>
                  <a:lumOff val="80000"/>
                </a:srgbClr>
              </a:gs>
              <a:gs pos="0">
                <a:srgbClr val="FFC000">
                  <a:lumMod val="20000"/>
                  <a:lumOff val="80000"/>
                </a:srgbClr>
              </a:gs>
            </a:gsLst>
            <a:lin ang="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aphicFrame>
        <p:nvGraphicFramePr>
          <p:cNvPr id="220" name="Table 332">
            <a:extLst>
              <a:ext uri="{FF2B5EF4-FFF2-40B4-BE49-F238E27FC236}">
                <a16:creationId xmlns:a16="http://schemas.microsoft.com/office/drawing/2014/main" id="{AE1BB52B-E1B2-974C-BE90-7B9960B19FE3}"/>
              </a:ext>
            </a:extLst>
          </p:cNvPr>
          <p:cNvGraphicFramePr>
            <a:graphicFrameLocks noGrp="1"/>
          </p:cNvGraphicFramePr>
          <p:nvPr/>
        </p:nvGraphicFramePr>
        <p:xfrm>
          <a:off x="2856975" y="2243058"/>
          <a:ext cx="4308338" cy="2278803"/>
        </p:xfrm>
        <a:graphic>
          <a:graphicData uri="http://schemas.openxmlformats.org/drawingml/2006/table">
            <a:tbl>
              <a:tblPr/>
              <a:tblGrid>
                <a:gridCol w="607779">
                  <a:extLst>
                    <a:ext uri="{9D8B030D-6E8A-4147-A177-3AD203B41FA5}">
                      <a16:colId xmlns:a16="http://schemas.microsoft.com/office/drawing/2014/main" val="20000"/>
                    </a:ext>
                  </a:extLst>
                </a:gridCol>
                <a:gridCol w="929280">
                  <a:extLst>
                    <a:ext uri="{9D8B030D-6E8A-4147-A177-3AD203B41FA5}">
                      <a16:colId xmlns:a16="http://schemas.microsoft.com/office/drawing/2014/main" val="20001"/>
                    </a:ext>
                  </a:extLst>
                </a:gridCol>
                <a:gridCol w="929280">
                  <a:extLst>
                    <a:ext uri="{9D8B030D-6E8A-4147-A177-3AD203B41FA5}">
                      <a16:colId xmlns:a16="http://schemas.microsoft.com/office/drawing/2014/main" val="20002"/>
                    </a:ext>
                  </a:extLst>
                </a:gridCol>
                <a:gridCol w="929280">
                  <a:extLst>
                    <a:ext uri="{9D8B030D-6E8A-4147-A177-3AD203B41FA5}">
                      <a16:colId xmlns:a16="http://schemas.microsoft.com/office/drawing/2014/main" val="20003"/>
                    </a:ext>
                  </a:extLst>
                </a:gridCol>
                <a:gridCol w="912719">
                  <a:extLst>
                    <a:ext uri="{9D8B030D-6E8A-4147-A177-3AD203B41FA5}">
                      <a16:colId xmlns:a16="http://schemas.microsoft.com/office/drawing/2014/main" val="20004"/>
                    </a:ext>
                  </a:extLst>
                </a:gridCol>
              </a:tblGrid>
              <a:tr h="3980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r"/>
                      <a:endParaRPr lang="en-US" sz="800" i="1" dirty="0">
                        <a:solidFill>
                          <a:schemeClr val="bg1"/>
                        </a:solidFill>
                        <a:latin typeface="EYInterstate Light" panose="02000506000000020004" pitchFamily="2"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baseline="0" dirty="0">
                          <a:solidFill>
                            <a:srgbClr val="C00000"/>
                          </a:solidFill>
                          <a:latin typeface="EYInterstate Light" panose="02000506000000020004" pitchFamily="2" charset="0"/>
                        </a:rPr>
                        <a:t>Small</a:t>
                      </a:r>
                      <a:endParaRPr lang="en-US" sz="1050" dirty="0">
                        <a:solidFill>
                          <a:srgbClr val="C00000"/>
                        </a:solidFill>
                        <a:latin typeface="EYInterstate Light" panose="02000506000000020004" pitchFamily="2"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baseline="0" dirty="0">
                          <a:solidFill>
                            <a:srgbClr val="C00000"/>
                          </a:solidFill>
                          <a:latin typeface="EYInterstate Light" panose="02000506000000020004" pitchFamily="2" charset="0"/>
                        </a:rPr>
                        <a:t>Medium</a:t>
                      </a:r>
                      <a:endParaRPr lang="en-US" sz="1050" dirty="0">
                        <a:solidFill>
                          <a:srgbClr val="C00000"/>
                        </a:solidFill>
                        <a:latin typeface="EYInterstate Light" panose="02000506000000020004" pitchFamily="2"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dirty="0">
                          <a:solidFill>
                            <a:srgbClr val="C00000"/>
                          </a:solidFill>
                          <a:latin typeface="EYInterstate Light" panose="02000506000000020004" pitchFamily="2" charset="0"/>
                        </a:rPr>
                        <a:t>Larg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16180" rtl="0" eaLnBrk="1" latinLnBrk="0" hangingPunct="1">
                        <a:defRPr sz="1600" kern="1200">
                          <a:solidFill>
                            <a:schemeClr val="tx1"/>
                          </a:solidFill>
                          <a:latin typeface="Calibri"/>
                        </a:defRPr>
                      </a:lvl1pPr>
                      <a:lvl2pPr marL="408090" algn="l" defTabSz="816180" rtl="0" eaLnBrk="1" latinLnBrk="0" hangingPunct="1">
                        <a:defRPr sz="1600" kern="1200">
                          <a:solidFill>
                            <a:schemeClr val="tx1"/>
                          </a:solidFill>
                          <a:latin typeface="Calibri"/>
                        </a:defRPr>
                      </a:lvl2pPr>
                      <a:lvl3pPr marL="816180" algn="l" defTabSz="816180" rtl="0" eaLnBrk="1" latinLnBrk="0" hangingPunct="1">
                        <a:defRPr sz="1600" kern="1200">
                          <a:solidFill>
                            <a:schemeClr val="tx1"/>
                          </a:solidFill>
                          <a:latin typeface="Calibri"/>
                        </a:defRPr>
                      </a:lvl3pPr>
                      <a:lvl4pPr marL="1224271" algn="l" defTabSz="816180" rtl="0" eaLnBrk="1" latinLnBrk="0" hangingPunct="1">
                        <a:defRPr sz="1600" kern="1200">
                          <a:solidFill>
                            <a:schemeClr val="tx1"/>
                          </a:solidFill>
                          <a:latin typeface="Calibri"/>
                        </a:defRPr>
                      </a:lvl4pPr>
                      <a:lvl5pPr marL="1632362" algn="l" defTabSz="816180" rtl="0" eaLnBrk="1" latinLnBrk="0" hangingPunct="1">
                        <a:defRPr sz="1600" kern="1200">
                          <a:solidFill>
                            <a:schemeClr val="tx1"/>
                          </a:solidFill>
                          <a:latin typeface="Calibri"/>
                        </a:defRPr>
                      </a:lvl5pPr>
                      <a:lvl6pPr marL="2040452" algn="l" defTabSz="816180" rtl="0" eaLnBrk="1" latinLnBrk="0" hangingPunct="1">
                        <a:defRPr sz="1600" kern="1200">
                          <a:solidFill>
                            <a:schemeClr val="tx1"/>
                          </a:solidFill>
                          <a:latin typeface="Calibri"/>
                        </a:defRPr>
                      </a:lvl6pPr>
                      <a:lvl7pPr marL="2448542" algn="l" defTabSz="816180" rtl="0" eaLnBrk="1" latinLnBrk="0" hangingPunct="1">
                        <a:defRPr sz="1600" kern="1200">
                          <a:solidFill>
                            <a:schemeClr val="tx1"/>
                          </a:solidFill>
                          <a:latin typeface="Calibri"/>
                        </a:defRPr>
                      </a:lvl7pPr>
                      <a:lvl8pPr marL="2856632" algn="l" defTabSz="816180" rtl="0" eaLnBrk="1" latinLnBrk="0" hangingPunct="1">
                        <a:defRPr sz="1600" kern="1200">
                          <a:solidFill>
                            <a:schemeClr val="tx1"/>
                          </a:solidFill>
                          <a:latin typeface="Calibri"/>
                        </a:defRPr>
                      </a:lvl8pPr>
                      <a:lvl9pPr marL="3264723" algn="l" defTabSz="816180" rtl="0" eaLnBrk="1" latinLnBrk="0" hangingPunct="1">
                        <a:defRPr sz="1600" kern="1200">
                          <a:solidFill>
                            <a:schemeClr val="tx1"/>
                          </a:solidFill>
                          <a:latin typeface="Calibri"/>
                        </a:defRPr>
                      </a:lvl9pPr>
                    </a:lstStyle>
                    <a:p>
                      <a:pPr algn="ctr"/>
                      <a:r>
                        <a:rPr lang="en-US" sz="1050" dirty="0">
                          <a:solidFill>
                            <a:srgbClr val="C00000"/>
                          </a:solidFill>
                          <a:latin typeface="EYInterstate Light" panose="02000506000000020004" pitchFamily="2" charset="0"/>
                        </a:rPr>
                        <a:t>Extra</a:t>
                      </a:r>
                      <a:r>
                        <a:rPr lang="en-US" sz="1050" baseline="0" dirty="0">
                          <a:solidFill>
                            <a:srgbClr val="C00000"/>
                          </a:solidFill>
                          <a:latin typeface="EYInterstate Light" panose="02000506000000020004" pitchFamily="2" charset="0"/>
                        </a:rPr>
                        <a:t> Large</a:t>
                      </a:r>
                      <a:endParaRPr lang="en-US" sz="1050" dirty="0">
                        <a:solidFill>
                          <a:srgbClr val="C00000"/>
                        </a:solidFill>
                        <a:latin typeface="EYInterstate Light" panose="02000506000000020004" pitchFamily="2"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693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dirty="0">
                          <a:solidFill>
                            <a:srgbClr val="C00000"/>
                          </a:solidFill>
                          <a:latin typeface="EYInterstate Light" panose="02000506000000020004" pitchFamily="2" charset="0"/>
                        </a:rPr>
                        <a:t>High</a:t>
                      </a:r>
                    </a:p>
                  </a:txBody>
                  <a:tcPr marL="45720" marR="45720" anchor="ctr">
                    <a:lnL w="12700" cap="flat" cmpd="sng" algn="ctr">
                      <a:no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bg1"/>
                          </a:solidFill>
                          <a:latin typeface="EYInterstate Light" panose="02000506000000020004" pitchFamily="2" charset="0"/>
                        </a:rPr>
                        <a:t>High</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bg1"/>
                          </a:solidFill>
                          <a:latin typeface="EYInterstate Light" panose="02000506000000020004" pitchFamily="2" charset="0"/>
                        </a:rPr>
                        <a:t>High</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tx2"/>
                          </a:solidFill>
                          <a:latin typeface="EYInterstate Light" panose="02000506000000020004" pitchFamily="2" charset="0"/>
                        </a:rPr>
                        <a:t>Medium</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solidFill>
                  </a:tcPr>
                </a:tc>
                <a:tc>
                  <a:txBody>
                    <a:bodyPr/>
                    <a:lstStyle>
                      <a:lvl1pPr marL="0" algn="l" defTabSz="816180" rtl="0" eaLnBrk="1" latinLnBrk="0" hangingPunct="1">
                        <a:defRPr sz="1600" kern="1200">
                          <a:solidFill>
                            <a:schemeClr val="tx1"/>
                          </a:solidFill>
                          <a:latin typeface="Calibri"/>
                        </a:defRPr>
                      </a:lvl1pPr>
                      <a:lvl2pPr marL="408090" algn="l" defTabSz="816180" rtl="0" eaLnBrk="1" latinLnBrk="0" hangingPunct="1">
                        <a:defRPr sz="1600" kern="1200">
                          <a:solidFill>
                            <a:schemeClr val="tx1"/>
                          </a:solidFill>
                          <a:latin typeface="Calibri"/>
                        </a:defRPr>
                      </a:lvl2pPr>
                      <a:lvl3pPr marL="816180" algn="l" defTabSz="816180" rtl="0" eaLnBrk="1" latinLnBrk="0" hangingPunct="1">
                        <a:defRPr sz="1600" kern="1200">
                          <a:solidFill>
                            <a:schemeClr val="tx1"/>
                          </a:solidFill>
                          <a:latin typeface="Calibri"/>
                        </a:defRPr>
                      </a:lvl3pPr>
                      <a:lvl4pPr marL="1224271" algn="l" defTabSz="816180" rtl="0" eaLnBrk="1" latinLnBrk="0" hangingPunct="1">
                        <a:defRPr sz="1600" kern="1200">
                          <a:solidFill>
                            <a:schemeClr val="tx1"/>
                          </a:solidFill>
                          <a:latin typeface="Calibri"/>
                        </a:defRPr>
                      </a:lvl4pPr>
                      <a:lvl5pPr marL="1632362" algn="l" defTabSz="816180" rtl="0" eaLnBrk="1" latinLnBrk="0" hangingPunct="1">
                        <a:defRPr sz="1600" kern="1200">
                          <a:solidFill>
                            <a:schemeClr val="tx1"/>
                          </a:solidFill>
                          <a:latin typeface="Calibri"/>
                        </a:defRPr>
                      </a:lvl5pPr>
                      <a:lvl6pPr marL="2040452" algn="l" defTabSz="816180" rtl="0" eaLnBrk="1" latinLnBrk="0" hangingPunct="1">
                        <a:defRPr sz="1600" kern="1200">
                          <a:solidFill>
                            <a:schemeClr val="tx1"/>
                          </a:solidFill>
                          <a:latin typeface="Calibri"/>
                        </a:defRPr>
                      </a:lvl6pPr>
                      <a:lvl7pPr marL="2448542" algn="l" defTabSz="816180" rtl="0" eaLnBrk="1" latinLnBrk="0" hangingPunct="1">
                        <a:defRPr sz="1600" kern="1200">
                          <a:solidFill>
                            <a:schemeClr val="tx1"/>
                          </a:solidFill>
                          <a:latin typeface="Calibri"/>
                        </a:defRPr>
                      </a:lvl7pPr>
                      <a:lvl8pPr marL="2856632" algn="l" defTabSz="816180" rtl="0" eaLnBrk="1" latinLnBrk="0" hangingPunct="1">
                        <a:defRPr sz="1600" kern="1200">
                          <a:solidFill>
                            <a:schemeClr val="tx1"/>
                          </a:solidFill>
                          <a:latin typeface="Calibri"/>
                        </a:defRPr>
                      </a:lvl8pPr>
                      <a:lvl9pPr marL="3264723" algn="l" defTabSz="816180" rtl="0" eaLnBrk="1" latinLnBrk="0" hangingPunct="1">
                        <a:defRPr sz="1600" kern="1200">
                          <a:solidFill>
                            <a:schemeClr val="tx1"/>
                          </a:solidFill>
                          <a:latin typeface="Calibri"/>
                        </a:defRPr>
                      </a:lvl9pPr>
                    </a:lstStyle>
                    <a:p>
                      <a:pPr algn="ctr"/>
                      <a:r>
                        <a:rPr lang="en-US" sz="1000" b="1" dirty="0">
                          <a:solidFill>
                            <a:schemeClr val="tx2"/>
                          </a:solidFill>
                          <a:latin typeface="EYInterstate Light" panose="02000506000000020004" pitchFamily="2" charset="0"/>
                        </a:rPr>
                        <a:t>Medium</a:t>
                      </a:r>
                    </a:p>
                  </a:txBody>
                  <a:tcPr anchor="ctr">
                    <a:lnL w="190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solidFill>
                  </a:tcPr>
                </a:tc>
                <a:extLst>
                  <a:ext uri="{0D108BD9-81ED-4DB2-BD59-A6C34878D82A}">
                    <a16:rowId xmlns:a16="http://schemas.microsoft.com/office/drawing/2014/main" val="10001"/>
                  </a:ext>
                </a:extLst>
              </a:tr>
              <a:tr h="62693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dirty="0">
                          <a:solidFill>
                            <a:srgbClr val="C00000"/>
                          </a:solidFill>
                          <a:latin typeface="EYInterstate Light" panose="02000506000000020004" pitchFamily="2" charset="0"/>
                        </a:rPr>
                        <a:t>Medium</a:t>
                      </a:r>
                    </a:p>
                  </a:txBody>
                  <a:tcPr marL="45720" marR="45720" anchor="ctr">
                    <a:lnL w="12700" cap="flat" cmpd="sng" algn="ctr">
                      <a:no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tx2"/>
                          </a:solidFill>
                          <a:latin typeface="EYInterstate Light" panose="02000506000000020004" pitchFamily="2" charset="0"/>
                        </a:rPr>
                        <a:t>Medium</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tx2"/>
                          </a:solidFill>
                          <a:latin typeface="EYInterstate Light" panose="02000506000000020004" pitchFamily="2" charset="0"/>
                        </a:rPr>
                        <a:t>Medium</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9999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bg1"/>
                          </a:solidFill>
                          <a:latin typeface="EYInterstate Light" panose="02000506000000020004" pitchFamily="2" charset="0"/>
                        </a:rPr>
                        <a:t>Low</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816180" rtl="0" eaLnBrk="1" latinLnBrk="0" hangingPunct="1">
                        <a:defRPr sz="1600" kern="1200">
                          <a:solidFill>
                            <a:schemeClr val="tx1"/>
                          </a:solidFill>
                          <a:latin typeface="Calibri"/>
                        </a:defRPr>
                      </a:lvl1pPr>
                      <a:lvl2pPr marL="408090" algn="l" defTabSz="816180" rtl="0" eaLnBrk="1" latinLnBrk="0" hangingPunct="1">
                        <a:defRPr sz="1600" kern="1200">
                          <a:solidFill>
                            <a:schemeClr val="tx1"/>
                          </a:solidFill>
                          <a:latin typeface="Calibri"/>
                        </a:defRPr>
                      </a:lvl2pPr>
                      <a:lvl3pPr marL="816180" algn="l" defTabSz="816180" rtl="0" eaLnBrk="1" latinLnBrk="0" hangingPunct="1">
                        <a:defRPr sz="1600" kern="1200">
                          <a:solidFill>
                            <a:schemeClr val="tx1"/>
                          </a:solidFill>
                          <a:latin typeface="Calibri"/>
                        </a:defRPr>
                      </a:lvl3pPr>
                      <a:lvl4pPr marL="1224271" algn="l" defTabSz="816180" rtl="0" eaLnBrk="1" latinLnBrk="0" hangingPunct="1">
                        <a:defRPr sz="1600" kern="1200">
                          <a:solidFill>
                            <a:schemeClr val="tx1"/>
                          </a:solidFill>
                          <a:latin typeface="Calibri"/>
                        </a:defRPr>
                      </a:lvl4pPr>
                      <a:lvl5pPr marL="1632362" algn="l" defTabSz="816180" rtl="0" eaLnBrk="1" latinLnBrk="0" hangingPunct="1">
                        <a:defRPr sz="1600" kern="1200">
                          <a:solidFill>
                            <a:schemeClr val="tx1"/>
                          </a:solidFill>
                          <a:latin typeface="Calibri"/>
                        </a:defRPr>
                      </a:lvl5pPr>
                      <a:lvl6pPr marL="2040452" algn="l" defTabSz="816180" rtl="0" eaLnBrk="1" latinLnBrk="0" hangingPunct="1">
                        <a:defRPr sz="1600" kern="1200">
                          <a:solidFill>
                            <a:schemeClr val="tx1"/>
                          </a:solidFill>
                          <a:latin typeface="Calibri"/>
                        </a:defRPr>
                      </a:lvl6pPr>
                      <a:lvl7pPr marL="2448542" algn="l" defTabSz="816180" rtl="0" eaLnBrk="1" latinLnBrk="0" hangingPunct="1">
                        <a:defRPr sz="1600" kern="1200">
                          <a:solidFill>
                            <a:schemeClr val="tx1"/>
                          </a:solidFill>
                          <a:latin typeface="Calibri"/>
                        </a:defRPr>
                      </a:lvl7pPr>
                      <a:lvl8pPr marL="2856632" algn="l" defTabSz="816180" rtl="0" eaLnBrk="1" latinLnBrk="0" hangingPunct="1">
                        <a:defRPr sz="1600" kern="1200">
                          <a:solidFill>
                            <a:schemeClr val="tx1"/>
                          </a:solidFill>
                          <a:latin typeface="Calibri"/>
                        </a:defRPr>
                      </a:lvl8pPr>
                      <a:lvl9pPr marL="3264723" algn="l" defTabSz="816180" rtl="0" eaLnBrk="1" latinLnBrk="0" hangingPunct="1">
                        <a:defRPr sz="1600" kern="1200">
                          <a:solidFill>
                            <a:schemeClr val="tx1"/>
                          </a:solidFill>
                          <a:latin typeface="Calibri"/>
                        </a:defRPr>
                      </a:lvl9pPr>
                    </a:lstStyle>
                    <a:p>
                      <a:pPr algn="ctr"/>
                      <a:r>
                        <a:rPr lang="en-US" sz="1000" b="1" dirty="0">
                          <a:solidFill>
                            <a:schemeClr val="bg1"/>
                          </a:solidFill>
                          <a:latin typeface="EYInterstate Light" panose="02000506000000020004" pitchFamily="2" charset="0"/>
                        </a:rPr>
                        <a:t>Low</a:t>
                      </a:r>
                    </a:p>
                  </a:txBody>
                  <a:tcPr anchor="ctr">
                    <a:lnL w="190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extLst>
                  <a:ext uri="{0D108BD9-81ED-4DB2-BD59-A6C34878D82A}">
                    <a16:rowId xmlns:a16="http://schemas.microsoft.com/office/drawing/2014/main" val="10002"/>
                  </a:ext>
                </a:extLst>
              </a:tr>
              <a:tr h="62693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dirty="0">
                          <a:solidFill>
                            <a:srgbClr val="C00000"/>
                          </a:solidFill>
                          <a:latin typeface="EYInterstate Light" panose="02000506000000020004" pitchFamily="2" charset="0"/>
                        </a:rPr>
                        <a:t>Low</a:t>
                      </a:r>
                    </a:p>
                  </a:txBody>
                  <a:tcPr marL="45720" marR="45720" anchor="ctr">
                    <a:lnL w="12700" cap="flat" cmpd="sng" algn="ctr">
                      <a:noFill/>
                      <a:prstDash val="solid"/>
                      <a:round/>
                      <a:headEnd type="none" w="med" len="med"/>
                      <a:tailEnd type="none" w="med" len="med"/>
                    </a:lnL>
                    <a:lnR w="190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tx2"/>
                          </a:solidFill>
                          <a:latin typeface="EYInterstate Light" panose="02000506000000020004" pitchFamily="2" charset="0"/>
                        </a:rPr>
                        <a:t>Medium</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9999"/>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bg1"/>
                          </a:solidFill>
                          <a:latin typeface="EYInterstate Light" panose="02000506000000020004" pitchFamily="2" charset="0"/>
                        </a:rPr>
                        <a:t>Low</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00" b="1" dirty="0">
                          <a:solidFill>
                            <a:schemeClr val="bg1"/>
                          </a:solidFill>
                          <a:latin typeface="EYInterstate Light" panose="02000506000000020004" pitchFamily="2" charset="0"/>
                        </a:rPr>
                        <a:t>Low</a:t>
                      </a:r>
                    </a:p>
                  </a:txBody>
                  <a:tcPr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816180" rtl="0" eaLnBrk="1" latinLnBrk="0" hangingPunct="1">
                        <a:defRPr sz="1600" kern="1200">
                          <a:solidFill>
                            <a:schemeClr val="tx1"/>
                          </a:solidFill>
                          <a:latin typeface="Calibri"/>
                        </a:defRPr>
                      </a:lvl1pPr>
                      <a:lvl2pPr marL="408090" algn="l" defTabSz="816180" rtl="0" eaLnBrk="1" latinLnBrk="0" hangingPunct="1">
                        <a:defRPr sz="1600" kern="1200">
                          <a:solidFill>
                            <a:schemeClr val="tx1"/>
                          </a:solidFill>
                          <a:latin typeface="Calibri"/>
                        </a:defRPr>
                      </a:lvl2pPr>
                      <a:lvl3pPr marL="816180" algn="l" defTabSz="816180" rtl="0" eaLnBrk="1" latinLnBrk="0" hangingPunct="1">
                        <a:defRPr sz="1600" kern="1200">
                          <a:solidFill>
                            <a:schemeClr val="tx1"/>
                          </a:solidFill>
                          <a:latin typeface="Calibri"/>
                        </a:defRPr>
                      </a:lvl3pPr>
                      <a:lvl4pPr marL="1224271" algn="l" defTabSz="816180" rtl="0" eaLnBrk="1" latinLnBrk="0" hangingPunct="1">
                        <a:defRPr sz="1600" kern="1200">
                          <a:solidFill>
                            <a:schemeClr val="tx1"/>
                          </a:solidFill>
                          <a:latin typeface="Calibri"/>
                        </a:defRPr>
                      </a:lvl4pPr>
                      <a:lvl5pPr marL="1632362" algn="l" defTabSz="816180" rtl="0" eaLnBrk="1" latinLnBrk="0" hangingPunct="1">
                        <a:defRPr sz="1600" kern="1200">
                          <a:solidFill>
                            <a:schemeClr val="tx1"/>
                          </a:solidFill>
                          <a:latin typeface="Calibri"/>
                        </a:defRPr>
                      </a:lvl5pPr>
                      <a:lvl6pPr marL="2040452" algn="l" defTabSz="816180" rtl="0" eaLnBrk="1" latinLnBrk="0" hangingPunct="1">
                        <a:defRPr sz="1600" kern="1200">
                          <a:solidFill>
                            <a:schemeClr val="tx1"/>
                          </a:solidFill>
                          <a:latin typeface="Calibri"/>
                        </a:defRPr>
                      </a:lvl6pPr>
                      <a:lvl7pPr marL="2448542" algn="l" defTabSz="816180" rtl="0" eaLnBrk="1" latinLnBrk="0" hangingPunct="1">
                        <a:defRPr sz="1600" kern="1200">
                          <a:solidFill>
                            <a:schemeClr val="tx1"/>
                          </a:solidFill>
                          <a:latin typeface="Calibri"/>
                        </a:defRPr>
                      </a:lvl7pPr>
                      <a:lvl8pPr marL="2856632" algn="l" defTabSz="816180" rtl="0" eaLnBrk="1" latinLnBrk="0" hangingPunct="1">
                        <a:defRPr sz="1600" kern="1200">
                          <a:solidFill>
                            <a:schemeClr val="tx1"/>
                          </a:solidFill>
                          <a:latin typeface="Calibri"/>
                        </a:defRPr>
                      </a:lvl8pPr>
                      <a:lvl9pPr marL="3264723" algn="l" defTabSz="816180" rtl="0" eaLnBrk="1" latinLnBrk="0" hangingPunct="1">
                        <a:defRPr sz="1600" kern="1200">
                          <a:solidFill>
                            <a:schemeClr val="tx1"/>
                          </a:solidFill>
                          <a:latin typeface="Calibri"/>
                        </a:defRPr>
                      </a:lvl9pPr>
                    </a:lstStyle>
                    <a:p>
                      <a:pPr algn="ctr"/>
                      <a:r>
                        <a:rPr lang="en-US" sz="1000" b="1" dirty="0">
                          <a:solidFill>
                            <a:schemeClr val="bg1"/>
                          </a:solidFill>
                          <a:latin typeface="EYInterstate Light" panose="02000506000000020004" pitchFamily="2" charset="0"/>
                        </a:rPr>
                        <a:t>Low</a:t>
                      </a:r>
                    </a:p>
                  </a:txBody>
                  <a:tcPr anchor="ctr">
                    <a:lnL w="190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extLst>
                  <a:ext uri="{0D108BD9-81ED-4DB2-BD59-A6C34878D82A}">
                    <a16:rowId xmlns:a16="http://schemas.microsoft.com/office/drawing/2014/main" val="10003"/>
                  </a:ext>
                </a:extLst>
              </a:tr>
            </a:tbl>
          </a:graphicData>
        </a:graphic>
      </p:graphicFrame>
      <p:sp>
        <p:nvSpPr>
          <p:cNvPr id="221" name="TextBox 220">
            <a:extLst>
              <a:ext uri="{FF2B5EF4-FFF2-40B4-BE49-F238E27FC236}">
                <a16:creationId xmlns:a16="http://schemas.microsoft.com/office/drawing/2014/main" id="{F0D0A93B-6949-AA4A-BE03-276BFA85AB3C}"/>
              </a:ext>
            </a:extLst>
          </p:cNvPr>
          <p:cNvSpPr txBox="1"/>
          <p:nvPr/>
        </p:nvSpPr>
        <p:spPr>
          <a:xfrm>
            <a:off x="3564400" y="2004974"/>
            <a:ext cx="370723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Capacity Requirement</a:t>
            </a:r>
          </a:p>
        </p:txBody>
      </p:sp>
      <p:sp>
        <p:nvSpPr>
          <p:cNvPr id="222" name="TextBox 221">
            <a:extLst>
              <a:ext uri="{FF2B5EF4-FFF2-40B4-BE49-F238E27FC236}">
                <a16:creationId xmlns:a16="http://schemas.microsoft.com/office/drawing/2014/main" id="{405FA39E-C8B4-C04E-B232-FAE3DE72DBC4}"/>
              </a:ext>
            </a:extLst>
          </p:cNvPr>
          <p:cNvSpPr txBox="1"/>
          <p:nvPr/>
        </p:nvSpPr>
        <p:spPr>
          <a:xfrm>
            <a:off x="3440561" y="1441819"/>
            <a:ext cx="379060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Project Prioritization Framework</a:t>
            </a:r>
          </a:p>
        </p:txBody>
      </p:sp>
      <p:sp>
        <p:nvSpPr>
          <p:cNvPr id="223" name="Rounded Rectangle 9">
            <a:extLst>
              <a:ext uri="{FF2B5EF4-FFF2-40B4-BE49-F238E27FC236}">
                <a16:creationId xmlns:a16="http://schemas.microsoft.com/office/drawing/2014/main" id="{A2A38410-62C7-AF4E-B8B4-EEEBCFBCE665}"/>
              </a:ext>
            </a:extLst>
          </p:cNvPr>
          <p:cNvSpPr/>
          <p:nvPr/>
        </p:nvSpPr>
        <p:spPr>
          <a:xfrm>
            <a:off x="368720" y="1715884"/>
            <a:ext cx="2038568" cy="3795902"/>
          </a:xfrm>
          <a:prstGeom prst="roundRect">
            <a:avLst/>
          </a:prstGeom>
          <a:gradFill flip="none" rotWithShape="1">
            <a:gsLst>
              <a:gs pos="100000">
                <a:srgbClr val="FFC000">
                  <a:lumMod val="20000"/>
                  <a:lumOff val="80000"/>
                </a:srgbClr>
              </a:gs>
              <a:gs pos="0">
                <a:srgbClr val="FFC000">
                  <a:lumMod val="40000"/>
                  <a:lumOff val="60000"/>
                </a:srgbClr>
              </a:gs>
            </a:gsLst>
            <a:lin ang="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224" name="Curved Connector 10">
            <a:extLst>
              <a:ext uri="{FF2B5EF4-FFF2-40B4-BE49-F238E27FC236}">
                <a16:creationId xmlns:a16="http://schemas.microsoft.com/office/drawing/2014/main" id="{474FBDA9-7E88-A44B-A1A1-27AAD67ECAC0}"/>
              </a:ext>
            </a:extLst>
          </p:cNvPr>
          <p:cNvCxnSpPr>
            <a:endCxn id="221" idx="1"/>
          </p:cNvCxnSpPr>
          <p:nvPr/>
        </p:nvCxnSpPr>
        <p:spPr>
          <a:xfrm flipV="1">
            <a:off x="2485313" y="2135779"/>
            <a:ext cx="1079087" cy="1064391"/>
          </a:xfrm>
          <a:prstGeom prst="curvedConnector3">
            <a:avLst>
              <a:gd name="adj1" fmla="val 1940"/>
            </a:avLst>
          </a:prstGeom>
          <a:noFill/>
          <a:ln w="6350" cap="flat" cmpd="sng" algn="ctr">
            <a:solidFill>
              <a:sysClr val="windowText" lastClr="000000">
                <a:lumMod val="65000"/>
                <a:lumOff val="35000"/>
              </a:sysClr>
            </a:solidFill>
            <a:prstDash val="solid"/>
            <a:miter lim="800000"/>
            <a:tailEnd type="triangle"/>
          </a:ln>
          <a:effectLst/>
        </p:spPr>
      </p:cxnSp>
      <p:sp>
        <p:nvSpPr>
          <p:cNvPr id="225" name="TextBox 224">
            <a:extLst>
              <a:ext uri="{FF2B5EF4-FFF2-40B4-BE49-F238E27FC236}">
                <a16:creationId xmlns:a16="http://schemas.microsoft.com/office/drawing/2014/main" id="{52726298-081A-904E-A76C-E494641960FE}"/>
              </a:ext>
            </a:extLst>
          </p:cNvPr>
          <p:cNvSpPr txBox="1"/>
          <p:nvPr/>
        </p:nvSpPr>
        <p:spPr>
          <a:xfrm rot="16200000">
            <a:off x="1826268" y="3423843"/>
            <a:ext cx="18570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Demand </a:t>
            </a: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Business Value)</a:t>
            </a:r>
            <a:endParaRPr kumimoji="0" lang="en-US" sz="11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26" name="TextBox 225">
            <a:extLst>
              <a:ext uri="{FF2B5EF4-FFF2-40B4-BE49-F238E27FC236}">
                <a16:creationId xmlns:a16="http://schemas.microsoft.com/office/drawing/2014/main" id="{CE48146D-CB63-2D41-8525-A9AEB2DA173C}"/>
              </a:ext>
            </a:extLst>
          </p:cNvPr>
          <p:cNvSpPr txBox="1"/>
          <p:nvPr/>
        </p:nvSpPr>
        <p:spPr>
          <a:xfrm>
            <a:off x="411794" y="1434363"/>
            <a:ext cx="300279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C00000"/>
                </a:solidFill>
                <a:effectLst/>
                <a:uLnTx/>
                <a:uFillTx/>
                <a:latin typeface="EYInterstate Light" panose="02000506000000020004" pitchFamily="2" charset="0"/>
                <a:ea typeface="+mn-ea"/>
                <a:cs typeface="+mn-cs"/>
              </a:rPr>
              <a:t>Information Gathering &amp; Analysis</a:t>
            </a:r>
          </a:p>
        </p:txBody>
      </p:sp>
      <p:sp>
        <p:nvSpPr>
          <p:cNvPr id="227" name="Freeform 85">
            <a:extLst>
              <a:ext uri="{FF2B5EF4-FFF2-40B4-BE49-F238E27FC236}">
                <a16:creationId xmlns:a16="http://schemas.microsoft.com/office/drawing/2014/main" id="{903F95F8-4899-D843-80A8-0E735AB77B3D}"/>
              </a:ext>
            </a:extLst>
          </p:cNvPr>
          <p:cNvSpPr>
            <a:spLocks noChangeAspect="1" noEditPoints="1"/>
          </p:cNvSpPr>
          <p:nvPr/>
        </p:nvSpPr>
        <p:spPr bwMode="auto">
          <a:xfrm>
            <a:off x="616810" y="1921823"/>
            <a:ext cx="698849" cy="422885"/>
          </a:xfrm>
          <a:custGeom>
            <a:avLst/>
            <a:gdLst>
              <a:gd name="T0" fmla="*/ 1889 w 3186"/>
              <a:gd name="T1" fmla="*/ 618 h 1908"/>
              <a:gd name="T2" fmla="*/ 1289 w 3186"/>
              <a:gd name="T3" fmla="*/ 710 h 1908"/>
              <a:gd name="T4" fmla="*/ 1094 w 3186"/>
              <a:gd name="T5" fmla="*/ 687 h 1908"/>
              <a:gd name="T6" fmla="*/ 1240 w 3186"/>
              <a:gd name="T7" fmla="*/ 1132 h 1908"/>
              <a:gd name="T8" fmla="*/ 1890 w 3186"/>
              <a:gd name="T9" fmla="*/ 1126 h 1908"/>
              <a:gd name="T10" fmla="*/ 2980 w 3186"/>
              <a:gd name="T11" fmla="*/ 856 h 1908"/>
              <a:gd name="T12" fmla="*/ 3171 w 3186"/>
              <a:gd name="T13" fmla="*/ 681 h 1908"/>
              <a:gd name="T14" fmla="*/ 3101 w 3186"/>
              <a:gd name="T15" fmla="*/ 427 h 1908"/>
              <a:gd name="T16" fmla="*/ 2688 w 3186"/>
              <a:gd name="T17" fmla="*/ 427 h 1908"/>
              <a:gd name="T18" fmla="*/ 2628 w 3186"/>
              <a:gd name="T19" fmla="*/ 686 h 1908"/>
              <a:gd name="T20" fmla="*/ 2789 w 3186"/>
              <a:gd name="T21" fmla="*/ 916 h 1908"/>
              <a:gd name="T22" fmla="*/ 2728 w 3186"/>
              <a:gd name="T23" fmla="*/ 486 h 1908"/>
              <a:gd name="T24" fmla="*/ 2891 w 3186"/>
              <a:gd name="T25" fmla="*/ 695 h 1908"/>
              <a:gd name="T26" fmla="*/ 2932 w 3186"/>
              <a:gd name="T27" fmla="*/ 848 h 1908"/>
              <a:gd name="T28" fmla="*/ 2740 w 3186"/>
              <a:gd name="T29" fmla="*/ 849 h 1908"/>
              <a:gd name="T30" fmla="*/ 1383 w 3186"/>
              <a:gd name="T31" fmla="*/ 572 h 1908"/>
              <a:gd name="T32" fmla="*/ 3146 w 3186"/>
              <a:gd name="T33" fmla="*/ 1170 h 1908"/>
              <a:gd name="T34" fmla="*/ 3018 w 3186"/>
              <a:gd name="T35" fmla="*/ 1001 h 1908"/>
              <a:gd name="T36" fmla="*/ 2632 w 3186"/>
              <a:gd name="T37" fmla="*/ 1071 h 1908"/>
              <a:gd name="T38" fmla="*/ 2365 w 3186"/>
              <a:gd name="T39" fmla="*/ 1345 h 1908"/>
              <a:gd name="T40" fmla="*/ 1516 w 3186"/>
              <a:gd name="T41" fmla="*/ 1204 h 1908"/>
              <a:gd name="T42" fmla="*/ 668 w 3186"/>
              <a:gd name="T43" fmla="*/ 1406 h 1908"/>
              <a:gd name="T44" fmla="*/ 451 w 3186"/>
              <a:gd name="T45" fmla="*/ 1004 h 1908"/>
              <a:gd name="T46" fmla="*/ 68 w 3186"/>
              <a:gd name="T47" fmla="*/ 1069 h 1908"/>
              <a:gd name="T48" fmla="*/ 134 w 3186"/>
              <a:gd name="T49" fmla="*/ 1109 h 1908"/>
              <a:gd name="T50" fmla="*/ 444 w 3186"/>
              <a:gd name="T51" fmla="*/ 1083 h 1908"/>
              <a:gd name="T52" fmla="*/ 956 w 3186"/>
              <a:gd name="T53" fmla="*/ 1696 h 1908"/>
              <a:gd name="T54" fmla="*/ 263 w 3186"/>
              <a:gd name="T55" fmla="*/ 1794 h 1908"/>
              <a:gd name="T56" fmla="*/ 2848 w 3186"/>
              <a:gd name="T57" fmla="*/ 1697 h 1908"/>
              <a:gd name="T58" fmla="*/ 2664 w 3186"/>
              <a:gd name="T59" fmla="*/ 1150 h 1908"/>
              <a:gd name="T60" fmla="*/ 2795 w 3186"/>
              <a:gd name="T61" fmla="*/ 1075 h 1908"/>
              <a:gd name="T62" fmla="*/ 3065 w 3186"/>
              <a:gd name="T63" fmla="*/ 1149 h 1908"/>
              <a:gd name="T64" fmla="*/ 1360 w 3186"/>
              <a:gd name="T65" fmla="*/ 1632 h 1908"/>
              <a:gd name="T66" fmla="*/ 143 w 3186"/>
              <a:gd name="T67" fmla="*/ 828 h 1908"/>
              <a:gd name="T68" fmla="*/ 351 w 3186"/>
              <a:gd name="T69" fmla="*/ 917 h 1908"/>
              <a:gd name="T70" fmla="*/ 516 w 3186"/>
              <a:gd name="T71" fmla="*/ 631 h 1908"/>
              <a:gd name="T72" fmla="*/ 472 w 3186"/>
              <a:gd name="T73" fmla="*/ 436 h 1908"/>
              <a:gd name="T74" fmla="*/ 300 w 3186"/>
              <a:gd name="T75" fmla="*/ 385 h 1908"/>
              <a:gd name="T76" fmla="*/ 122 w 3186"/>
              <a:gd name="T77" fmla="*/ 464 h 1908"/>
              <a:gd name="T78" fmla="*/ 77 w 3186"/>
              <a:gd name="T79" fmla="*/ 736 h 1908"/>
              <a:gd name="T80" fmla="*/ 446 w 3186"/>
              <a:gd name="T81" fmla="*/ 523 h 1908"/>
              <a:gd name="T82" fmla="*/ 447 w 3186"/>
              <a:gd name="T83" fmla="*/ 801 h 1908"/>
              <a:gd name="T84" fmla="*/ 244 w 3186"/>
              <a:gd name="T85" fmla="*/ 868 h 1908"/>
              <a:gd name="T86" fmla="*/ 1537 w 3186"/>
              <a:gd name="T87" fmla="*/ 1467 h 1908"/>
              <a:gd name="T88" fmla="*/ 1637 w 3186"/>
              <a:gd name="T89" fmla="*/ 1409 h 1908"/>
              <a:gd name="T90" fmla="*/ 1559 w 3186"/>
              <a:gd name="T91" fmla="*/ 1340 h 1908"/>
              <a:gd name="T92" fmla="*/ 1441 w 3186"/>
              <a:gd name="T93" fmla="*/ 1379 h 1908"/>
              <a:gd name="T94" fmla="*/ 1483 w 3186"/>
              <a:gd name="T95" fmla="*/ 1459 h 1908"/>
              <a:gd name="T96" fmla="*/ 1598 w 3186"/>
              <a:gd name="T97" fmla="*/ 1396 h 1908"/>
              <a:gd name="T98" fmla="*/ 1486 w 3186"/>
              <a:gd name="T99" fmla="*/ 1414 h 1908"/>
              <a:gd name="T100" fmla="*/ 1364 w 3186"/>
              <a:gd name="T101" fmla="*/ 504 h 1908"/>
              <a:gd name="T102" fmla="*/ 1520 w 3186"/>
              <a:gd name="T103" fmla="*/ 529 h 1908"/>
              <a:gd name="T104" fmla="*/ 1758 w 3186"/>
              <a:gd name="T105" fmla="*/ 494 h 1908"/>
              <a:gd name="T106" fmla="*/ 1762 w 3186"/>
              <a:gd name="T107" fmla="*/ 197 h 1908"/>
              <a:gd name="T108" fmla="*/ 1543 w 3186"/>
              <a:gd name="T109" fmla="*/ 1 h 1908"/>
              <a:gd name="T110" fmla="*/ 1352 w 3186"/>
              <a:gd name="T111" fmla="*/ 60 h 1908"/>
              <a:gd name="T112" fmla="*/ 1269 w 3186"/>
              <a:gd name="T113" fmla="*/ 453 h 1908"/>
              <a:gd name="T114" fmla="*/ 1370 w 3186"/>
              <a:gd name="T115" fmla="*/ 254 h 1908"/>
              <a:gd name="T116" fmla="*/ 1536 w 3186"/>
              <a:gd name="T117" fmla="*/ 244 h 1908"/>
              <a:gd name="T118" fmla="*/ 1670 w 3186"/>
              <a:gd name="T119" fmla="*/ 322 h 1908"/>
              <a:gd name="T120" fmla="*/ 1535 w 3186"/>
              <a:gd name="T121" fmla="*/ 489 h 1908"/>
              <a:gd name="T122" fmla="*/ 1376 w 3186"/>
              <a:gd name="T123" fmla="*/ 372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86" h="1908">
                <a:moveTo>
                  <a:pt x="2067" y="1164"/>
                </a:moveTo>
                <a:lnTo>
                  <a:pt x="2014" y="805"/>
                </a:lnTo>
                <a:lnTo>
                  <a:pt x="2014" y="805"/>
                </a:lnTo>
                <a:lnTo>
                  <a:pt x="2009" y="779"/>
                </a:lnTo>
                <a:lnTo>
                  <a:pt x="2004" y="756"/>
                </a:lnTo>
                <a:lnTo>
                  <a:pt x="1996" y="734"/>
                </a:lnTo>
                <a:lnTo>
                  <a:pt x="1989" y="714"/>
                </a:lnTo>
                <a:lnTo>
                  <a:pt x="1979" y="697"/>
                </a:lnTo>
                <a:lnTo>
                  <a:pt x="1969" y="681"/>
                </a:lnTo>
                <a:lnTo>
                  <a:pt x="1958" y="667"/>
                </a:lnTo>
                <a:lnTo>
                  <a:pt x="1946" y="655"/>
                </a:lnTo>
                <a:lnTo>
                  <a:pt x="1933" y="644"/>
                </a:lnTo>
                <a:lnTo>
                  <a:pt x="1919" y="634"/>
                </a:lnTo>
                <a:lnTo>
                  <a:pt x="1904" y="626"/>
                </a:lnTo>
                <a:lnTo>
                  <a:pt x="1889" y="618"/>
                </a:lnTo>
                <a:lnTo>
                  <a:pt x="1872" y="613"/>
                </a:lnTo>
                <a:lnTo>
                  <a:pt x="1855" y="607"/>
                </a:lnTo>
                <a:lnTo>
                  <a:pt x="1836" y="603"/>
                </a:lnTo>
                <a:lnTo>
                  <a:pt x="1817" y="600"/>
                </a:lnTo>
                <a:lnTo>
                  <a:pt x="1776" y="593"/>
                </a:lnTo>
                <a:lnTo>
                  <a:pt x="1776" y="593"/>
                </a:lnTo>
                <a:lnTo>
                  <a:pt x="1778" y="696"/>
                </a:lnTo>
                <a:lnTo>
                  <a:pt x="1778" y="710"/>
                </a:lnTo>
                <a:lnTo>
                  <a:pt x="1764" y="714"/>
                </a:lnTo>
                <a:lnTo>
                  <a:pt x="1731" y="725"/>
                </a:lnTo>
                <a:lnTo>
                  <a:pt x="1779" y="768"/>
                </a:lnTo>
                <a:lnTo>
                  <a:pt x="1528" y="1052"/>
                </a:lnTo>
                <a:lnTo>
                  <a:pt x="1288" y="766"/>
                </a:lnTo>
                <a:lnTo>
                  <a:pt x="1335" y="725"/>
                </a:lnTo>
                <a:lnTo>
                  <a:pt x="1289" y="710"/>
                </a:lnTo>
                <a:lnTo>
                  <a:pt x="1289" y="696"/>
                </a:lnTo>
                <a:lnTo>
                  <a:pt x="1289" y="696"/>
                </a:lnTo>
                <a:lnTo>
                  <a:pt x="1290" y="591"/>
                </a:lnTo>
                <a:lnTo>
                  <a:pt x="1237" y="602"/>
                </a:lnTo>
                <a:lnTo>
                  <a:pt x="1237" y="602"/>
                </a:lnTo>
                <a:lnTo>
                  <a:pt x="1219" y="606"/>
                </a:lnTo>
                <a:lnTo>
                  <a:pt x="1202" y="611"/>
                </a:lnTo>
                <a:lnTo>
                  <a:pt x="1186" y="617"/>
                </a:lnTo>
                <a:lnTo>
                  <a:pt x="1169" y="623"/>
                </a:lnTo>
                <a:lnTo>
                  <a:pt x="1155" y="631"/>
                </a:lnTo>
                <a:lnTo>
                  <a:pt x="1141" y="640"/>
                </a:lnTo>
                <a:lnTo>
                  <a:pt x="1128" y="649"/>
                </a:lnTo>
                <a:lnTo>
                  <a:pt x="1115" y="661"/>
                </a:lnTo>
                <a:lnTo>
                  <a:pt x="1105" y="673"/>
                </a:lnTo>
                <a:lnTo>
                  <a:pt x="1094" y="687"/>
                </a:lnTo>
                <a:lnTo>
                  <a:pt x="1085" y="702"/>
                </a:lnTo>
                <a:lnTo>
                  <a:pt x="1076" y="720"/>
                </a:lnTo>
                <a:lnTo>
                  <a:pt x="1069" y="738"/>
                </a:lnTo>
                <a:lnTo>
                  <a:pt x="1061" y="759"/>
                </a:lnTo>
                <a:lnTo>
                  <a:pt x="1056" y="781"/>
                </a:lnTo>
                <a:lnTo>
                  <a:pt x="1050" y="805"/>
                </a:lnTo>
                <a:lnTo>
                  <a:pt x="993" y="1193"/>
                </a:lnTo>
                <a:lnTo>
                  <a:pt x="993" y="1193"/>
                </a:lnTo>
                <a:lnTo>
                  <a:pt x="1028" y="1182"/>
                </a:lnTo>
                <a:lnTo>
                  <a:pt x="1061" y="1172"/>
                </a:lnTo>
                <a:lnTo>
                  <a:pt x="1097" y="1162"/>
                </a:lnTo>
                <a:lnTo>
                  <a:pt x="1132" y="1153"/>
                </a:lnTo>
                <a:lnTo>
                  <a:pt x="1167" y="1146"/>
                </a:lnTo>
                <a:lnTo>
                  <a:pt x="1203" y="1138"/>
                </a:lnTo>
                <a:lnTo>
                  <a:pt x="1240" y="1132"/>
                </a:lnTo>
                <a:lnTo>
                  <a:pt x="1276" y="1125"/>
                </a:lnTo>
                <a:lnTo>
                  <a:pt x="1313" y="1120"/>
                </a:lnTo>
                <a:lnTo>
                  <a:pt x="1350" y="1116"/>
                </a:lnTo>
                <a:lnTo>
                  <a:pt x="1388" y="1111"/>
                </a:lnTo>
                <a:lnTo>
                  <a:pt x="1425" y="1108"/>
                </a:lnTo>
                <a:lnTo>
                  <a:pt x="1463" y="1105"/>
                </a:lnTo>
                <a:lnTo>
                  <a:pt x="1501" y="1104"/>
                </a:lnTo>
                <a:lnTo>
                  <a:pt x="1540" y="1103"/>
                </a:lnTo>
                <a:lnTo>
                  <a:pt x="1579" y="1101"/>
                </a:lnTo>
                <a:lnTo>
                  <a:pt x="1579" y="1101"/>
                </a:lnTo>
                <a:lnTo>
                  <a:pt x="1643" y="1103"/>
                </a:lnTo>
                <a:lnTo>
                  <a:pt x="1705" y="1106"/>
                </a:lnTo>
                <a:lnTo>
                  <a:pt x="1768" y="1111"/>
                </a:lnTo>
                <a:lnTo>
                  <a:pt x="1830" y="1118"/>
                </a:lnTo>
                <a:lnTo>
                  <a:pt x="1890" y="1126"/>
                </a:lnTo>
                <a:lnTo>
                  <a:pt x="1951" y="1137"/>
                </a:lnTo>
                <a:lnTo>
                  <a:pt x="2010" y="1150"/>
                </a:lnTo>
                <a:lnTo>
                  <a:pt x="2067" y="1164"/>
                </a:lnTo>
                <a:lnTo>
                  <a:pt x="2067" y="1164"/>
                </a:lnTo>
                <a:close/>
                <a:moveTo>
                  <a:pt x="2832" y="923"/>
                </a:moveTo>
                <a:lnTo>
                  <a:pt x="2832" y="923"/>
                </a:lnTo>
                <a:lnTo>
                  <a:pt x="2853" y="921"/>
                </a:lnTo>
                <a:lnTo>
                  <a:pt x="2874" y="918"/>
                </a:lnTo>
                <a:lnTo>
                  <a:pt x="2894" y="913"/>
                </a:lnTo>
                <a:lnTo>
                  <a:pt x="2913" y="905"/>
                </a:lnTo>
                <a:lnTo>
                  <a:pt x="2931" y="895"/>
                </a:lnTo>
                <a:lnTo>
                  <a:pt x="2948" y="885"/>
                </a:lnTo>
                <a:lnTo>
                  <a:pt x="2964" y="872"/>
                </a:lnTo>
                <a:lnTo>
                  <a:pt x="2980" y="856"/>
                </a:lnTo>
                <a:lnTo>
                  <a:pt x="2980" y="856"/>
                </a:lnTo>
                <a:lnTo>
                  <a:pt x="3009" y="840"/>
                </a:lnTo>
                <a:lnTo>
                  <a:pt x="3031" y="826"/>
                </a:lnTo>
                <a:lnTo>
                  <a:pt x="3051" y="813"/>
                </a:lnTo>
                <a:lnTo>
                  <a:pt x="3051" y="813"/>
                </a:lnTo>
                <a:lnTo>
                  <a:pt x="3066" y="809"/>
                </a:lnTo>
                <a:lnTo>
                  <a:pt x="3080" y="802"/>
                </a:lnTo>
                <a:lnTo>
                  <a:pt x="3093" y="794"/>
                </a:lnTo>
                <a:lnTo>
                  <a:pt x="3106" y="784"/>
                </a:lnTo>
                <a:lnTo>
                  <a:pt x="3118" y="772"/>
                </a:lnTo>
                <a:lnTo>
                  <a:pt x="3129" y="760"/>
                </a:lnTo>
                <a:lnTo>
                  <a:pt x="3140" y="746"/>
                </a:lnTo>
                <a:lnTo>
                  <a:pt x="3148" y="731"/>
                </a:lnTo>
                <a:lnTo>
                  <a:pt x="3157" y="714"/>
                </a:lnTo>
                <a:lnTo>
                  <a:pt x="3164" y="698"/>
                </a:lnTo>
                <a:lnTo>
                  <a:pt x="3171" y="681"/>
                </a:lnTo>
                <a:lnTo>
                  <a:pt x="3175" y="662"/>
                </a:lnTo>
                <a:lnTo>
                  <a:pt x="3180" y="644"/>
                </a:lnTo>
                <a:lnTo>
                  <a:pt x="3182" y="626"/>
                </a:lnTo>
                <a:lnTo>
                  <a:pt x="3184" y="607"/>
                </a:lnTo>
                <a:lnTo>
                  <a:pt x="3184" y="588"/>
                </a:lnTo>
                <a:lnTo>
                  <a:pt x="3183" y="569"/>
                </a:lnTo>
                <a:lnTo>
                  <a:pt x="3180" y="551"/>
                </a:lnTo>
                <a:lnTo>
                  <a:pt x="3175" y="532"/>
                </a:lnTo>
                <a:lnTo>
                  <a:pt x="3170" y="515"/>
                </a:lnTo>
                <a:lnTo>
                  <a:pt x="3162" y="498"/>
                </a:lnTo>
                <a:lnTo>
                  <a:pt x="3154" y="481"/>
                </a:lnTo>
                <a:lnTo>
                  <a:pt x="3143" y="466"/>
                </a:lnTo>
                <a:lnTo>
                  <a:pt x="3131" y="452"/>
                </a:lnTo>
                <a:lnTo>
                  <a:pt x="3117" y="439"/>
                </a:lnTo>
                <a:lnTo>
                  <a:pt x="3101" y="427"/>
                </a:lnTo>
                <a:lnTo>
                  <a:pt x="3083" y="417"/>
                </a:lnTo>
                <a:lnTo>
                  <a:pt x="3063" y="409"/>
                </a:lnTo>
                <a:lnTo>
                  <a:pt x="3041" y="401"/>
                </a:lnTo>
                <a:lnTo>
                  <a:pt x="3017" y="396"/>
                </a:lnTo>
                <a:lnTo>
                  <a:pt x="2991" y="392"/>
                </a:lnTo>
                <a:lnTo>
                  <a:pt x="2963" y="391"/>
                </a:lnTo>
                <a:lnTo>
                  <a:pt x="2760" y="391"/>
                </a:lnTo>
                <a:lnTo>
                  <a:pt x="2760" y="391"/>
                </a:lnTo>
                <a:lnTo>
                  <a:pt x="2748" y="391"/>
                </a:lnTo>
                <a:lnTo>
                  <a:pt x="2736" y="395"/>
                </a:lnTo>
                <a:lnTo>
                  <a:pt x="2726" y="398"/>
                </a:lnTo>
                <a:lnTo>
                  <a:pt x="2715" y="403"/>
                </a:lnTo>
                <a:lnTo>
                  <a:pt x="2705" y="410"/>
                </a:lnTo>
                <a:lnTo>
                  <a:pt x="2696" y="417"/>
                </a:lnTo>
                <a:lnTo>
                  <a:pt x="2688" y="427"/>
                </a:lnTo>
                <a:lnTo>
                  <a:pt x="2680" y="437"/>
                </a:lnTo>
                <a:lnTo>
                  <a:pt x="2674" y="448"/>
                </a:lnTo>
                <a:lnTo>
                  <a:pt x="2667" y="461"/>
                </a:lnTo>
                <a:lnTo>
                  <a:pt x="2662" y="474"/>
                </a:lnTo>
                <a:lnTo>
                  <a:pt x="2658" y="487"/>
                </a:lnTo>
                <a:lnTo>
                  <a:pt x="2653" y="502"/>
                </a:lnTo>
                <a:lnTo>
                  <a:pt x="2649" y="517"/>
                </a:lnTo>
                <a:lnTo>
                  <a:pt x="2646" y="532"/>
                </a:lnTo>
                <a:lnTo>
                  <a:pt x="2643" y="549"/>
                </a:lnTo>
                <a:lnTo>
                  <a:pt x="2643" y="549"/>
                </a:lnTo>
                <a:lnTo>
                  <a:pt x="2637" y="568"/>
                </a:lnTo>
                <a:lnTo>
                  <a:pt x="2633" y="589"/>
                </a:lnTo>
                <a:lnTo>
                  <a:pt x="2631" y="609"/>
                </a:lnTo>
                <a:lnTo>
                  <a:pt x="2628" y="630"/>
                </a:lnTo>
                <a:lnTo>
                  <a:pt x="2628" y="686"/>
                </a:lnTo>
                <a:lnTo>
                  <a:pt x="2628" y="686"/>
                </a:lnTo>
                <a:lnTo>
                  <a:pt x="2628" y="709"/>
                </a:lnTo>
                <a:lnTo>
                  <a:pt x="2632" y="733"/>
                </a:lnTo>
                <a:lnTo>
                  <a:pt x="2636" y="755"/>
                </a:lnTo>
                <a:lnTo>
                  <a:pt x="2642" y="776"/>
                </a:lnTo>
                <a:lnTo>
                  <a:pt x="2651" y="797"/>
                </a:lnTo>
                <a:lnTo>
                  <a:pt x="2661" y="815"/>
                </a:lnTo>
                <a:lnTo>
                  <a:pt x="2672" y="834"/>
                </a:lnTo>
                <a:lnTo>
                  <a:pt x="2685" y="851"/>
                </a:lnTo>
                <a:lnTo>
                  <a:pt x="2700" y="866"/>
                </a:lnTo>
                <a:lnTo>
                  <a:pt x="2715" y="880"/>
                </a:lnTo>
                <a:lnTo>
                  <a:pt x="2732" y="892"/>
                </a:lnTo>
                <a:lnTo>
                  <a:pt x="2750" y="902"/>
                </a:lnTo>
                <a:lnTo>
                  <a:pt x="2769" y="911"/>
                </a:lnTo>
                <a:lnTo>
                  <a:pt x="2789" y="916"/>
                </a:lnTo>
                <a:lnTo>
                  <a:pt x="2810" y="920"/>
                </a:lnTo>
                <a:lnTo>
                  <a:pt x="2832" y="923"/>
                </a:lnTo>
                <a:lnTo>
                  <a:pt x="2832" y="923"/>
                </a:lnTo>
                <a:close/>
                <a:moveTo>
                  <a:pt x="2667" y="631"/>
                </a:moveTo>
                <a:lnTo>
                  <a:pt x="2667" y="631"/>
                </a:lnTo>
                <a:lnTo>
                  <a:pt x="2668" y="618"/>
                </a:lnTo>
                <a:lnTo>
                  <a:pt x="2669" y="606"/>
                </a:lnTo>
                <a:lnTo>
                  <a:pt x="2672" y="594"/>
                </a:lnTo>
                <a:lnTo>
                  <a:pt x="2674" y="582"/>
                </a:lnTo>
                <a:lnTo>
                  <a:pt x="2677" y="571"/>
                </a:lnTo>
                <a:lnTo>
                  <a:pt x="2680" y="559"/>
                </a:lnTo>
                <a:lnTo>
                  <a:pt x="2690" y="539"/>
                </a:lnTo>
                <a:lnTo>
                  <a:pt x="2701" y="519"/>
                </a:lnTo>
                <a:lnTo>
                  <a:pt x="2714" y="502"/>
                </a:lnTo>
                <a:lnTo>
                  <a:pt x="2728" y="486"/>
                </a:lnTo>
                <a:lnTo>
                  <a:pt x="2744" y="473"/>
                </a:lnTo>
                <a:lnTo>
                  <a:pt x="2744" y="473"/>
                </a:lnTo>
                <a:lnTo>
                  <a:pt x="2750" y="492"/>
                </a:lnTo>
                <a:lnTo>
                  <a:pt x="2758" y="512"/>
                </a:lnTo>
                <a:lnTo>
                  <a:pt x="2766" y="530"/>
                </a:lnTo>
                <a:lnTo>
                  <a:pt x="2774" y="550"/>
                </a:lnTo>
                <a:lnTo>
                  <a:pt x="2784" y="567"/>
                </a:lnTo>
                <a:lnTo>
                  <a:pt x="2795" y="585"/>
                </a:lnTo>
                <a:lnTo>
                  <a:pt x="2806" y="603"/>
                </a:lnTo>
                <a:lnTo>
                  <a:pt x="2819" y="620"/>
                </a:lnTo>
                <a:lnTo>
                  <a:pt x="2832" y="636"/>
                </a:lnTo>
                <a:lnTo>
                  <a:pt x="2846" y="652"/>
                </a:lnTo>
                <a:lnTo>
                  <a:pt x="2860" y="667"/>
                </a:lnTo>
                <a:lnTo>
                  <a:pt x="2875" y="681"/>
                </a:lnTo>
                <a:lnTo>
                  <a:pt x="2891" y="695"/>
                </a:lnTo>
                <a:lnTo>
                  <a:pt x="2908" y="708"/>
                </a:lnTo>
                <a:lnTo>
                  <a:pt x="2927" y="720"/>
                </a:lnTo>
                <a:lnTo>
                  <a:pt x="2945" y="731"/>
                </a:lnTo>
                <a:lnTo>
                  <a:pt x="2945" y="731"/>
                </a:lnTo>
                <a:lnTo>
                  <a:pt x="2970" y="744"/>
                </a:lnTo>
                <a:lnTo>
                  <a:pt x="2995" y="755"/>
                </a:lnTo>
                <a:lnTo>
                  <a:pt x="2995" y="755"/>
                </a:lnTo>
                <a:lnTo>
                  <a:pt x="2989" y="769"/>
                </a:lnTo>
                <a:lnTo>
                  <a:pt x="2984" y="783"/>
                </a:lnTo>
                <a:lnTo>
                  <a:pt x="2976" y="796"/>
                </a:lnTo>
                <a:lnTo>
                  <a:pt x="2969" y="808"/>
                </a:lnTo>
                <a:lnTo>
                  <a:pt x="2961" y="818"/>
                </a:lnTo>
                <a:lnTo>
                  <a:pt x="2951" y="829"/>
                </a:lnTo>
                <a:lnTo>
                  <a:pt x="2942" y="839"/>
                </a:lnTo>
                <a:lnTo>
                  <a:pt x="2932" y="848"/>
                </a:lnTo>
                <a:lnTo>
                  <a:pt x="2920" y="856"/>
                </a:lnTo>
                <a:lnTo>
                  <a:pt x="2909" y="863"/>
                </a:lnTo>
                <a:lnTo>
                  <a:pt x="2897" y="869"/>
                </a:lnTo>
                <a:lnTo>
                  <a:pt x="2884" y="875"/>
                </a:lnTo>
                <a:lnTo>
                  <a:pt x="2873" y="878"/>
                </a:lnTo>
                <a:lnTo>
                  <a:pt x="2859" y="881"/>
                </a:lnTo>
                <a:lnTo>
                  <a:pt x="2846" y="882"/>
                </a:lnTo>
                <a:lnTo>
                  <a:pt x="2833" y="884"/>
                </a:lnTo>
                <a:lnTo>
                  <a:pt x="2833" y="884"/>
                </a:lnTo>
                <a:lnTo>
                  <a:pt x="2815" y="881"/>
                </a:lnTo>
                <a:lnTo>
                  <a:pt x="2799" y="879"/>
                </a:lnTo>
                <a:lnTo>
                  <a:pt x="2783" y="874"/>
                </a:lnTo>
                <a:lnTo>
                  <a:pt x="2768" y="867"/>
                </a:lnTo>
                <a:lnTo>
                  <a:pt x="2753" y="859"/>
                </a:lnTo>
                <a:lnTo>
                  <a:pt x="2740" y="849"/>
                </a:lnTo>
                <a:lnTo>
                  <a:pt x="2727" y="838"/>
                </a:lnTo>
                <a:lnTo>
                  <a:pt x="2715" y="825"/>
                </a:lnTo>
                <a:lnTo>
                  <a:pt x="2704" y="812"/>
                </a:lnTo>
                <a:lnTo>
                  <a:pt x="2694" y="797"/>
                </a:lnTo>
                <a:lnTo>
                  <a:pt x="2686" y="781"/>
                </a:lnTo>
                <a:lnTo>
                  <a:pt x="2679" y="763"/>
                </a:lnTo>
                <a:lnTo>
                  <a:pt x="2674" y="745"/>
                </a:lnTo>
                <a:lnTo>
                  <a:pt x="2669" y="726"/>
                </a:lnTo>
                <a:lnTo>
                  <a:pt x="2667" y="707"/>
                </a:lnTo>
                <a:lnTo>
                  <a:pt x="2666" y="686"/>
                </a:lnTo>
                <a:lnTo>
                  <a:pt x="2667" y="631"/>
                </a:lnTo>
                <a:close/>
                <a:moveTo>
                  <a:pt x="1737" y="586"/>
                </a:moveTo>
                <a:lnTo>
                  <a:pt x="1671" y="576"/>
                </a:lnTo>
                <a:lnTo>
                  <a:pt x="1528" y="877"/>
                </a:lnTo>
                <a:lnTo>
                  <a:pt x="1383" y="572"/>
                </a:lnTo>
                <a:lnTo>
                  <a:pt x="1329" y="583"/>
                </a:lnTo>
                <a:lnTo>
                  <a:pt x="1329" y="583"/>
                </a:lnTo>
                <a:lnTo>
                  <a:pt x="1328" y="629"/>
                </a:lnTo>
                <a:lnTo>
                  <a:pt x="1328" y="629"/>
                </a:lnTo>
                <a:lnTo>
                  <a:pt x="1328" y="682"/>
                </a:lnTo>
                <a:lnTo>
                  <a:pt x="1411" y="709"/>
                </a:lnTo>
                <a:lnTo>
                  <a:pt x="1342" y="771"/>
                </a:lnTo>
                <a:lnTo>
                  <a:pt x="1529" y="992"/>
                </a:lnTo>
                <a:lnTo>
                  <a:pt x="1724" y="771"/>
                </a:lnTo>
                <a:lnTo>
                  <a:pt x="1656" y="709"/>
                </a:lnTo>
                <a:lnTo>
                  <a:pt x="1739" y="682"/>
                </a:lnTo>
                <a:lnTo>
                  <a:pt x="1739" y="682"/>
                </a:lnTo>
                <a:lnTo>
                  <a:pt x="1737" y="586"/>
                </a:lnTo>
                <a:lnTo>
                  <a:pt x="1737" y="586"/>
                </a:lnTo>
                <a:close/>
                <a:moveTo>
                  <a:pt x="3146" y="1170"/>
                </a:moveTo>
                <a:lnTo>
                  <a:pt x="3146" y="1170"/>
                </a:lnTo>
                <a:lnTo>
                  <a:pt x="3144" y="1150"/>
                </a:lnTo>
                <a:lnTo>
                  <a:pt x="3141" y="1132"/>
                </a:lnTo>
                <a:lnTo>
                  <a:pt x="3136" y="1114"/>
                </a:lnTo>
                <a:lnTo>
                  <a:pt x="3131" y="1098"/>
                </a:lnTo>
                <a:lnTo>
                  <a:pt x="3125" y="1083"/>
                </a:lnTo>
                <a:lnTo>
                  <a:pt x="3118" y="1069"/>
                </a:lnTo>
                <a:lnTo>
                  <a:pt x="3110" y="1056"/>
                </a:lnTo>
                <a:lnTo>
                  <a:pt x="3101" y="1044"/>
                </a:lnTo>
                <a:lnTo>
                  <a:pt x="3091" y="1033"/>
                </a:lnTo>
                <a:lnTo>
                  <a:pt x="3079" y="1023"/>
                </a:lnTo>
                <a:lnTo>
                  <a:pt x="3066" y="1016"/>
                </a:lnTo>
                <a:lnTo>
                  <a:pt x="3052" y="1009"/>
                </a:lnTo>
                <a:lnTo>
                  <a:pt x="3036" y="1004"/>
                </a:lnTo>
                <a:lnTo>
                  <a:pt x="3018" y="1001"/>
                </a:lnTo>
                <a:lnTo>
                  <a:pt x="3000" y="997"/>
                </a:lnTo>
                <a:lnTo>
                  <a:pt x="2981" y="997"/>
                </a:lnTo>
                <a:lnTo>
                  <a:pt x="2795" y="997"/>
                </a:lnTo>
                <a:lnTo>
                  <a:pt x="2795" y="997"/>
                </a:lnTo>
                <a:lnTo>
                  <a:pt x="2775" y="997"/>
                </a:lnTo>
                <a:lnTo>
                  <a:pt x="2757" y="1000"/>
                </a:lnTo>
                <a:lnTo>
                  <a:pt x="2739" y="1003"/>
                </a:lnTo>
                <a:lnTo>
                  <a:pt x="2721" y="1008"/>
                </a:lnTo>
                <a:lnTo>
                  <a:pt x="2706" y="1014"/>
                </a:lnTo>
                <a:lnTo>
                  <a:pt x="2691" y="1020"/>
                </a:lnTo>
                <a:lnTo>
                  <a:pt x="2677" y="1029"/>
                </a:lnTo>
                <a:lnTo>
                  <a:pt x="2664" y="1037"/>
                </a:lnTo>
                <a:lnTo>
                  <a:pt x="2652" y="1048"/>
                </a:lnTo>
                <a:lnTo>
                  <a:pt x="2641" y="1059"/>
                </a:lnTo>
                <a:lnTo>
                  <a:pt x="2632" y="1071"/>
                </a:lnTo>
                <a:lnTo>
                  <a:pt x="2622" y="1084"/>
                </a:lnTo>
                <a:lnTo>
                  <a:pt x="2614" y="1098"/>
                </a:lnTo>
                <a:lnTo>
                  <a:pt x="2607" y="1112"/>
                </a:lnTo>
                <a:lnTo>
                  <a:pt x="2600" y="1127"/>
                </a:lnTo>
                <a:lnTo>
                  <a:pt x="2596" y="1144"/>
                </a:lnTo>
                <a:lnTo>
                  <a:pt x="2596" y="1144"/>
                </a:lnTo>
                <a:lnTo>
                  <a:pt x="2567" y="1248"/>
                </a:lnTo>
                <a:lnTo>
                  <a:pt x="2541" y="1337"/>
                </a:lnTo>
                <a:lnTo>
                  <a:pt x="2529" y="1378"/>
                </a:lnTo>
                <a:lnTo>
                  <a:pt x="2517" y="1411"/>
                </a:lnTo>
                <a:lnTo>
                  <a:pt x="2511" y="1413"/>
                </a:lnTo>
                <a:lnTo>
                  <a:pt x="2511" y="1413"/>
                </a:lnTo>
                <a:lnTo>
                  <a:pt x="2464" y="1389"/>
                </a:lnTo>
                <a:lnTo>
                  <a:pt x="2415" y="1366"/>
                </a:lnTo>
                <a:lnTo>
                  <a:pt x="2365" y="1345"/>
                </a:lnTo>
                <a:lnTo>
                  <a:pt x="2313" y="1325"/>
                </a:lnTo>
                <a:lnTo>
                  <a:pt x="2260" y="1306"/>
                </a:lnTo>
                <a:lnTo>
                  <a:pt x="2205" y="1289"/>
                </a:lnTo>
                <a:lnTo>
                  <a:pt x="2147" y="1274"/>
                </a:lnTo>
                <a:lnTo>
                  <a:pt x="2090" y="1259"/>
                </a:lnTo>
                <a:lnTo>
                  <a:pt x="2031" y="1247"/>
                </a:lnTo>
                <a:lnTo>
                  <a:pt x="1969" y="1235"/>
                </a:lnTo>
                <a:lnTo>
                  <a:pt x="1907" y="1225"/>
                </a:lnTo>
                <a:lnTo>
                  <a:pt x="1845" y="1217"/>
                </a:lnTo>
                <a:lnTo>
                  <a:pt x="1780" y="1211"/>
                </a:lnTo>
                <a:lnTo>
                  <a:pt x="1715" y="1207"/>
                </a:lnTo>
                <a:lnTo>
                  <a:pt x="1649" y="1204"/>
                </a:lnTo>
                <a:lnTo>
                  <a:pt x="1582" y="1203"/>
                </a:lnTo>
                <a:lnTo>
                  <a:pt x="1582" y="1203"/>
                </a:lnTo>
                <a:lnTo>
                  <a:pt x="1516" y="1204"/>
                </a:lnTo>
                <a:lnTo>
                  <a:pt x="1451" y="1207"/>
                </a:lnTo>
                <a:lnTo>
                  <a:pt x="1388" y="1211"/>
                </a:lnTo>
                <a:lnTo>
                  <a:pt x="1325" y="1217"/>
                </a:lnTo>
                <a:lnTo>
                  <a:pt x="1262" y="1225"/>
                </a:lnTo>
                <a:lnTo>
                  <a:pt x="1202" y="1234"/>
                </a:lnTo>
                <a:lnTo>
                  <a:pt x="1142" y="1245"/>
                </a:lnTo>
                <a:lnTo>
                  <a:pt x="1084" y="1258"/>
                </a:lnTo>
                <a:lnTo>
                  <a:pt x="1027" y="1271"/>
                </a:lnTo>
                <a:lnTo>
                  <a:pt x="970" y="1286"/>
                </a:lnTo>
                <a:lnTo>
                  <a:pt x="915" y="1303"/>
                </a:lnTo>
                <a:lnTo>
                  <a:pt x="862" y="1320"/>
                </a:lnTo>
                <a:lnTo>
                  <a:pt x="812" y="1340"/>
                </a:lnTo>
                <a:lnTo>
                  <a:pt x="762" y="1361"/>
                </a:lnTo>
                <a:lnTo>
                  <a:pt x="714" y="1382"/>
                </a:lnTo>
                <a:lnTo>
                  <a:pt x="668" y="1406"/>
                </a:lnTo>
                <a:lnTo>
                  <a:pt x="597" y="1157"/>
                </a:lnTo>
                <a:lnTo>
                  <a:pt x="597" y="1157"/>
                </a:lnTo>
                <a:lnTo>
                  <a:pt x="591" y="1139"/>
                </a:lnTo>
                <a:lnTo>
                  <a:pt x="585" y="1123"/>
                </a:lnTo>
                <a:lnTo>
                  <a:pt x="577" y="1107"/>
                </a:lnTo>
                <a:lnTo>
                  <a:pt x="570" y="1093"/>
                </a:lnTo>
                <a:lnTo>
                  <a:pt x="560" y="1079"/>
                </a:lnTo>
                <a:lnTo>
                  <a:pt x="550" y="1066"/>
                </a:lnTo>
                <a:lnTo>
                  <a:pt x="539" y="1054"/>
                </a:lnTo>
                <a:lnTo>
                  <a:pt x="527" y="1042"/>
                </a:lnTo>
                <a:lnTo>
                  <a:pt x="513" y="1032"/>
                </a:lnTo>
                <a:lnTo>
                  <a:pt x="499" y="1023"/>
                </a:lnTo>
                <a:lnTo>
                  <a:pt x="484" y="1016"/>
                </a:lnTo>
                <a:lnTo>
                  <a:pt x="468" y="1009"/>
                </a:lnTo>
                <a:lnTo>
                  <a:pt x="451" y="1004"/>
                </a:lnTo>
                <a:lnTo>
                  <a:pt x="432" y="1001"/>
                </a:lnTo>
                <a:lnTo>
                  <a:pt x="413" y="997"/>
                </a:lnTo>
                <a:lnTo>
                  <a:pt x="392" y="997"/>
                </a:lnTo>
                <a:lnTo>
                  <a:pt x="206" y="997"/>
                </a:lnTo>
                <a:lnTo>
                  <a:pt x="206" y="997"/>
                </a:lnTo>
                <a:lnTo>
                  <a:pt x="186" y="997"/>
                </a:lnTo>
                <a:lnTo>
                  <a:pt x="168" y="1001"/>
                </a:lnTo>
                <a:lnTo>
                  <a:pt x="151" y="1004"/>
                </a:lnTo>
                <a:lnTo>
                  <a:pt x="135" y="1009"/>
                </a:lnTo>
                <a:lnTo>
                  <a:pt x="121" y="1016"/>
                </a:lnTo>
                <a:lnTo>
                  <a:pt x="108" y="1023"/>
                </a:lnTo>
                <a:lnTo>
                  <a:pt x="96" y="1033"/>
                </a:lnTo>
                <a:lnTo>
                  <a:pt x="86" y="1044"/>
                </a:lnTo>
                <a:lnTo>
                  <a:pt x="77" y="1056"/>
                </a:lnTo>
                <a:lnTo>
                  <a:pt x="68" y="1069"/>
                </a:lnTo>
                <a:lnTo>
                  <a:pt x="62" y="1083"/>
                </a:lnTo>
                <a:lnTo>
                  <a:pt x="55" y="1098"/>
                </a:lnTo>
                <a:lnTo>
                  <a:pt x="51" y="1114"/>
                </a:lnTo>
                <a:lnTo>
                  <a:pt x="46" y="1132"/>
                </a:lnTo>
                <a:lnTo>
                  <a:pt x="43" y="1150"/>
                </a:lnTo>
                <a:lnTo>
                  <a:pt x="41" y="1170"/>
                </a:lnTo>
                <a:lnTo>
                  <a:pt x="0" y="1611"/>
                </a:lnTo>
                <a:lnTo>
                  <a:pt x="78" y="1611"/>
                </a:lnTo>
                <a:lnTo>
                  <a:pt x="118" y="1176"/>
                </a:lnTo>
                <a:lnTo>
                  <a:pt x="118" y="1176"/>
                </a:lnTo>
                <a:lnTo>
                  <a:pt x="122" y="1149"/>
                </a:lnTo>
                <a:lnTo>
                  <a:pt x="124" y="1137"/>
                </a:lnTo>
                <a:lnTo>
                  <a:pt x="128" y="1126"/>
                </a:lnTo>
                <a:lnTo>
                  <a:pt x="131" y="1118"/>
                </a:lnTo>
                <a:lnTo>
                  <a:pt x="134" y="1109"/>
                </a:lnTo>
                <a:lnTo>
                  <a:pt x="138" y="1101"/>
                </a:lnTo>
                <a:lnTo>
                  <a:pt x="144" y="1096"/>
                </a:lnTo>
                <a:lnTo>
                  <a:pt x="149" y="1091"/>
                </a:lnTo>
                <a:lnTo>
                  <a:pt x="156" y="1086"/>
                </a:lnTo>
                <a:lnTo>
                  <a:pt x="162" y="1082"/>
                </a:lnTo>
                <a:lnTo>
                  <a:pt x="170" y="1080"/>
                </a:lnTo>
                <a:lnTo>
                  <a:pt x="177" y="1078"/>
                </a:lnTo>
                <a:lnTo>
                  <a:pt x="186" y="1077"/>
                </a:lnTo>
                <a:lnTo>
                  <a:pt x="206" y="1075"/>
                </a:lnTo>
                <a:lnTo>
                  <a:pt x="392" y="1075"/>
                </a:lnTo>
                <a:lnTo>
                  <a:pt x="392" y="1075"/>
                </a:lnTo>
                <a:lnTo>
                  <a:pt x="405" y="1075"/>
                </a:lnTo>
                <a:lnTo>
                  <a:pt x="419" y="1077"/>
                </a:lnTo>
                <a:lnTo>
                  <a:pt x="431" y="1080"/>
                </a:lnTo>
                <a:lnTo>
                  <a:pt x="444" y="1083"/>
                </a:lnTo>
                <a:lnTo>
                  <a:pt x="455" y="1087"/>
                </a:lnTo>
                <a:lnTo>
                  <a:pt x="467" y="1092"/>
                </a:lnTo>
                <a:lnTo>
                  <a:pt x="477" y="1098"/>
                </a:lnTo>
                <a:lnTo>
                  <a:pt x="486" y="1105"/>
                </a:lnTo>
                <a:lnTo>
                  <a:pt x="496" y="1112"/>
                </a:lnTo>
                <a:lnTo>
                  <a:pt x="504" y="1121"/>
                </a:lnTo>
                <a:lnTo>
                  <a:pt x="512" y="1130"/>
                </a:lnTo>
                <a:lnTo>
                  <a:pt x="519" y="1139"/>
                </a:lnTo>
                <a:lnTo>
                  <a:pt x="525" y="1150"/>
                </a:lnTo>
                <a:lnTo>
                  <a:pt x="531" y="1161"/>
                </a:lnTo>
                <a:lnTo>
                  <a:pt x="535" y="1173"/>
                </a:lnTo>
                <a:lnTo>
                  <a:pt x="538" y="1185"/>
                </a:lnTo>
                <a:lnTo>
                  <a:pt x="612" y="1482"/>
                </a:lnTo>
                <a:lnTo>
                  <a:pt x="956" y="1531"/>
                </a:lnTo>
                <a:lnTo>
                  <a:pt x="956" y="1696"/>
                </a:lnTo>
                <a:lnTo>
                  <a:pt x="455" y="1696"/>
                </a:lnTo>
                <a:lnTo>
                  <a:pt x="305" y="1352"/>
                </a:lnTo>
                <a:lnTo>
                  <a:pt x="269" y="1368"/>
                </a:lnTo>
                <a:lnTo>
                  <a:pt x="379" y="1619"/>
                </a:lnTo>
                <a:lnTo>
                  <a:pt x="379" y="1619"/>
                </a:lnTo>
                <a:lnTo>
                  <a:pt x="364" y="1636"/>
                </a:lnTo>
                <a:lnTo>
                  <a:pt x="350" y="1652"/>
                </a:lnTo>
                <a:lnTo>
                  <a:pt x="336" y="1670"/>
                </a:lnTo>
                <a:lnTo>
                  <a:pt x="324" y="1687"/>
                </a:lnTo>
                <a:lnTo>
                  <a:pt x="311" y="1704"/>
                </a:lnTo>
                <a:lnTo>
                  <a:pt x="300" y="1722"/>
                </a:lnTo>
                <a:lnTo>
                  <a:pt x="290" y="1739"/>
                </a:lnTo>
                <a:lnTo>
                  <a:pt x="280" y="1757"/>
                </a:lnTo>
                <a:lnTo>
                  <a:pt x="270" y="1776"/>
                </a:lnTo>
                <a:lnTo>
                  <a:pt x="263" y="1794"/>
                </a:lnTo>
                <a:lnTo>
                  <a:pt x="255" y="1813"/>
                </a:lnTo>
                <a:lnTo>
                  <a:pt x="247" y="1831"/>
                </a:lnTo>
                <a:lnTo>
                  <a:pt x="242" y="1851"/>
                </a:lnTo>
                <a:lnTo>
                  <a:pt x="237" y="1869"/>
                </a:lnTo>
                <a:lnTo>
                  <a:pt x="232" y="1888"/>
                </a:lnTo>
                <a:lnTo>
                  <a:pt x="228" y="1908"/>
                </a:lnTo>
                <a:lnTo>
                  <a:pt x="2934" y="1893"/>
                </a:lnTo>
                <a:lnTo>
                  <a:pt x="2934" y="1893"/>
                </a:lnTo>
                <a:lnTo>
                  <a:pt x="2930" y="1877"/>
                </a:lnTo>
                <a:lnTo>
                  <a:pt x="2926" y="1859"/>
                </a:lnTo>
                <a:lnTo>
                  <a:pt x="2915" y="1826"/>
                </a:lnTo>
                <a:lnTo>
                  <a:pt x="2902" y="1792"/>
                </a:lnTo>
                <a:lnTo>
                  <a:pt x="2887" y="1759"/>
                </a:lnTo>
                <a:lnTo>
                  <a:pt x="2868" y="1728"/>
                </a:lnTo>
                <a:lnTo>
                  <a:pt x="2848" y="1697"/>
                </a:lnTo>
                <a:lnTo>
                  <a:pt x="2825" y="1666"/>
                </a:lnTo>
                <a:lnTo>
                  <a:pt x="2801" y="1636"/>
                </a:lnTo>
                <a:lnTo>
                  <a:pt x="2918" y="1368"/>
                </a:lnTo>
                <a:lnTo>
                  <a:pt x="2882" y="1352"/>
                </a:lnTo>
                <a:lnTo>
                  <a:pt x="2732" y="1696"/>
                </a:lnTo>
                <a:lnTo>
                  <a:pt x="2231" y="1696"/>
                </a:lnTo>
                <a:lnTo>
                  <a:pt x="2231" y="1531"/>
                </a:lnTo>
                <a:lnTo>
                  <a:pt x="2575" y="1482"/>
                </a:lnTo>
                <a:lnTo>
                  <a:pt x="2575" y="1482"/>
                </a:lnTo>
                <a:lnTo>
                  <a:pt x="2586" y="1446"/>
                </a:lnTo>
                <a:lnTo>
                  <a:pt x="2600" y="1400"/>
                </a:lnTo>
                <a:lnTo>
                  <a:pt x="2628" y="1293"/>
                </a:lnTo>
                <a:lnTo>
                  <a:pt x="2661" y="1160"/>
                </a:lnTo>
                <a:lnTo>
                  <a:pt x="2661" y="1160"/>
                </a:lnTo>
                <a:lnTo>
                  <a:pt x="2664" y="1150"/>
                </a:lnTo>
                <a:lnTo>
                  <a:pt x="2668" y="1140"/>
                </a:lnTo>
                <a:lnTo>
                  <a:pt x="2674" y="1132"/>
                </a:lnTo>
                <a:lnTo>
                  <a:pt x="2679" y="1123"/>
                </a:lnTo>
                <a:lnTo>
                  <a:pt x="2686" y="1116"/>
                </a:lnTo>
                <a:lnTo>
                  <a:pt x="2693" y="1109"/>
                </a:lnTo>
                <a:lnTo>
                  <a:pt x="2701" y="1103"/>
                </a:lnTo>
                <a:lnTo>
                  <a:pt x="2709" y="1097"/>
                </a:lnTo>
                <a:lnTo>
                  <a:pt x="2719" y="1092"/>
                </a:lnTo>
                <a:lnTo>
                  <a:pt x="2728" y="1087"/>
                </a:lnTo>
                <a:lnTo>
                  <a:pt x="2739" y="1083"/>
                </a:lnTo>
                <a:lnTo>
                  <a:pt x="2749" y="1081"/>
                </a:lnTo>
                <a:lnTo>
                  <a:pt x="2760" y="1078"/>
                </a:lnTo>
                <a:lnTo>
                  <a:pt x="2771" y="1077"/>
                </a:lnTo>
                <a:lnTo>
                  <a:pt x="2783" y="1075"/>
                </a:lnTo>
                <a:lnTo>
                  <a:pt x="2795" y="1075"/>
                </a:lnTo>
                <a:lnTo>
                  <a:pt x="2981" y="1075"/>
                </a:lnTo>
                <a:lnTo>
                  <a:pt x="2981" y="1075"/>
                </a:lnTo>
                <a:lnTo>
                  <a:pt x="3000" y="1077"/>
                </a:lnTo>
                <a:lnTo>
                  <a:pt x="3009" y="1078"/>
                </a:lnTo>
                <a:lnTo>
                  <a:pt x="3017" y="1080"/>
                </a:lnTo>
                <a:lnTo>
                  <a:pt x="3025" y="1082"/>
                </a:lnTo>
                <a:lnTo>
                  <a:pt x="3031" y="1086"/>
                </a:lnTo>
                <a:lnTo>
                  <a:pt x="3038" y="1091"/>
                </a:lnTo>
                <a:lnTo>
                  <a:pt x="3043" y="1096"/>
                </a:lnTo>
                <a:lnTo>
                  <a:pt x="3048" y="1101"/>
                </a:lnTo>
                <a:lnTo>
                  <a:pt x="3052" y="1109"/>
                </a:lnTo>
                <a:lnTo>
                  <a:pt x="3056" y="1118"/>
                </a:lnTo>
                <a:lnTo>
                  <a:pt x="3060" y="1126"/>
                </a:lnTo>
                <a:lnTo>
                  <a:pt x="3063" y="1137"/>
                </a:lnTo>
                <a:lnTo>
                  <a:pt x="3065" y="1149"/>
                </a:lnTo>
                <a:lnTo>
                  <a:pt x="3068" y="1176"/>
                </a:lnTo>
                <a:lnTo>
                  <a:pt x="3108" y="1611"/>
                </a:lnTo>
                <a:lnTo>
                  <a:pt x="3186" y="1611"/>
                </a:lnTo>
                <a:lnTo>
                  <a:pt x="3146" y="1170"/>
                </a:lnTo>
                <a:close/>
                <a:moveTo>
                  <a:pt x="1175" y="1795"/>
                </a:moveTo>
                <a:lnTo>
                  <a:pt x="1394" y="1306"/>
                </a:lnTo>
                <a:lnTo>
                  <a:pt x="1803" y="1306"/>
                </a:lnTo>
                <a:lnTo>
                  <a:pt x="2022" y="1795"/>
                </a:lnTo>
                <a:lnTo>
                  <a:pt x="1175" y="1795"/>
                </a:lnTo>
                <a:close/>
                <a:moveTo>
                  <a:pt x="1324" y="1713"/>
                </a:moveTo>
                <a:lnTo>
                  <a:pt x="1872" y="1713"/>
                </a:lnTo>
                <a:lnTo>
                  <a:pt x="1856" y="1674"/>
                </a:lnTo>
                <a:lnTo>
                  <a:pt x="1341" y="1674"/>
                </a:lnTo>
                <a:lnTo>
                  <a:pt x="1324" y="1713"/>
                </a:lnTo>
                <a:close/>
                <a:moveTo>
                  <a:pt x="1360" y="1632"/>
                </a:moveTo>
                <a:lnTo>
                  <a:pt x="1836" y="1632"/>
                </a:lnTo>
                <a:lnTo>
                  <a:pt x="1820" y="1593"/>
                </a:lnTo>
                <a:lnTo>
                  <a:pt x="1377" y="1593"/>
                </a:lnTo>
                <a:lnTo>
                  <a:pt x="1360" y="1632"/>
                </a:lnTo>
                <a:close/>
                <a:moveTo>
                  <a:pt x="1784" y="1511"/>
                </a:moveTo>
                <a:lnTo>
                  <a:pt x="1411" y="1511"/>
                </a:lnTo>
                <a:lnTo>
                  <a:pt x="1395" y="1550"/>
                </a:lnTo>
                <a:lnTo>
                  <a:pt x="1802" y="1550"/>
                </a:lnTo>
                <a:lnTo>
                  <a:pt x="1784" y="1511"/>
                </a:lnTo>
                <a:close/>
                <a:moveTo>
                  <a:pt x="113" y="766"/>
                </a:moveTo>
                <a:lnTo>
                  <a:pt x="113" y="766"/>
                </a:lnTo>
                <a:lnTo>
                  <a:pt x="119" y="783"/>
                </a:lnTo>
                <a:lnTo>
                  <a:pt x="125" y="799"/>
                </a:lnTo>
                <a:lnTo>
                  <a:pt x="133" y="814"/>
                </a:lnTo>
                <a:lnTo>
                  <a:pt x="143" y="828"/>
                </a:lnTo>
                <a:lnTo>
                  <a:pt x="152" y="842"/>
                </a:lnTo>
                <a:lnTo>
                  <a:pt x="162" y="855"/>
                </a:lnTo>
                <a:lnTo>
                  <a:pt x="174" y="867"/>
                </a:lnTo>
                <a:lnTo>
                  <a:pt x="187" y="878"/>
                </a:lnTo>
                <a:lnTo>
                  <a:pt x="200" y="888"/>
                </a:lnTo>
                <a:lnTo>
                  <a:pt x="214" y="897"/>
                </a:lnTo>
                <a:lnTo>
                  <a:pt x="228" y="904"/>
                </a:lnTo>
                <a:lnTo>
                  <a:pt x="243" y="911"/>
                </a:lnTo>
                <a:lnTo>
                  <a:pt x="259" y="915"/>
                </a:lnTo>
                <a:lnTo>
                  <a:pt x="276" y="919"/>
                </a:lnTo>
                <a:lnTo>
                  <a:pt x="292" y="921"/>
                </a:lnTo>
                <a:lnTo>
                  <a:pt x="309" y="923"/>
                </a:lnTo>
                <a:lnTo>
                  <a:pt x="309" y="923"/>
                </a:lnTo>
                <a:lnTo>
                  <a:pt x="331" y="920"/>
                </a:lnTo>
                <a:lnTo>
                  <a:pt x="351" y="917"/>
                </a:lnTo>
                <a:lnTo>
                  <a:pt x="371" y="912"/>
                </a:lnTo>
                <a:lnTo>
                  <a:pt x="390" y="904"/>
                </a:lnTo>
                <a:lnTo>
                  <a:pt x="409" y="894"/>
                </a:lnTo>
                <a:lnTo>
                  <a:pt x="426" y="882"/>
                </a:lnTo>
                <a:lnTo>
                  <a:pt x="441" y="869"/>
                </a:lnTo>
                <a:lnTo>
                  <a:pt x="456" y="854"/>
                </a:lnTo>
                <a:lnTo>
                  <a:pt x="469" y="838"/>
                </a:lnTo>
                <a:lnTo>
                  <a:pt x="481" y="821"/>
                </a:lnTo>
                <a:lnTo>
                  <a:pt x="491" y="802"/>
                </a:lnTo>
                <a:lnTo>
                  <a:pt x="499" y="783"/>
                </a:lnTo>
                <a:lnTo>
                  <a:pt x="507" y="761"/>
                </a:lnTo>
                <a:lnTo>
                  <a:pt x="511" y="740"/>
                </a:lnTo>
                <a:lnTo>
                  <a:pt x="514" y="718"/>
                </a:lnTo>
                <a:lnTo>
                  <a:pt x="516" y="695"/>
                </a:lnTo>
                <a:lnTo>
                  <a:pt x="516" y="631"/>
                </a:lnTo>
                <a:lnTo>
                  <a:pt x="516" y="631"/>
                </a:lnTo>
                <a:lnTo>
                  <a:pt x="516" y="618"/>
                </a:lnTo>
                <a:lnTo>
                  <a:pt x="514" y="605"/>
                </a:lnTo>
                <a:lnTo>
                  <a:pt x="512" y="593"/>
                </a:lnTo>
                <a:lnTo>
                  <a:pt x="510" y="580"/>
                </a:lnTo>
                <a:lnTo>
                  <a:pt x="504" y="556"/>
                </a:lnTo>
                <a:lnTo>
                  <a:pt x="495" y="533"/>
                </a:lnTo>
                <a:lnTo>
                  <a:pt x="484" y="511"/>
                </a:lnTo>
                <a:lnTo>
                  <a:pt x="471" y="491"/>
                </a:lnTo>
                <a:lnTo>
                  <a:pt x="457" y="473"/>
                </a:lnTo>
                <a:lnTo>
                  <a:pt x="440" y="455"/>
                </a:lnTo>
                <a:lnTo>
                  <a:pt x="461" y="443"/>
                </a:lnTo>
                <a:lnTo>
                  <a:pt x="461" y="443"/>
                </a:lnTo>
                <a:lnTo>
                  <a:pt x="467" y="440"/>
                </a:lnTo>
                <a:lnTo>
                  <a:pt x="472" y="436"/>
                </a:lnTo>
                <a:lnTo>
                  <a:pt x="476" y="431"/>
                </a:lnTo>
                <a:lnTo>
                  <a:pt x="479" y="427"/>
                </a:lnTo>
                <a:lnTo>
                  <a:pt x="480" y="423"/>
                </a:lnTo>
                <a:lnTo>
                  <a:pt x="481" y="417"/>
                </a:lnTo>
                <a:lnTo>
                  <a:pt x="482" y="413"/>
                </a:lnTo>
                <a:lnTo>
                  <a:pt x="482" y="409"/>
                </a:lnTo>
                <a:lnTo>
                  <a:pt x="481" y="404"/>
                </a:lnTo>
                <a:lnTo>
                  <a:pt x="479" y="400"/>
                </a:lnTo>
                <a:lnTo>
                  <a:pt x="477" y="397"/>
                </a:lnTo>
                <a:lnTo>
                  <a:pt x="474" y="394"/>
                </a:lnTo>
                <a:lnTo>
                  <a:pt x="471" y="390"/>
                </a:lnTo>
                <a:lnTo>
                  <a:pt x="468" y="388"/>
                </a:lnTo>
                <a:lnTo>
                  <a:pt x="464" y="387"/>
                </a:lnTo>
                <a:lnTo>
                  <a:pt x="459" y="387"/>
                </a:lnTo>
                <a:lnTo>
                  <a:pt x="300" y="385"/>
                </a:lnTo>
                <a:lnTo>
                  <a:pt x="300" y="385"/>
                </a:lnTo>
                <a:lnTo>
                  <a:pt x="289" y="385"/>
                </a:lnTo>
                <a:lnTo>
                  <a:pt x="289" y="385"/>
                </a:lnTo>
                <a:lnTo>
                  <a:pt x="275" y="385"/>
                </a:lnTo>
                <a:lnTo>
                  <a:pt x="260" y="386"/>
                </a:lnTo>
                <a:lnTo>
                  <a:pt x="246" y="388"/>
                </a:lnTo>
                <a:lnTo>
                  <a:pt x="233" y="391"/>
                </a:lnTo>
                <a:lnTo>
                  <a:pt x="233" y="391"/>
                </a:lnTo>
                <a:lnTo>
                  <a:pt x="214" y="398"/>
                </a:lnTo>
                <a:lnTo>
                  <a:pt x="197" y="405"/>
                </a:lnTo>
                <a:lnTo>
                  <a:pt x="180" y="414"/>
                </a:lnTo>
                <a:lnTo>
                  <a:pt x="164" y="425"/>
                </a:lnTo>
                <a:lnTo>
                  <a:pt x="149" y="437"/>
                </a:lnTo>
                <a:lnTo>
                  <a:pt x="135" y="450"/>
                </a:lnTo>
                <a:lnTo>
                  <a:pt x="122" y="464"/>
                </a:lnTo>
                <a:lnTo>
                  <a:pt x="110" y="479"/>
                </a:lnTo>
                <a:lnTo>
                  <a:pt x="99" y="495"/>
                </a:lnTo>
                <a:lnTo>
                  <a:pt x="90" y="513"/>
                </a:lnTo>
                <a:lnTo>
                  <a:pt x="82" y="531"/>
                </a:lnTo>
                <a:lnTo>
                  <a:pt x="76" y="551"/>
                </a:lnTo>
                <a:lnTo>
                  <a:pt x="70" y="570"/>
                </a:lnTo>
                <a:lnTo>
                  <a:pt x="66" y="590"/>
                </a:lnTo>
                <a:lnTo>
                  <a:pt x="64" y="610"/>
                </a:lnTo>
                <a:lnTo>
                  <a:pt x="63" y="631"/>
                </a:lnTo>
                <a:lnTo>
                  <a:pt x="63" y="695"/>
                </a:lnTo>
                <a:lnTo>
                  <a:pt x="63" y="695"/>
                </a:lnTo>
                <a:lnTo>
                  <a:pt x="64" y="706"/>
                </a:lnTo>
                <a:lnTo>
                  <a:pt x="66" y="717"/>
                </a:lnTo>
                <a:lnTo>
                  <a:pt x="70" y="727"/>
                </a:lnTo>
                <a:lnTo>
                  <a:pt x="77" y="736"/>
                </a:lnTo>
                <a:lnTo>
                  <a:pt x="83" y="745"/>
                </a:lnTo>
                <a:lnTo>
                  <a:pt x="92" y="752"/>
                </a:lnTo>
                <a:lnTo>
                  <a:pt x="103" y="760"/>
                </a:lnTo>
                <a:lnTo>
                  <a:pt x="113" y="766"/>
                </a:lnTo>
                <a:lnTo>
                  <a:pt x="113" y="766"/>
                </a:lnTo>
                <a:close/>
                <a:moveTo>
                  <a:pt x="142" y="665"/>
                </a:moveTo>
                <a:lnTo>
                  <a:pt x="222" y="665"/>
                </a:lnTo>
                <a:lnTo>
                  <a:pt x="222" y="606"/>
                </a:lnTo>
                <a:lnTo>
                  <a:pt x="335" y="603"/>
                </a:lnTo>
                <a:lnTo>
                  <a:pt x="284" y="542"/>
                </a:lnTo>
                <a:lnTo>
                  <a:pt x="404" y="476"/>
                </a:lnTo>
                <a:lnTo>
                  <a:pt x="404" y="476"/>
                </a:lnTo>
                <a:lnTo>
                  <a:pt x="419" y="489"/>
                </a:lnTo>
                <a:lnTo>
                  <a:pt x="433" y="505"/>
                </a:lnTo>
                <a:lnTo>
                  <a:pt x="446" y="523"/>
                </a:lnTo>
                <a:lnTo>
                  <a:pt x="457" y="542"/>
                </a:lnTo>
                <a:lnTo>
                  <a:pt x="465" y="563"/>
                </a:lnTo>
                <a:lnTo>
                  <a:pt x="471" y="584"/>
                </a:lnTo>
                <a:lnTo>
                  <a:pt x="473" y="595"/>
                </a:lnTo>
                <a:lnTo>
                  <a:pt x="476" y="607"/>
                </a:lnTo>
                <a:lnTo>
                  <a:pt x="477" y="619"/>
                </a:lnTo>
                <a:lnTo>
                  <a:pt x="477" y="631"/>
                </a:lnTo>
                <a:lnTo>
                  <a:pt x="477" y="695"/>
                </a:lnTo>
                <a:lnTo>
                  <a:pt x="477" y="695"/>
                </a:lnTo>
                <a:lnTo>
                  <a:pt x="476" y="714"/>
                </a:lnTo>
                <a:lnTo>
                  <a:pt x="473" y="733"/>
                </a:lnTo>
                <a:lnTo>
                  <a:pt x="469" y="751"/>
                </a:lnTo>
                <a:lnTo>
                  <a:pt x="464" y="769"/>
                </a:lnTo>
                <a:lnTo>
                  <a:pt x="456" y="785"/>
                </a:lnTo>
                <a:lnTo>
                  <a:pt x="447" y="801"/>
                </a:lnTo>
                <a:lnTo>
                  <a:pt x="438" y="815"/>
                </a:lnTo>
                <a:lnTo>
                  <a:pt x="427" y="828"/>
                </a:lnTo>
                <a:lnTo>
                  <a:pt x="415" y="841"/>
                </a:lnTo>
                <a:lnTo>
                  <a:pt x="402" y="851"/>
                </a:lnTo>
                <a:lnTo>
                  <a:pt x="388" y="861"/>
                </a:lnTo>
                <a:lnTo>
                  <a:pt x="374" y="868"/>
                </a:lnTo>
                <a:lnTo>
                  <a:pt x="358" y="875"/>
                </a:lnTo>
                <a:lnTo>
                  <a:pt x="343" y="879"/>
                </a:lnTo>
                <a:lnTo>
                  <a:pt x="326" y="882"/>
                </a:lnTo>
                <a:lnTo>
                  <a:pt x="309" y="884"/>
                </a:lnTo>
                <a:lnTo>
                  <a:pt x="309" y="884"/>
                </a:lnTo>
                <a:lnTo>
                  <a:pt x="292" y="882"/>
                </a:lnTo>
                <a:lnTo>
                  <a:pt x="276" y="879"/>
                </a:lnTo>
                <a:lnTo>
                  <a:pt x="259" y="875"/>
                </a:lnTo>
                <a:lnTo>
                  <a:pt x="244" y="868"/>
                </a:lnTo>
                <a:lnTo>
                  <a:pt x="230" y="861"/>
                </a:lnTo>
                <a:lnTo>
                  <a:pt x="216" y="851"/>
                </a:lnTo>
                <a:lnTo>
                  <a:pt x="203" y="841"/>
                </a:lnTo>
                <a:lnTo>
                  <a:pt x="191" y="828"/>
                </a:lnTo>
                <a:lnTo>
                  <a:pt x="180" y="815"/>
                </a:lnTo>
                <a:lnTo>
                  <a:pt x="171" y="801"/>
                </a:lnTo>
                <a:lnTo>
                  <a:pt x="162" y="785"/>
                </a:lnTo>
                <a:lnTo>
                  <a:pt x="155" y="769"/>
                </a:lnTo>
                <a:lnTo>
                  <a:pt x="149" y="751"/>
                </a:lnTo>
                <a:lnTo>
                  <a:pt x="145" y="733"/>
                </a:lnTo>
                <a:lnTo>
                  <a:pt x="143" y="714"/>
                </a:lnTo>
                <a:lnTo>
                  <a:pt x="142" y="695"/>
                </a:lnTo>
                <a:lnTo>
                  <a:pt x="142" y="665"/>
                </a:lnTo>
                <a:close/>
                <a:moveTo>
                  <a:pt x="1537" y="1467"/>
                </a:moveTo>
                <a:lnTo>
                  <a:pt x="1537" y="1467"/>
                </a:lnTo>
                <a:lnTo>
                  <a:pt x="1549" y="1467"/>
                </a:lnTo>
                <a:lnTo>
                  <a:pt x="1561" y="1466"/>
                </a:lnTo>
                <a:lnTo>
                  <a:pt x="1571" y="1465"/>
                </a:lnTo>
                <a:lnTo>
                  <a:pt x="1581" y="1461"/>
                </a:lnTo>
                <a:lnTo>
                  <a:pt x="1590" y="1459"/>
                </a:lnTo>
                <a:lnTo>
                  <a:pt x="1598" y="1456"/>
                </a:lnTo>
                <a:lnTo>
                  <a:pt x="1606" y="1452"/>
                </a:lnTo>
                <a:lnTo>
                  <a:pt x="1612" y="1447"/>
                </a:lnTo>
                <a:lnTo>
                  <a:pt x="1619" y="1443"/>
                </a:lnTo>
                <a:lnTo>
                  <a:pt x="1623" y="1438"/>
                </a:lnTo>
                <a:lnTo>
                  <a:pt x="1628" y="1432"/>
                </a:lnTo>
                <a:lnTo>
                  <a:pt x="1632" y="1427"/>
                </a:lnTo>
                <a:lnTo>
                  <a:pt x="1634" y="1421"/>
                </a:lnTo>
                <a:lnTo>
                  <a:pt x="1636" y="1415"/>
                </a:lnTo>
                <a:lnTo>
                  <a:pt x="1637" y="1409"/>
                </a:lnTo>
                <a:lnTo>
                  <a:pt x="1637" y="1403"/>
                </a:lnTo>
                <a:lnTo>
                  <a:pt x="1637" y="1397"/>
                </a:lnTo>
                <a:lnTo>
                  <a:pt x="1636" y="1391"/>
                </a:lnTo>
                <a:lnTo>
                  <a:pt x="1634" y="1385"/>
                </a:lnTo>
                <a:lnTo>
                  <a:pt x="1631" y="1379"/>
                </a:lnTo>
                <a:lnTo>
                  <a:pt x="1628" y="1374"/>
                </a:lnTo>
                <a:lnTo>
                  <a:pt x="1623" y="1368"/>
                </a:lnTo>
                <a:lnTo>
                  <a:pt x="1618" y="1364"/>
                </a:lnTo>
                <a:lnTo>
                  <a:pt x="1612" y="1358"/>
                </a:lnTo>
                <a:lnTo>
                  <a:pt x="1606" y="1354"/>
                </a:lnTo>
                <a:lnTo>
                  <a:pt x="1598" y="1351"/>
                </a:lnTo>
                <a:lnTo>
                  <a:pt x="1590" y="1348"/>
                </a:lnTo>
                <a:lnTo>
                  <a:pt x="1580" y="1344"/>
                </a:lnTo>
                <a:lnTo>
                  <a:pt x="1570" y="1342"/>
                </a:lnTo>
                <a:lnTo>
                  <a:pt x="1559" y="1340"/>
                </a:lnTo>
                <a:lnTo>
                  <a:pt x="1549" y="1339"/>
                </a:lnTo>
                <a:lnTo>
                  <a:pt x="1536" y="1339"/>
                </a:lnTo>
                <a:lnTo>
                  <a:pt x="1536" y="1339"/>
                </a:lnTo>
                <a:lnTo>
                  <a:pt x="1524" y="1339"/>
                </a:lnTo>
                <a:lnTo>
                  <a:pt x="1512" y="1340"/>
                </a:lnTo>
                <a:lnTo>
                  <a:pt x="1502" y="1342"/>
                </a:lnTo>
                <a:lnTo>
                  <a:pt x="1491" y="1344"/>
                </a:lnTo>
                <a:lnTo>
                  <a:pt x="1483" y="1348"/>
                </a:lnTo>
                <a:lnTo>
                  <a:pt x="1474" y="1351"/>
                </a:lnTo>
                <a:lnTo>
                  <a:pt x="1467" y="1354"/>
                </a:lnTo>
                <a:lnTo>
                  <a:pt x="1460" y="1358"/>
                </a:lnTo>
                <a:lnTo>
                  <a:pt x="1455" y="1364"/>
                </a:lnTo>
                <a:lnTo>
                  <a:pt x="1449" y="1368"/>
                </a:lnTo>
                <a:lnTo>
                  <a:pt x="1445" y="1374"/>
                </a:lnTo>
                <a:lnTo>
                  <a:pt x="1441" y="1379"/>
                </a:lnTo>
                <a:lnTo>
                  <a:pt x="1438" y="1385"/>
                </a:lnTo>
                <a:lnTo>
                  <a:pt x="1436" y="1391"/>
                </a:lnTo>
                <a:lnTo>
                  <a:pt x="1435" y="1397"/>
                </a:lnTo>
                <a:lnTo>
                  <a:pt x="1435" y="1403"/>
                </a:lnTo>
                <a:lnTo>
                  <a:pt x="1435" y="1409"/>
                </a:lnTo>
                <a:lnTo>
                  <a:pt x="1436" y="1415"/>
                </a:lnTo>
                <a:lnTo>
                  <a:pt x="1438" y="1421"/>
                </a:lnTo>
                <a:lnTo>
                  <a:pt x="1442" y="1427"/>
                </a:lnTo>
                <a:lnTo>
                  <a:pt x="1445" y="1432"/>
                </a:lnTo>
                <a:lnTo>
                  <a:pt x="1449" y="1438"/>
                </a:lnTo>
                <a:lnTo>
                  <a:pt x="1455" y="1443"/>
                </a:lnTo>
                <a:lnTo>
                  <a:pt x="1460" y="1447"/>
                </a:lnTo>
                <a:lnTo>
                  <a:pt x="1467" y="1452"/>
                </a:lnTo>
                <a:lnTo>
                  <a:pt x="1474" y="1456"/>
                </a:lnTo>
                <a:lnTo>
                  <a:pt x="1483" y="1459"/>
                </a:lnTo>
                <a:lnTo>
                  <a:pt x="1492" y="1461"/>
                </a:lnTo>
                <a:lnTo>
                  <a:pt x="1502" y="1465"/>
                </a:lnTo>
                <a:lnTo>
                  <a:pt x="1513" y="1466"/>
                </a:lnTo>
                <a:lnTo>
                  <a:pt x="1524" y="1467"/>
                </a:lnTo>
                <a:lnTo>
                  <a:pt x="1537" y="1467"/>
                </a:lnTo>
                <a:lnTo>
                  <a:pt x="1537" y="1467"/>
                </a:lnTo>
                <a:close/>
                <a:moveTo>
                  <a:pt x="1536" y="1374"/>
                </a:moveTo>
                <a:lnTo>
                  <a:pt x="1536" y="1374"/>
                </a:lnTo>
                <a:lnTo>
                  <a:pt x="1552" y="1375"/>
                </a:lnTo>
                <a:lnTo>
                  <a:pt x="1565" y="1377"/>
                </a:lnTo>
                <a:lnTo>
                  <a:pt x="1576" y="1380"/>
                </a:lnTo>
                <a:lnTo>
                  <a:pt x="1584" y="1384"/>
                </a:lnTo>
                <a:lnTo>
                  <a:pt x="1591" y="1389"/>
                </a:lnTo>
                <a:lnTo>
                  <a:pt x="1595" y="1392"/>
                </a:lnTo>
                <a:lnTo>
                  <a:pt x="1598" y="1396"/>
                </a:lnTo>
                <a:lnTo>
                  <a:pt x="1599" y="1398"/>
                </a:lnTo>
                <a:lnTo>
                  <a:pt x="1599" y="1398"/>
                </a:lnTo>
                <a:lnTo>
                  <a:pt x="1598" y="1401"/>
                </a:lnTo>
                <a:lnTo>
                  <a:pt x="1596" y="1405"/>
                </a:lnTo>
                <a:lnTo>
                  <a:pt x="1593" y="1408"/>
                </a:lnTo>
                <a:lnTo>
                  <a:pt x="1587" y="1414"/>
                </a:lnTo>
                <a:lnTo>
                  <a:pt x="1578" y="1418"/>
                </a:lnTo>
                <a:lnTo>
                  <a:pt x="1567" y="1421"/>
                </a:lnTo>
                <a:lnTo>
                  <a:pt x="1553" y="1423"/>
                </a:lnTo>
                <a:lnTo>
                  <a:pt x="1537" y="1424"/>
                </a:lnTo>
                <a:lnTo>
                  <a:pt x="1537" y="1424"/>
                </a:lnTo>
                <a:lnTo>
                  <a:pt x="1520" y="1423"/>
                </a:lnTo>
                <a:lnTo>
                  <a:pt x="1505" y="1421"/>
                </a:lnTo>
                <a:lnTo>
                  <a:pt x="1495" y="1417"/>
                </a:lnTo>
                <a:lnTo>
                  <a:pt x="1486" y="1414"/>
                </a:lnTo>
                <a:lnTo>
                  <a:pt x="1481" y="1408"/>
                </a:lnTo>
                <a:lnTo>
                  <a:pt x="1476" y="1405"/>
                </a:lnTo>
                <a:lnTo>
                  <a:pt x="1474" y="1401"/>
                </a:lnTo>
                <a:lnTo>
                  <a:pt x="1473" y="1398"/>
                </a:lnTo>
                <a:lnTo>
                  <a:pt x="1473" y="1398"/>
                </a:lnTo>
                <a:lnTo>
                  <a:pt x="1474" y="1396"/>
                </a:lnTo>
                <a:lnTo>
                  <a:pt x="1477" y="1392"/>
                </a:lnTo>
                <a:lnTo>
                  <a:pt x="1482" y="1389"/>
                </a:lnTo>
                <a:lnTo>
                  <a:pt x="1488" y="1384"/>
                </a:lnTo>
                <a:lnTo>
                  <a:pt x="1497" y="1380"/>
                </a:lnTo>
                <a:lnTo>
                  <a:pt x="1508" y="1377"/>
                </a:lnTo>
                <a:lnTo>
                  <a:pt x="1521" y="1375"/>
                </a:lnTo>
                <a:lnTo>
                  <a:pt x="1536" y="1374"/>
                </a:lnTo>
                <a:lnTo>
                  <a:pt x="1536" y="1374"/>
                </a:lnTo>
                <a:close/>
                <a:moveTo>
                  <a:pt x="1364" y="504"/>
                </a:moveTo>
                <a:lnTo>
                  <a:pt x="1364" y="504"/>
                </a:lnTo>
                <a:lnTo>
                  <a:pt x="1384" y="504"/>
                </a:lnTo>
                <a:lnTo>
                  <a:pt x="1401" y="503"/>
                </a:lnTo>
                <a:lnTo>
                  <a:pt x="1414" y="502"/>
                </a:lnTo>
                <a:lnTo>
                  <a:pt x="1424" y="500"/>
                </a:lnTo>
                <a:lnTo>
                  <a:pt x="1424" y="500"/>
                </a:lnTo>
                <a:lnTo>
                  <a:pt x="1435" y="506"/>
                </a:lnTo>
                <a:lnTo>
                  <a:pt x="1446" y="512"/>
                </a:lnTo>
                <a:lnTo>
                  <a:pt x="1458" y="517"/>
                </a:lnTo>
                <a:lnTo>
                  <a:pt x="1469" y="520"/>
                </a:lnTo>
                <a:lnTo>
                  <a:pt x="1482" y="524"/>
                </a:lnTo>
                <a:lnTo>
                  <a:pt x="1494" y="527"/>
                </a:lnTo>
                <a:lnTo>
                  <a:pt x="1507" y="528"/>
                </a:lnTo>
                <a:lnTo>
                  <a:pt x="1520" y="529"/>
                </a:lnTo>
                <a:lnTo>
                  <a:pt x="1520" y="529"/>
                </a:lnTo>
                <a:lnTo>
                  <a:pt x="1532" y="528"/>
                </a:lnTo>
                <a:lnTo>
                  <a:pt x="1545" y="527"/>
                </a:lnTo>
                <a:lnTo>
                  <a:pt x="1558" y="524"/>
                </a:lnTo>
                <a:lnTo>
                  <a:pt x="1570" y="520"/>
                </a:lnTo>
                <a:lnTo>
                  <a:pt x="1582" y="516"/>
                </a:lnTo>
                <a:lnTo>
                  <a:pt x="1594" y="511"/>
                </a:lnTo>
                <a:lnTo>
                  <a:pt x="1605" y="505"/>
                </a:lnTo>
                <a:lnTo>
                  <a:pt x="1616" y="499"/>
                </a:lnTo>
                <a:lnTo>
                  <a:pt x="1616" y="499"/>
                </a:lnTo>
                <a:lnTo>
                  <a:pt x="1656" y="501"/>
                </a:lnTo>
                <a:lnTo>
                  <a:pt x="1700" y="501"/>
                </a:lnTo>
                <a:lnTo>
                  <a:pt x="1721" y="501"/>
                </a:lnTo>
                <a:lnTo>
                  <a:pt x="1739" y="499"/>
                </a:lnTo>
                <a:lnTo>
                  <a:pt x="1753" y="497"/>
                </a:lnTo>
                <a:lnTo>
                  <a:pt x="1758" y="494"/>
                </a:lnTo>
                <a:lnTo>
                  <a:pt x="1763" y="492"/>
                </a:lnTo>
                <a:lnTo>
                  <a:pt x="1763" y="492"/>
                </a:lnTo>
                <a:lnTo>
                  <a:pt x="1765" y="490"/>
                </a:lnTo>
                <a:lnTo>
                  <a:pt x="1766" y="488"/>
                </a:lnTo>
                <a:lnTo>
                  <a:pt x="1769" y="479"/>
                </a:lnTo>
                <a:lnTo>
                  <a:pt x="1772" y="467"/>
                </a:lnTo>
                <a:lnTo>
                  <a:pt x="1773" y="452"/>
                </a:lnTo>
                <a:lnTo>
                  <a:pt x="1776" y="435"/>
                </a:lnTo>
                <a:lnTo>
                  <a:pt x="1777" y="416"/>
                </a:lnTo>
                <a:lnTo>
                  <a:pt x="1777" y="373"/>
                </a:lnTo>
                <a:lnTo>
                  <a:pt x="1776" y="326"/>
                </a:lnTo>
                <a:lnTo>
                  <a:pt x="1772" y="280"/>
                </a:lnTo>
                <a:lnTo>
                  <a:pt x="1768" y="235"/>
                </a:lnTo>
                <a:lnTo>
                  <a:pt x="1762" y="197"/>
                </a:lnTo>
                <a:lnTo>
                  <a:pt x="1762" y="197"/>
                </a:lnTo>
                <a:lnTo>
                  <a:pt x="1758" y="180"/>
                </a:lnTo>
                <a:lnTo>
                  <a:pt x="1753" y="163"/>
                </a:lnTo>
                <a:lnTo>
                  <a:pt x="1748" y="144"/>
                </a:lnTo>
                <a:lnTo>
                  <a:pt x="1740" y="128"/>
                </a:lnTo>
                <a:lnTo>
                  <a:pt x="1732" y="111"/>
                </a:lnTo>
                <a:lnTo>
                  <a:pt x="1722" y="94"/>
                </a:lnTo>
                <a:lnTo>
                  <a:pt x="1711" y="79"/>
                </a:lnTo>
                <a:lnTo>
                  <a:pt x="1697" y="64"/>
                </a:lnTo>
                <a:lnTo>
                  <a:pt x="1682" y="51"/>
                </a:lnTo>
                <a:lnTo>
                  <a:pt x="1664" y="38"/>
                </a:lnTo>
                <a:lnTo>
                  <a:pt x="1645" y="27"/>
                </a:lnTo>
                <a:lnTo>
                  <a:pt x="1623" y="18"/>
                </a:lnTo>
                <a:lnTo>
                  <a:pt x="1599" y="11"/>
                </a:lnTo>
                <a:lnTo>
                  <a:pt x="1572" y="4"/>
                </a:lnTo>
                <a:lnTo>
                  <a:pt x="1543" y="1"/>
                </a:lnTo>
                <a:lnTo>
                  <a:pt x="1512" y="0"/>
                </a:lnTo>
                <a:lnTo>
                  <a:pt x="1512" y="0"/>
                </a:lnTo>
                <a:lnTo>
                  <a:pt x="1496" y="1"/>
                </a:lnTo>
                <a:lnTo>
                  <a:pt x="1481" y="2"/>
                </a:lnTo>
                <a:lnTo>
                  <a:pt x="1465" y="3"/>
                </a:lnTo>
                <a:lnTo>
                  <a:pt x="1453" y="7"/>
                </a:lnTo>
                <a:lnTo>
                  <a:pt x="1440" y="9"/>
                </a:lnTo>
                <a:lnTo>
                  <a:pt x="1427" y="13"/>
                </a:lnTo>
                <a:lnTo>
                  <a:pt x="1415" y="17"/>
                </a:lnTo>
                <a:lnTo>
                  <a:pt x="1404" y="22"/>
                </a:lnTo>
                <a:lnTo>
                  <a:pt x="1394" y="27"/>
                </a:lnTo>
                <a:lnTo>
                  <a:pt x="1384" y="33"/>
                </a:lnTo>
                <a:lnTo>
                  <a:pt x="1376" y="39"/>
                </a:lnTo>
                <a:lnTo>
                  <a:pt x="1367" y="46"/>
                </a:lnTo>
                <a:lnTo>
                  <a:pt x="1352" y="60"/>
                </a:lnTo>
                <a:lnTo>
                  <a:pt x="1339" y="75"/>
                </a:lnTo>
                <a:lnTo>
                  <a:pt x="1328" y="90"/>
                </a:lnTo>
                <a:lnTo>
                  <a:pt x="1318" y="106"/>
                </a:lnTo>
                <a:lnTo>
                  <a:pt x="1311" y="123"/>
                </a:lnTo>
                <a:lnTo>
                  <a:pt x="1304" y="139"/>
                </a:lnTo>
                <a:lnTo>
                  <a:pt x="1300" y="154"/>
                </a:lnTo>
                <a:lnTo>
                  <a:pt x="1296" y="169"/>
                </a:lnTo>
                <a:lnTo>
                  <a:pt x="1291" y="195"/>
                </a:lnTo>
                <a:lnTo>
                  <a:pt x="1291" y="195"/>
                </a:lnTo>
                <a:lnTo>
                  <a:pt x="1283" y="258"/>
                </a:lnTo>
                <a:lnTo>
                  <a:pt x="1274" y="341"/>
                </a:lnTo>
                <a:lnTo>
                  <a:pt x="1271" y="382"/>
                </a:lnTo>
                <a:lnTo>
                  <a:pt x="1269" y="416"/>
                </a:lnTo>
                <a:lnTo>
                  <a:pt x="1268" y="444"/>
                </a:lnTo>
                <a:lnTo>
                  <a:pt x="1269" y="453"/>
                </a:lnTo>
                <a:lnTo>
                  <a:pt x="1269" y="460"/>
                </a:lnTo>
                <a:lnTo>
                  <a:pt x="1269" y="460"/>
                </a:lnTo>
                <a:lnTo>
                  <a:pt x="1272" y="467"/>
                </a:lnTo>
                <a:lnTo>
                  <a:pt x="1276" y="475"/>
                </a:lnTo>
                <a:lnTo>
                  <a:pt x="1283" y="482"/>
                </a:lnTo>
                <a:lnTo>
                  <a:pt x="1291" y="489"/>
                </a:lnTo>
                <a:lnTo>
                  <a:pt x="1303" y="494"/>
                </a:lnTo>
                <a:lnTo>
                  <a:pt x="1320" y="499"/>
                </a:lnTo>
                <a:lnTo>
                  <a:pt x="1339" y="502"/>
                </a:lnTo>
                <a:lnTo>
                  <a:pt x="1364" y="504"/>
                </a:lnTo>
                <a:lnTo>
                  <a:pt x="1364" y="504"/>
                </a:lnTo>
                <a:close/>
                <a:moveTo>
                  <a:pt x="1369" y="276"/>
                </a:moveTo>
                <a:lnTo>
                  <a:pt x="1369" y="276"/>
                </a:lnTo>
                <a:lnTo>
                  <a:pt x="1369" y="266"/>
                </a:lnTo>
                <a:lnTo>
                  <a:pt x="1370" y="254"/>
                </a:lnTo>
                <a:lnTo>
                  <a:pt x="1376" y="232"/>
                </a:lnTo>
                <a:lnTo>
                  <a:pt x="1376" y="232"/>
                </a:lnTo>
                <a:lnTo>
                  <a:pt x="1381" y="239"/>
                </a:lnTo>
                <a:lnTo>
                  <a:pt x="1388" y="245"/>
                </a:lnTo>
                <a:lnTo>
                  <a:pt x="1397" y="250"/>
                </a:lnTo>
                <a:lnTo>
                  <a:pt x="1408" y="256"/>
                </a:lnTo>
                <a:lnTo>
                  <a:pt x="1421" y="259"/>
                </a:lnTo>
                <a:lnTo>
                  <a:pt x="1436" y="261"/>
                </a:lnTo>
                <a:lnTo>
                  <a:pt x="1455" y="262"/>
                </a:lnTo>
                <a:lnTo>
                  <a:pt x="1475" y="260"/>
                </a:lnTo>
                <a:lnTo>
                  <a:pt x="1475" y="260"/>
                </a:lnTo>
                <a:lnTo>
                  <a:pt x="1488" y="258"/>
                </a:lnTo>
                <a:lnTo>
                  <a:pt x="1499" y="256"/>
                </a:lnTo>
                <a:lnTo>
                  <a:pt x="1518" y="250"/>
                </a:lnTo>
                <a:lnTo>
                  <a:pt x="1536" y="244"/>
                </a:lnTo>
                <a:lnTo>
                  <a:pt x="1553" y="237"/>
                </a:lnTo>
                <a:lnTo>
                  <a:pt x="1571" y="231"/>
                </a:lnTo>
                <a:lnTo>
                  <a:pt x="1582" y="228"/>
                </a:lnTo>
                <a:lnTo>
                  <a:pt x="1594" y="225"/>
                </a:lnTo>
                <a:lnTo>
                  <a:pt x="1608" y="223"/>
                </a:lnTo>
                <a:lnTo>
                  <a:pt x="1623" y="222"/>
                </a:lnTo>
                <a:lnTo>
                  <a:pt x="1641" y="221"/>
                </a:lnTo>
                <a:lnTo>
                  <a:pt x="1660" y="221"/>
                </a:lnTo>
                <a:lnTo>
                  <a:pt x="1660" y="221"/>
                </a:lnTo>
                <a:lnTo>
                  <a:pt x="1664" y="234"/>
                </a:lnTo>
                <a:lnTo>
                  <a:pt x="1666" y="248"/>
                </a:lnTo>
                <a:lnTo>
                  <a:pt x="1669" y="262"/>
                </a:lnTo>
                <a:lnTo>
                  <a:pt x="1670" y="276"/>
                </a:lnTo>
                <a:lnTo>
                  <a:pt x="1670" y="322"/>
                </a:lnTo>
                <a:lnTo>
                  <a:pt x="1670" y="322"/>
                </a:lnTo>
                <a:lnTo>
                  <a:pt x="1669" y="339"/>
                </a:lnTo>
                <a:lnTo>
                  <a:pt x="1666" y="356"/>
                </a:lnTo>
                <a:lnTo>
                  <a:pt x="1662" y="372"/>
                </a:lnTo>
                <a:lnTo>
                  <a:pt x="1657" y="387"/>
                </a:lnTo>
                <a:lnTo>
                  <a:pt x="1651" y="402"/>
                </a:lnTo>
                <a:lnTo>
                  <a:pt x="1643" y="416"/>
                </a:lnTo>
                <a:lnTo>
                  <a:pt x="1634" y="429"/>
                </a:lnTo>
                <a:lnTo>
                  <a:pt x="1624" y="441"/>
                </a:lnTo>
                <a:lnTo>
                  <a:pt x="1614" y="452"/>
                </a:lnTo>
                <a:lnTo>
                  <a:pt x="1603" y="461"/>
                </a:lnTo>
                <a:lnTo>
                  <a:pt x="1590" y="469"/>
                </a:lnTo>
                <a:lnTo>
                  <a:pt x="1577" y="477"/>
                </a:lnTo>
                <a:lnTo>
                  <a:pt x="1563" y="482"/>
                </a:lnTo>
                <a:lnTo>
                  <a:pt x="1549" y="487"/>
                </a:lnTo>
                <a:lnTo>
                  <a:pt x="1535" y="489"/>
                </a:lnTo>
                <a:lnTo>
                  <a:pt x="1520" y="490"/>
                </a:lnTo>
                <a:lnTo>
                  <a:pt x="1520" y="490"/>
                </a:lnTo>
                <a:lnTo>
                  <a:pt x="1504" y="489"/>
                </a:lnTo>
                <a:lnTo>
                  <a:pt x="1489" y="487"/>
                </a:lnTo>
                <a:lnTo>
                  <a:pt x="1475" y="482"/>
                </a:lnTo>
                <a:lnTo>
                  <a:pt x="1461" y="477"/>
                </a:lnTo>
                <a:lnTo>
                  <a:pt x="1448" y="469"/>
                </a:lnTo>
                <a:lnTo>
                  <a:pt x="1436" y="461"/>
                </a:lnTo>
                <a:lnTo>
                  <a:pt x="1424" y="452"/>
                </a:lnTo>
                <a:lnTo>
                  <a:pt x="1414" y="441"/>
                </a:lnTo>
                <a:lnTo>
                  <a:pt x="1404" y="429"/>
                </a:lnTo>
                <a:lnTo>
                  <a:pt x="1395" y="416"/>
                </a:lnTo>
                <a:lnTo>
                  <a:pt x="1388" y="402"/>
                </a:lnTo>
                <a:lnTo>
                  <a:pt x="1381" y="387"/>
                </a:lnTo>
                <a:lnTo>
                  <a:pt x="1376" y="372"/>
                </a:lnTo>
                <a:lnTo>
                  <a:pt x="1373" y="356"/>
                </a:lnTo>
                <a:lnTo>
                  <a:pt x="1370" y="339"/>
                </a:lnTo>
                <a:lnTo>
                  <a:pt x="1369" y="322"/>
                </a:lnTo>
                <a:lnTo>
                  <a:pt x="1369" y="276"/>
                </a:lnTo>
                <a:close/>
              </a:path>
            </a:pathLst>
          </a:custGeom>
          <a:solidFill>
            <a:sysClr val="windowText" lastClr="000000">
              <a:lumMod val="50000"/>
              <a:lumOff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228" name="TextBox 227">
            <a:extLst>
              <a:ext uri="{FF2B5EF4-FFF2-40B4-BE49-F238E27FC236}">
                <a16:creationId xmlns:a16="http://schemas.microsoft.com/office/drawing/2014/main" id="{C34F475A-BC24-CD4B-A5D3-EB29BBF6E5E0}"/>
              </a:ext>
            </a:extLst>
          </p:cNvPr>
          <p:cNvSpPr txBox="1"/>
          <p:nvPr/>
        </p:nvSpPr>
        <p:spPr>
          <a:xfrm>
            <a:off x="246708" y="2419714"/>
            <a:ext cx="143905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Business Value Working Group</a:t>
            </a:r>
          </a:p>
        </p:txBody>
      </p:sp>
      <p:sp>
        <p:nvSpPr>
          <p:cNvPr id="229" name="Freeform 21">
            <a:extLst>
              <a:ext uri="{FF2B5EF4-FFF2-40B4-BE49-F238E27FC236}">
                <a16:creationId xmlns:a16="http://schemas.microsoft.com/office/drawing/2014/main" id="{43173873-3D98-804A-86D1-1D934E56257F}"/>
              </a:ext>
            </a:extLst>
          </p:cNvPr>
          <p:cNvSpPr>
            <a:spLocks noChangeAspect="1" noEditPoints="1"/>
          </p:cNvSpPr>
          <p:nvPr/>
        </p:nvSpPr>
        <p:spPr bwMode="auto">
          <a:xfrm>
            <a:off x="571673" y="4430151"/>
            <a:ext cx="789122" cy="538160"/>
          </a:xfrm>
          <a:custGeom>
            <a:avLst/>
            <a:gdLst>
              <a:gd name="T0" fmla="*/ 2147483647 w 6736"/>
              <a:gd name="T1" fmla="*/ 2147483647 h 4541"/>
              <a:gd name="T2" fmla="*/ 2147483647 w 6736"/>
              <a:gd name="T3" fmla="*/ 2147483647 h 4541"/>
              <a:gd name="T4" fmla="*/ 2147483647 w 6736"/>
              <a:gd name="T5" fmla="*/ 2147483647 h 4541"/>
              <a:gd name="T6" fmla="*/ 2147483647 w 6736"/>
              <a:gd name="T7" fmla="*/ 2147483647 h 4541"/>
              <a:gd name="T8" fmla="*/ 2147483647 w 6736"/>
              <a:gd name="T9" fmla="*/ 2147483647 h 4541"/>
              <a:gd name="T10" fmla="*/ 2147483647 w 6736"/>
              <a:gd name="T11" fmla="*/ 2147483647 h 4541"/>
              <a:gd name="T12" fmla="*/ 2147483647 w 6736"/>
              <a:gd name="T13" fmla="*/ 2147483647 h 4541"/>
              <a:gd name="T14" fmla="*/ 2147483647 w 6736"/>
              <a:gd name="T15" fmla="*/ 2147483647 h 4541"/>
              <a:gd name="T16" fmla="*/ 2147483647 w 6736"/>
              <a:gd name="T17" fmla="*/ 2147483647 h 4541"/>
              <a:gd name="T18" fmla="*/ 2147483647 w 6736"/>
              <a:gd name="T19" fmla="*/ 2147483647 h 4541"/>
              <a:gd name="T20" fmla="*/ 2147483647 w 6736"/>
              <a:gd name="T21" fmla="*/ 2147483647 h 4541"/>
              <a:gd name="T22" fmla="*/ 2147483647 w 6736"/>
              <a:gd name="T23" fmla="*/ 2147483647 h 4541"/>
              <a:gd name="T24" fmla="*/ 2147483647 w 6736"/>
              <a:gd name="T25" fmla="*/ 2147483647 h 4541"/>
              <a:gd name="T26" fmla="*/ 2147483647 w 6736"/>
              <a:gd name="T27" fmla="*/ 2147483647 h 4541"/>
              <a:gd name="T28" fmla="*/ 2147483647 w 6736"/>
              <a:gd name="T29" fmla="*/ 2147483647 h 4541"/>
              <a:gd name="T30" fmla="*/ 2147483647 w 6736"/>
              <a:gd name="T31" fmla="*/ 2147483647 h 4541"/>
              <a:gd name="T32" fmla="*/ 2147483647 w 6736"/>
              <a:gd name="T33" fmla="*/ 2147483647 h 4541"/>
              <a:gd name="T34" fmla="*/ 2147483647 w 6736"/>
              <a:gd name="T35" fmla="*/ 2147483647 h 4541"/>
              <a:gd name="T36" fmla="*/ 2147483647 w 6736"/>
              <a:gd name="T37" fmla="*/ 2147483647 h 4541"/>
              <a:gd name="T38" fmla="*/ 2147483647 w 6736"/>
              <a:gd name="T39" fmla="*/ 2147483647 h 4541"/>
              <a:gd name="T40" fmla="*/ 2147483647 w 6736"/>
              <a:gd name="T41" fmla="*/ 2147483647 h 4541"/>
              <a:gd name="T42" fmla="*/ 2147483647 w 6736"/>
              <a:gd name="T43" fmla="*/ 2147483647 h 4541"/>
              <a:gd name="T44" fmla="*/ 2147483647 w 6736"/>
              <a:gd name="T45" fmla="*/ 2147483647 h 4541"/>
              <a:gd name="T46" fmla="*/ 2147483647 w 6736"/>
              <a:gd name="T47" fmla="*/ 2147483647 h 4541"/>
              <a:gd name="T48" fmla="*/ 2147483647 w 6736"/>
              <a:gd name="T49" fmla="*/ 2147483647 h 4541"/>
              <a:gd name="T50" fmla="*/ 2147483647 w 6736"/>
              <a:gd name="T51" fmla="*/ 2147483647 h 4541"/>
              <a:gd name="T52" fmla="*/ 2147483647 w 6736"/>
              <a:gd name="T53" fmla="*/ 2147483647 h 4541"/>
              <a:gd name="T54" fmla="*/ 2147483647 w 6736"/>
              <a:gd name="T55" fmla="*/ 2147483647 h 4541"/>
              <a:gd name="T56" fmla="*/ 2147483647 w 6736"/>
              <a:gd name="T57" fmla="*/ 2147483647 h 4541"/>
              <a:gd name="T58" fmla="*/ 2147483647 w 6736"/>
              <a:gd name="T59" fmla="*/ 2147483647 h 4541"/>
              <a:gd name="T60" fmla="*/ 2147483647 w 6736"/>
              <a:gd name="T61" fmla="*/ 2147483647 h 4541"/>
              <a:gd name="T62" fmla="*/ 2147483647 w 6736"/>
              <a:gd name="T63" fmla="*/ 2147483647 h 4541"/>
              <a:gd name="T64" fmla="*/ 2147483647 w 6736"/>
              <a:gd name="T65" fmla="*/ 2147483647 h 4541"/>
              <a:gd name="T66" fmla="*/ 2147483647 w 6736"/>
              <a:gd name="T67" fmla="*/ 2147483647 h 4541"/>
              <a:gd name="T68" fmla="*/ 2147483647 w 6736"/>
              <a:gd name="T69" fmla="*/ 2147483647 h 4541"/>
              <a:gd name="T70" fmla="*/ 2147483647 w 6736"/>
              <a:gd name="T71" fmla="*/ 2147483647 h 4541"/>
              <a:gd name="T72" fmla="*/ 2147483647 w 6736"/>
              <a:gd name="T73" fmla="*/ 2147483647 h 4541"/>
              <a:gd name="T74" fmla="*/ 2147483647 w 6736"/>
              <a:gd name="T75" fmla="*/ 2147483647 h 4541"/>
              <a:gd name="T76" fmla="*/ 2147483647 w 6736"/>
              <a:gd name="T77" fmla="*/ 2147483647 h 4541"/>
              <a:gd name="T78" fmla="*/ 2147483647 w 6736"/>
              <a:gd name="T79" fmla="*/ 2147483647 h 4541"/>
              <a:gd name="T80" fmla="*/ 2147483647 w 6736"/>
              <a:gd name="T81" fmla="*/ 2147483647 h 4541"/>
              <a:gd name="T82" fmla="*/ 2147483647 w 6736"/>
              <a:gd name="T83" fmla="*/ 2147483647 h 4541"/>
              <a:gd name="T84" fmla="*/ 2147483647 w 6736"/>
              <a:gd name="T85" fmla="*/ 2147483647 h 4541"/>
              <a:gd name="T86" fmla="*/ 2147483647 w 6736"/>
              <a:gd name="T87" fmla="*/ 2147483647 h 4541"/>
              <a:gd name="T88" fmla="*/ 2147483647 w 6736"/>
              <a:gd name="T89" fmla="*/ 2147483647 h 4541"/>
              <a:gd name="T90" fmla="*/ 2147483647 w 6736"/>
              <a:gd name="T91" fmla="*/ 2147483647 h 4541"/>
              <a:gd name="T92" fmla="*/ 2147483647 w 6736"/>
              <a:gd name="T93" fmla="*/ 2147483647 h 4541"/>
              <a:gd name="T94" fmla="*/ 2147483647 w 6736"/>
              <a:gd name="T95" fmla="*/ 2147483647 h 4541"/>
              <a:gd name="T96" fmla="*/ 2147483647 w 6736"/>
              <a:gd name="T97" fmla="*/ 2147483647 h 4541"/>
              <a:gd name="T98" fmla="*/ 2147483647 w 6736"/>
              <a:gd name="T99" fmla="*/ 2147483647 h 4541"/>
              <a:gd name="T100" fmla="*/ 2147483647 w 6736"/>
              <a:gd name="T101" fmla="*/ 2147483647 h 4541"/>
              <a:gd name="T102" fmla="*/ 2147483647 w 6736"/>
              <a:gd name="T103" fmla="*/ 2147483647 h 4541"/>
              <a:gd name="T104" fmla="*/ 2147483647 w 6736"/>
              <a:gd name="T105" fmla="*/ 2147483647 h 4541"/>
              <a:gd name="T106" fmla="*/ 2147483647 w 6736"/>
              <a:gd name="T107" fmla="*/ 2147483647 h 4541"/>
              <a:gd name="T108" fmla="*/ 2147483647 w 6736"/>
              <a:gd name="T109" fmla="*/ 2147483647 h 4541"/>
              <a:gd name="T110" fmla="*/ 2147483647 w 6736"/>
              <a:gd name="T111" fmla="*/ 2147483647 h 4541"/>
              <a:gd name="T112" fmla="*/ 2147483647 w 6736"/>
              <a:gd name="T113" fmla="*/ 2147483647 h 4541"/>
              <a:gd name="T114" fmla="*/ 2147483647 w 6736"/>
              <a:gd name="T115" fmla="*/ 2147483647 h 4541"/>
              <a:gd name="T116" fmla="*/ 2147483647 w 6736"/>
              <a:gd name="T117" fmla="*/ 2147483647 h 4541"/>
              <a:gd name="T118" fmla="*/ 2147483647 w 6736"/>
              <a:gd name="T119" fmla="*/ 2147483647 h 4541"/>
              <a:gd name="T120" fmla="*/ 2147483647 w 6736"/>
              <a:gd name="T121" fmla="*/ 2147483647 h 4541"/>
              <a:gd name="T122" fmla="*/ 2147483647 w 6736"/>
              <a:gd name="T123" fmla="*/ 2147483647 h 4541"/>
              <a:gd name="T124" fmla="*/ 2147483647 w 6736"/>
              <a:gd name="T125" fmla="*/ 2147483647 h 454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736"/>
              <a:gd name="T190" fmla="*/ 0 h 4541"/>
              <a:gd name="T191" fmla="*/ 6736 w 6736"/>
              <a:gd name="T192" fmla="*/ 4541 h 454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736" h="4541">
                <a:moveTo>
                  <a:pt x="4752" y="4109"/>
                </a:moveTo>
                <a:lnTo>
                  <a:pt x="4908" y="4050"/>
                </a:lnTo>
                <a:lnTo>
                  <a:pt x="5206" y="4117"/>
                </a:lnTo>
                <a:lnTo>
                  <a:pt x="5204" y="4187"/>
                </a:lnTo>
                <a:lnTo>
                  <a:pt x="5157" y="4175"/>
                </a:lnTo>
                <a:lnTo>
                  <a:pt x="5157" y="4194"/>
                </a:lnTo>
                <a:lnTo>
                  <a:pt x="4779" y="4194"/>
                </a:lnTo>
                <a:lnTo>
                  <a:pt x="4779" y="4153"/>
                </a:lnTo>
                <a:lnTo>
                  <a:pt x="4733" y="4163"/>
                </a:lnTo>
                <a:lnTo>
                  <a:pt x="4725" y="4165"/>
                </a:lnTo>
                <a:lnTo>
                  <a:pt x="4717" y="4165"/>
                </a:lnTo>
                <a:lnTo>
                  <a:pt x="4708" y="4163"/>
                </a:lnTo>
                <a:lnTo>
                  <a:pt x="4701" y="4160"/>
                </a:lnTo>
                <a:lnTo>
                  <a:pt x="4695" y="4155"/>
                </a:lnTo>
                <a:lnTo>
                  <a:pt x="4688" y="4150"/>
                </a:lnTo>
                <a:lnTo>
                  <a:pt x="4684" y="4143"/>
                </a:lnTo>
                <a:lnTo>
                  <a:pt x="4679" y="4134"/>
                </a:lnTo>
                <a:lnTo>
                  <a:pt x="4678" y="4126"/>
                </a:lnTo>
                <a:lnTo>
                  <a:pt x="4678" y="4117"/>
                </a:lnTo>
                <a:lnTo>
                  <a:pt x="4678" y="4107"/>
                </a:lnTo>
                <a:lnTo>
                  <a:pt x="4679" y="4099"/>
                </a:lnTo>
                <a:lnTo>
                  <a:pt x="4683" y="4089"/>
                </a:lnTo>
                <a:lnTo>
                  <a:pt x="4689" y="4078"/>
                </a:lnTo>
                <a:lnTo>
                  <a:pt x="4696" y="4070"/>
                </a:lnTo>
                <a:lnTo>
                  <a:pt x="4706" y="4061"/>
                </a:lnTo>
                <a:lnTo>
                  <a:pt x="4855" y="3941"/>
                </a:lnTo>
                <a:lnTo>
                  <a:pt x="4866" y="3933"/>
                </a:lnTo>
                <a:lnTo>
                  <a:pt x="4878" y="3928"/>
                </a:lnTo>
                <a:lnTo>
                  <a:pt x="4891" y="3923"/>
                </a:lnTo>
                <a:lnTo>
                  <a:pt x="4905" y="3919"/>
                </a:lnTo>
                <a:lnTo>
                  <a:pt x="4916" y="3916"/>
                </a:lnTo>
                <a:lnTo>
                  <a:pt x="4932" y="3916"/>
                </a:lnTo>
                <a:lnTo>
                  <a:pt x="4961" y="3914"/>
                </a:lnTo>
                <a:lnTo>
                  <a:pt x="5277" y="3914"/>
                </a:lnTo>
                <a:lnTo>
                  <a:pt x="5277" y="3982"/>
                </a:lnTo>
                <a:lnTo>
                  <a:pt x="4959" y="3980"/>
                </a:lnTo>
                <a:lnTo>
                  <a:pt x="4937" y="3980"/>
                </a:lnTo>
                <a:lnTo>
                  <a:pt x="4918" y="3985"/>
                </a:lnTo>
                <a:lnTo>
                  <a:pt x="4898" y="3994"/>
                </a:lnTo>
                <a:lnTo>
                  <a:pt x="4879" y="4004"/>
                </a:lnTo>
                <a:lnTo>
                  <a:pt x="4744" y="4095"/>
                </a:lnTo>
                <a:lnTo>
                  <a:pt x="4740" y="4097"/>
                </a:lnTo>
                <a:lnTo>
                  <a:pt x="4739" y="4100"/>
                </a:lnTo>
                <a:lnTo>
                  <a:pt x="4739" y="4102"/>
                </a:lnTo>
                <a:lnTo>
                  <a:pt x="4739" y="4106"/>
                </a:lnTo>
                <a:lnTo>
                  <a:pt x="4740" y="4107"/>
                </a:lnTo>
                <a:lnTo>
                  <a:pt x="4744" y="4109"/>
                </a:lnTo>
                <a:lnTo>
                  <a:pt x="4747" y="4109"/>
                </a:lnTo>
                <a:lnTo>
                  <a:pt x="4752" y="4109"/>
                </a:lnTo>
                <a:close/>
                <a:moveTo>
                  <a:pt x="5967" y="4499"/>
                </a:moveTo>
                <a:lnTo>
                  <a:pt x="5918" y="4243"/>
                </a:lnTo>
                <a:lnTo>
                  <a:pt x="6255" y="3873"/>
                </a:lnTo>
                <a:lnTo>
                  <a:pt x="6204" y="3828"/>
                </a:lnTo>
                <a:lnTo>
                  <a:pt x="5880" y="4182"/>
                </a:lnTo>
                <a:lnTo>
                  <a:pt x="5320" y="4182"/>
                </a:lnTo>
                <a:lnTo>
                  <a:pt x="5320" y="3912"/>
                </a:lnTo>
                <a:lnTo>
                  <a:pt x="5653" y="3838"/>
                </a:lnTo>
                <a:lnTo>
                  <a:pt x="5796" y="3628"/>
                </a:lnTo>
                <a:lnTo>
                  <a:pt x="5772" y="3506"/>
                </a:lnTo>
                <a:lnTo>
                  <a:pt x="5770" y="3489"/>
                </a:lnTo>
                <a:lnTo>
                  <a:pt x="5769" y="3474"/>
                </a:lnTo>
                <a:lnTo>
                  <a:pt x="5770" y="3457"/>
                </a:lnTo>
                <a:lnTo>
                  <a:pt x="5772" y="3441"/>
                </a:lnTo>
                <a:lnTo>
                  <a:pt x="5777" y="3424"/>
                </a:lnTo>
                <a:lnTo>
                  <a:pt x="5782" y="3409"/>
                </a:lnTo>
                <a:lnTo>
                  <a:pt x="5789" y="3394"/>
                </a:lnTo>
                <a:lnTo>
                  <a:pt x="5796" y="3379"/>
                </a:lnTo>
                <a:lnTo>
                  <a:pt x="5813" y="3350"/>
                </a:lnTo>
                <a:lnTo>
                  <a:pt x="5831" y="3326"/>
                </a:lnTo>
                <a:lnTo>
                  <a:pt x="5853" y="3304"/>
                </a:lnTo>
                <a:lnTo>
                  <a:pt x="5864" y="3296"/>
                </a:lnTo>
                <a:lnTo>
                  <a:pt x="5874" y="3289"/>
                </a:lnTo>
                <a:lnTo>
                  <a:pt x="6057" y="3172"/>
                </a:lnTo>
                <a:lnTo>
                  <a:pt x="6096" y="3155"/>
                </a:lnTo>
                <a:lnTo>
                  <a:pt x="6114" y="3150"/>
                </a:lnTo>
                <a:lnTo>
                  <a:pt x="6131" y="3145"/>
                </a:lnTo>
                <a:lnTo>
                  <a:pt x="6148" y="3141"/>
                </a:lnTo>
                <a:lnTo>
                  <a:pt x="6165" y="3141"/>
                </a:lnTo>
                <a:lnTo>
                  <a:pt x="6180" y="3141"/>
                </a:lnTo>
                <a:lnTo>
                  <a:pt x="6194" y="3143"/>
                </a:lnTo>
                <a:lnTo>
                  <a:pt x="6207" y="3148"/>
                </a:lnTo>
                <a:lnTo>
                  <a:pt x="6221" y="3153"/>
                </a:lnTo>
                <a:lnTo>
                  <a:pt x="6233" y="3162"/>
                </a:lnTo>
                <a:lnTo>
                  <a:pt x="6243" y="3172"/>
                </a:lnTo>
                <a:lnTo>
                  <a:pt x="6253" y="3185"/>
                </a:lnTo>
                <a:lnTo>
                  <a:pt x="6263" y="3201"/>
                </a:lnTo>
                <a:lnTo>
                  <a:pt x="6272" y="3218"/>
                </a:lnTo>
                <a:lnTo>
                  <a:pt x="6279" y="3238"/>
                </a:lnTo>
                <a:lnTo>
                  <a:pt x="6736" y="4382"/>
                </a:lnTo>
                <a:lnTo>
                  <a:pt x="6706" y="4541"/>
                </a:lnTo>
                <a:lnTo>
                  <a:pt x="5967" y="4499"/>
                </a:lnTo>
                <a:close/>
                <a:moveTo>
                  <a:pt x="769" y="4499"/>
                </a:moveTo>
                <a:lnTo>
                  <a:pt x="30" y="4541"/>
                </a:lnTo>
                <a:lnTo>
                  <a:pt x="0" y="4382"/>
                </a:lnTo>
                <a:lnTo>
                  <a:pt x="457" y="3238"/>
                </a:lnTo>
                <a:lnTo>
                  <a:pt x="466" y="3218"/>
                </a:lnTo>
                <a:lnTo>
                  <a:pt x="474" y="3201"/>
                </a:lnTo>
                <a:lnTo>
                  <a:pt x="483" y="3185"/>
                </a:lnTo>
                <a:lnTo>
                  <a:pt x="493" y="3172"/>
                </a:lnTo>
                <a:lnTo>
                  <a:pt x="505" y="3162"/>
                </a:lnTo>
                <a:lnTo>
                  <a:pt x="517" y="3153"/>
                </a:lnTo>
                <a:lnTo>
                  <a:pt x="529" y="3148"/>
                </a:lnTo>
                <a:lnTo>
                  <a:pt x="542" y="3143"/>
                </a:lnTo>
                <a:lnTo>
                  <a:pt x="557" y="3141"/>
                </a:lnTo>
                <a:lnTo>
                  <a:pt x="573" y="3141"/>
                </a:lnTo>
                <a:lnTo>
                  <a:pt x="588" y="3141"/>
                </a:lnTo>
                <a:lnTo>
                  <a:pt x="605" y="3145"/>
                </a:lnTo>
                <a:lnTo>
                  <a:pt x="622" y="3150"/>
                </a:lnTo>
                <a:lnTo>
                  <a:pt x="640" y="3155"/>
                </a:lnTo>
                <a:lnTo>
                  <a:pt x="679" y="3172"/>
                </a:lnTo>
                <a:lnTo>
                  <a:pt x="862" y="3289"/>
                </a:lnTo>
                <a:lnTo>
                  <a:pt x="874" y="3296"/>
                </a:lnTo>
                <a:lnTo>
                  <a:pt x="884" y="3304"/>
                </a:lnTo>
                <a:lnTo>
                  <a:pt x="905" y="3326"/>
                </a:lnTo>
                <a:lnTo>
                  <a:pt x="925" y="3350"/>
                </a:lnTo>
                <a:lnTo>
                  <a:pt x="942" y="3379"/>
                </a:lnTo>
                <a:lnTo>
                  <a:pt x="949" y="3394"/>
                </a:lnTo>
                <a:lnTo>
                  <a:pt x="956" y="3409"/>
                </a:lnTo>
                <a:lnTo>
                  <a:pt x="961" y="3424"/>
                </a:lnTo>
                <a:lnTo>
                  <a:pt x="964" y="3441"/>
                </a:lnTo>
                <a:lnTo>
                  <a:pt x="967" y="3457"/>
                </a:lnTo>
                <a:lnTo>
                  <a:pt x="967" y="3474"/>
                </a:lnTo>
                <a:lnTo>
                  <a:pt x="967" y="3489"/>
                </a:lnTo>
                <a:lnTo>
                  <a:pt x="966" y="3506"/>
                </a:lnTo>
                <a:lnTo>
                  <a:pt x="942" y="3628"/>
                </a:lnTo>
                <a:lnTo>
                  <a:pt x="1084" y="3838"/>
                </a:lnTo>
                <a:lnTo>
                  <a:pt x="1416" y="3912"/>
                </a:lnTo>
                <a:lnTo>
                  <a:pt x="1416" y="4182"/>
                </a:lnTo>
                <a:lnTo>
                  <a:pt x="856" y="4182"/>
                </a:lnTo>
                <a:lnTo>
                  <a:pt x="532" y="3828"/>
                </a:lnTo>
                <a:lnTo>
                  <a:pt x="481" y="3873"/>
                </a:lnTo>
                <a:lnTo>
                  <a:pt x="820" y="4243"/>
                </a:lnTo>
                <a:lnTo>
                  <a:pt x="769" y="4499"/>
                </a:lnTo>
                <a:close/>
                <a:moveTo>
                  <a:pt x="5967" y="2096"/>
                </a:moveTo>
                <a:lnTo>
                  <a:pt x="5918" y="1840"/>
                </a:lnTo>
                <a:lnTo>
                  <a:pt x="6255" y="1471"/>
                </a:lnTo>
                <a:lnTo>
                  <a:pt x="6206" y="1425"/>
                </a:lnTo>
                <a:lnTo>
                  <a:pt x="5880" y="1779"/>
                </a:lnTo>
                <a:lnTo>
                  <a:pt x="5320" y="1779"/>
                </a:lnTo>
                <a:lnTo>
                  <a:pt x="5320" y="1510"/>
                </a:lnTo>
                <a:lnTo>
                  <a:pt x="5653" y="1433"/>
                </a:lnTo>
                <a:lnTo>
                  <a:pt x="5796" y="1225"/>
                </a:lnTo>
                <a:lnTo>
                  <a:pt x="5772" y="1101"/>
                </a:lnTo>
                <a:lnTo>
                  <a:pt x="5770" y="1086"/>
                </a:lnTo>
                <a:lnTo>
                  <a:pt x="5769" y="1071"/>
                </a:lnTo>
                <a:lnTo>
                  <a:pt x="5770" y="1054"/>
                </a:lnTo>
                <a:lnTo>
                  <a:pt x="5772" y="1037"/>
                </a:lnTo>
                <a:lnTo>
                  <a:pt x="5777" y="1022"/>
                </a:lnTo>
                <a:lnTo>
                  <a:pt x="5782" y="1006"/>
                </a:lnTo>
                <a:lnTo>
                  <a:pt x="5789" y="991"/>
                </a:lnTo>
                <a:lnTo>
                  <a:pt x="5796" y="976"/>
                </a:lnTo>
                <a:lnTo>
                  <a:pt x="5813" y="947"/>
                </a:lnTo>
                <a:lnTo>
                  <a:pt x="5831" y="922"/>
                </a:lnTo>
                <a:lnTo>
                  <a:pt x="5853" y="901"/>
                </a:lnTo>
                <a:lnTo>
                  <a:pt x="5864" y="893"/>
                </a:lnTo>
                <a:lnTo>
                  <a:pt x="5874" y="884"/>
                </a:lnTo>
                <a:lnTo>
                  <a:pt x="6057" y="769"/>
                </a:lnTo>
                <a:lnTo>
                  <a:pt x="6096" y="752"/>
                </a:lnTo>
                <a:lnTo>
                  <a:pt x="6114" y="747"/>
                </a:lnTo>
                <a:lnTo>
                  <a:pt x="6131" y="742"/>
                </a:lnTo>
                <a:lnTo>
                  <a:pt x="6148" y="739"/>
                </a:lnTo>
                <a:lnTo>
                  <a:pt x="6165" y="737"/>
                </a:lnTo>
                <a:lnTo>
                  <a:pt x="6180" y="739"/>
                </a:lnTo>
                <a:lnTo>
                  <a:pt x="6194" y="740"/>
                </a:lnTo>
                <a:lnTo>
                  <a:pt x="6207" y="744"/>
                </a:lnTo>
                <a:lnTo>
                  <a:pt x="6221" y="751"/>
                </a:lnTo>
                <a:lnTo>
                  <a:pt x="6233" y="759"/>
                </a:lnTo>
                <a:lnTo>
                  <a:pt x="6243" y="769"/>
                </a:lnTo>
                <a:lnTo>
                  <a:pt x="6253" y="783"/>
                </a:lnTo>
                <a:lnTo>
                  <a:pt x="6263" y="798"/>
                </a:lnTo>
                <a:lnTo>
                  <a:pt x="6272" y="815"/>
                </a:lnTo>
                <a:lnTo>
                  <a:pt x="6279" y="835"/>
                </a:lnTo>
                <a:lnTo>
                  <a:pt x="6736" y="1977"/>
                </a:lnTo>
                <a:lnTo>
                  <a:pt x="6706" y="2138"/>
                </a:lnTo>
                <a:lnTo>
                  <a:pt x="5967" y="2096"/>
                </a:lnTo>
                <a:close/>
                <a:moveTo>
                  <a:pt x="769" y="2096"/>
                </a:moveTo>
                <a:lnTo>
                  <a:pt x="30" y="2138"/>
                </a:lnTo>
                <a:lnTo>
                  <a:pt x="0" y="1977"/>
                </a:lnTo>
                <a:lnTo>
                  <a:pt x="457" y="835"/>
                </a:lnTo>
                <a:lnTo>
                  <a:pt x="464" y="815"/>
                </a:lnTo>
                <a:lnTo>
                  <a:pt x="474" y="798"/>
                </a:lnTo>
                <a:lnTo>
                  <a:pt x="483" y="783"/>
                </a:lnTo>
                <a:lnTo>
                  <a:pt x="493" y="769"/>
                </a:lnTo>
                <a:lnTo>
                  <a:pt x="505" y="759"/>
                </a:lnTo>
                <a:lnTo>
                  <a:pt x="517" y="751"/>
                </a:lnTo>
                <a:lnTo>
                  <a:pt x="529" y="744"/>
                </a:lnTo>
                <a:lnTo>
                  <a:pt x="542" y="740"/>
                </a:lnTo>
                <a:lnTo>
                  <a:pt x="557" y="739"/>
                </a:lnTo>
                <a:lnTo>
                  <a:pt x="573" y="737"/>
                </a:lnTo>
                <a:lnTo>
                  <a:pt x="588" y="739"/>
                </a:lnTo>
                <a:lnTo>
                  <a:pt x="605" y="742"/>
                </a:lnTo>
                <a:lnTo>
                  <a:pt x="622" y="747"/>
                </a:lnTo>
                <a:lnTo>
                  <a:pt x="640" y="752"/>
                </a:lnTo>
                <a:lnTo>
                  <a:pt x="679" y="769"/>
                </a:lnTo>
                <a:lnTo>
                  <a:pt x="862" y="884"/>
                </a:lnTo>
                <a:lnTo>
                  <a:pt x="874" y="893"/>
                </a:lnTo>
                <a:lnTo>
                  <a:pt x="884" y="901"/>
                </a:lnTo>
                <a:lnTo>
                  <a:pt x="905" y="922"/>
                </a:lnTo>
                <a:lnTo>
                  <a:pt x="925" y="947"/>
                </a:lnTo>
                <a:lnTo>
                  <a:pt x="942" y="976"/>
                </a:lnTo>
                <a:lnTo>
                  <a:pt x="949" y="991"/>
                </a:lnTo>
                <a:lnTo>
                  <a:pt x="956" y="1006"/>
                </a:lnTo>
                <a:lnTo>
                  <a:pt x="961" y="1022"/>
                </a:lnTo>
                <a:lnTo>
                  <a:pt x="964" y="1039"/>
                </a:lnTo>
                <a:lnTo>
                  <a:pt x="967" y="1054"/>
                </a:lnTo>
                <a:lnTo>
                  <a:pt x="967" y="1071"/>
                </a:lnTo>
                <a:lnTo>
                  <a:pt x="967" y="1086"/>
                </a:lnTo>
                <a:lnTo>
                  <a:pt x="966" y="1101"/>
                </a:lnTo>
                <a:lnTo>
                  <a:pt x="940" y="1225"/>
                </a:lnTo>
                <a:lnTo>
                  <a:pt x="1084" y="1433"/>
                </a:lnTo>
                <a:lnTo>
                  <a:pt x="1416" y="1510"/>
                </a:lnTo>
                <a:lnTo>
                  <a:pt x="1416" y="1779"/>
                </a:lnTo>
                <a:lnTo>
                  <a:pt x="856" y="1779"/>
                </a:lnTo>
                <a:lnTo>
                  <a:pt x="532" y="1425"/>
                </a:lnTo>
                <a:lnTo>
                  <a:pt x="481" y="1471"/>
                </a:lnTo>
                <a:lnTo>
                  <a:pt x="820" y="1840"/>
                </a:lnTo>
                <a:lnTo>
                  <a:pt x="769" y="2096"/>
                </a:lnTo>
                <a:close/>
                <a:moveTo>
                  <a:pt x="2555" y="293"/>
                </a:moveTo>
                <a:lnTo>
                  <a:pt x="2555" y="293"/>
                </a:lnTo>
                <a:lnTo>
                  <a:pt x="2550" y="373"/>
                </a:lnTo>
                <a:lnTo>
                  <a:pt x="2545" y="452"/>
                </a:lnTo>
                <a:lnTo>
                  <a:pt x="2540" y="530"/>
                </a:lnTo>
                <a:lnTo>
                  <a:pt x="2531" y="610"/>
                </a:lnTo>
                <a:lnTo>
                  <a:pt x="2523" y="688"/>
                </a:lnTo>
                <a:lnTo>
                  <a:pt x="2512" y="766"/>
                </a:lnTo>
                <a:lnTo>
                  <a:pt x="2502" y="844"/>
                </a:lnTo>
                <a:lnTo>
                  <a:pt x="2490" y="922"/>
                </a:lnTo>
                <a:lnTo>
                  <a:pt x="2811" y="1745"/>
                </a:lnTo>
                <a:lnTo>
                  <a:pt x="2817" y="1760"/>
                </a:lnTo>
                <a:lnTo>
                  <a:pt x="2821" y="1776"/>
                </a:lnTo>
                <a:lnTo>
                  <a:pt x="2824" y="1791"/>
                </a:lnTo>
                <a:lnTo>
                  <a:pt x="2824" y="1808"/>
                </a:lnTo>
                <a:lnTo>
                  <a:pt x="2824" y="1823"/>
                </a:lnTo>
                <a:lnTo>
                  <a:pt x="2822" y="1838"/>
                </a:lnTo>
                <a:lnTo>
                  <a:pt x="2821" y="1854"/>
                </a:lnTo>
                <a:lnTo>
                  <a:pt x="2816" y="1867"/>
                </a:lnTo>
                <a:lnTo>
                  <a:pt x="2809" y="1881"/>
                </a:lnTo>
                <a:lnTo>
                  <a:pt x="2800" y="1893"/>
                </a:lnTo>
                <a:lnTo>
                  <a:pt x="2790" y="1903"/>
                </a:lnTo>
                <a:lnTo>
                  <a:pt x="2778" y="1913"/>
                </a:lnTo>
                <a:lnTo>
                  <a:pt x="2765" y="1920"/>
                </a:lnTo>
                <a:lnTo>
                  <a:pt x="2748" y="1927"/>
                </a:lnTo>
                <a:lnTo>
                  <a:pt x="2729" y="1930"/>
                </a:lnTo>
                <a:lnTo>
                  <a:pt x="2709" y="1930"/>
                </a:lnTo>
                <a:lnTo>
                  <a:pt x="1040" y="1930"/>
                </a:lnTo>
                <a:lnTo>
                  <a:pt x="1040" y="1862"/>
                </a:lnTo>
                <a:lnTo>
                  <a:pt x="2709" y="1862"/>
                </a:lnTo>
                <a:lnTo>
                  <a:pt x="2724" y="1862"/>
                </a:lnTo>
                <a:lnTo>
                  <a:pt x="2736" y="1857"/>
                </a:lnTo>
                <a:lnTo>
                  <a:pt x="2746" y="1850"/>
                </a:lnTo>
                <a:lnTo>
                  <a:pt x="2750" y="1845"/>
                </a:lnTo>
                <a:lnTo>
                  <a:pt x="2753" y="1840"/>
                </a:lnTo>
                <a:lnTo>
                  <a:pt x="2756" y="1833"/>
                </a:lnTo>
                <a:lnTo>
                  <a:pt x="2758" y="1827"/>
                </a:lnTo>
                <a:lnTo>
                  <a:pt x="2758" y="1811"/>
                </a:lnTo>
                <a:lnTo>
                  <a:pt x="2755" y="1793"/>
                </a:lnTo>
                <a:lnTo>
                  <a:pt x="2748" y="1769"/>
                </a:lnTo>
                <a:lnTo>
                  <a:pt x="2467" y="1049"/>
                </a:lnTo>
                <a:lnTo>
                  <a:pt x="2453" y="1120"/>
                </a:lnTo>
                <a:lnTo>
                  <a:pt x="2438" y="1191"/>
                </a:lnTo>
                <a:lnTo>
                  <a:pt x="2421" y="1262"/>
                </a:lnTo>
                <a:lnTo>
                  <a:pt x="2404" y="1333"/>
                </a:lnTo>
                <a:lnTo>
                  <a:pt x="2387" y="1405"/>
                </a:lnTo>
                <a:lnTo>
                  <a:pt x="2367" y="1474"/>
                </a:lnTo>
                <a:lnTo>
                  <a:pt x="2326" y="1615"/>
                </a:lnTo>
                <a:lnTo>
                  <a:pt x="2230" y="1596"/>
                </a:lnTo>
                <a:lnTo>
                  <a:pt x="2458" y="274"/>
                </a:lnTo>
                <a:lnTo>
                  <a:pt x="2555" y="293"/>
                </a:lnTo>
                <a:close/>
                <a:moveTo>
                  <a:pt x="1062" y="178"/>
                </a:moveTo>
                <a:lnTo>
                  <a:pt x="1062" y="178"/>
                </a:lnTo>
                <a:lnTo>
                  <a:pt x="1076" y="210"/>
                </a:lnTo>
                <a:lnTo>
                  <a:pt x="1086" y="242"/>
                </a:lnTo>
                <a:lnTo>
                  <a:pt x="1089" y="261"/>
                </a:lnTo>
                <a:lnTo>
                  <a:pt x="1091" y="278"/>
                </a:lnTo>
                <a:lnTo>
                  <a:pt x="1093" y="297"/>
                </a:lnTo>
                <a:lnTo>
                  <a:pt x="1093" y="313"/>
                </a:lnTo>
                <a:lnTo>
                  <a:pt x="1093" y="391"/>
                </a:lnTo>
                <a:lnTo>
                  <a:pt x="1093" y="420"/>
                </a:lnTo>
                <a:lnTo>
                  <a:pt x="1088" y="449"/>
                </a:lnTo>
                <a:lnTo>
                  <a:pt x="1081" y="476"/>
                </a:lnTo>
                <a:lnTo>
                  <a:pt x="1072" y="503"/>
                </a:lnTo>
                <a:lnTo>
                  <a:pt x="1062" y="529"/>
                </a:lnTo>
                <a:lnTo>
                  <a:pt x="1049" y="552"/>
                </a:lnTo>
                <a:lnTo>
                  <a:pt x="1033" y="574"/>
                </a:lnTo>
                <a:lnTo>
                  <a:pt x="1016" y="595"/>
                </a:lnTo>
                <a:lnTo>
                  <a:pt x="998" y="613"/>
                </a:lnTo>
                <a:lnTo>
                  <a:pt x="978" y="630"/>
                </a:lnTo>
                <a:lnTo>
                  <a:pt x="957" y="646"/>
                </a:lnTo>
                <a:lnTo>
                  <a:pt x="933" y="657"/>
                </a:lnTo>
                <a:lnTo>
                  <a:pt x="910" y="668"/>
                </a:lnTo>
                <a:lnTo>
                  <a:pt x="883" y="674"/>
                </a:lnTo>
                <a:lnTo>
                  <a:pt x="857" y="679"/>
                </a:lnTo>
                <a:lnTo>
                  <a:pt x="830" y="681"/>
                </a:lnTo>
                <a:lnTo>
                  <a:pt x="803" y="679"/>
                </a:lnTo>
                <a:lnTo>
                  <a:pt x="778" y="676"/>
                </a:lnTo>
                <a:lnTo>
                  <a:pt x="754" y="669"/>
                </a:lnTo>
                <a:lnTo>
                  <a:pt x="730" y="661"/>
                </a:lnTo>
                <a:lnTo>
                  <a:pt x="708" y="649"/>
                </a:lnTo>
                <a:lnTo>
                  <a:pt x="688" y="635"/>
                </a:lnTo>
                <a:lnTo>
                  <a:pt x="669" y="620"/>
                </a:lnTo>
                <a:lnTo>
                  <a:pt x="651" y="603"/>
                </a:lnTo>
                <a:lnTo>
                  <a:pt x="634" y="585"/>
                </a:lnTo>
                <a:lnTo>
                  <a:pt x="618" y="566"/>
                </a:lnTo>
                <a:lnTo>
                  <a:pt x="605" y="544"/>
                </a:lnTo>
                <a:lnTo>
                  <a:pt x="593" y="520"/>
                </a:lnTo>
                <a:lnTo>
                  <a:pt x="583" y="496"/>
                </a:lnTo>
                <a:lnTo>
                  <a:pt x="576" y="471"/>
                </a:lnTo>
                <a:lnTo>
                  <a:pt x="571" y="446"/>
                </a:lnTo>
                <a:lnTo>
                  <a:pt x="566" y="419"/>
                </a:lnTo>
                <a:lnTo>
                  <a:pt x="537" y="268"/>
                </a:lnTo>
                <a:lnTo>
                  <a:pt x="535" y="254"/>
                </a:lnTo>
                <a:lnTo>
                  <a:pt x="534" y="239"/>
                </a:lnTo>
                <a:lnTo>
                  <a:pt x="534" y="213"/>
                </a:lnTo>
                <a:lnTo>
                  <a:pt x="539" y="188"/>
                </a:lnTo>
                <a:lnTo>
                  <a:pt x="546" y="164"/>
                </a:lnTo>
                <a:lnTo>
                  <a:pt x="557" y="142"/>
                </a:lnTo>
                <a:lnTo>
                  <a:pt x="569" y="122"/>
                </a:lnTo>
                <a:lnTo>
                  <a:pt x="584" y="103"/>
                </a:lnTo>
                <a:lnTo>
                  <a:pt x="601" y="86"/>
                </a:lnTo>
                <a:lnTo>
                  <a:pt x="620" y="71"/>
                </a:lnTo>
                <a:lnTo>
                  <a:pt x="639" y="58"/>
                </a:lnTo>
                <a:lnTo>
                  <a:pt x="657" y="47"/>
                </a:lnTo>
                <a:lnTo>
                  <a:pt x="676" y="39"/>
                </a:lnTo>
                <a:lnTo>
                  <a:pt x="695" y="32"/>
                </a:lnTo>
                <a:lnTo>
                  <a:pt x="712" y="27"/>
                </a:lnTo>
                <a:lnTo>
                  <a:pt x="728" y="25"/>
                </a:lnTo>
                <a:lnTo>
                  <a:pt x="742" y="25"/>
                </a:lnTo>
                <a:lnTo>
                  <a:pt x="759" y="19"/>
                </a:lnTo>
                <a:lnTo>
                  <a:pt x="776" y="14"/>
                </a:lnTo>
                <a:lnTo>
                  <a:pt x="793" y="8"/>
                </a:lnTo>
                <a:lnTo>
                  <a:pt x="808" y="5"/>
                </a:lnTo>
                <a:lnTo>
                  <a:pt x="839" y="0"/>
                </a:lnTo>
                <a:lnTo>
                  <a:pt x="869" y="0"/>
                </a:lnTo>
                <a:lnTo>
                  <a:pt x="896" y="3"/>
                </a:lnTo>
                <a:lnTo>
                  <a:pt x="923" y="10"/>
                </a:lnTo>
                <a:lnTo>
                  <a:pt x="949" y="19"/>
                </a:lnTo>
                <a:lnTo>
                  <a:pt x="972" y="29"/>
                </a:lnTo>
                <a:lnTo>
                  <a:pt x="994" y="41"/>
                </a:lnTo>
                <a:lnTo>
                  <a:pt x="1015" y="54"/>
                </a:lnTo>
                <a:lnTo>
                  <a:pt x="1033" y="68"/>
                </a:lnTo>
                <a:lnTo>
                  <a:pt x="1050" y="81"/>
                </a:lnTo>
                <a:lnTo>
                  <a:pt x="1077" y="105"/>
                </a:lnTo>
                <a:lnTo>
                  <a:pt x="1098" y="122"/>
                </a:lnTo>
                <a:lnTo>
                  <a:pt x="1062" y="178"/>
                </a:lnTo>
                <a:close/>
                <a:moveTo>
                  <a:pt x="635" y="419"/>
                </a:moveTo>
                <a:lnTo>
                  <a:pt x="635" y="419"/>
                </a:lnTo>
                <a:lnTo>
                  <a:pt x="639" y="441"/>
                </a:lnTo>
                <a:lnTo>
                  <a:pt x="642" y="459"/>
                </a:lnTo>
                <a:lnTo>
                  <a:pt x="649" y="478"/>
                </a:lnTo>
                <a:lnTo>
                  <a:pt x="657" y="496"/>
                </a:lnTo>
                <a:lnTo>
                  <a:pt x="666" y="513"/>
                </a:lnTo>
                <a:lnTo>
                  <a:pt x="676" y="530"/>
                </a:lnTo>
                <a:lnTo>
                  <a:pt x="688" y="544"/>
                </a:lnTo>
                <a:lnTo>
                  <a:pt x="700" y="557"/>
                </a:lnTo>
                <a:lnTo>
                  <a:pt x="713" y="569"/>
                </a:lnTo>
                <a:lnTo>
                  <a:pt x="728" y="581"/>
                </a:lnTo>
                <a:lnTo>
                  <a:pt x="744" y="590"/>
                </a:lnTo>
                <a:lnTo>
                  <a:pt x="759" y="598"/>
                </a:lnTo>
                <a:lnTo>
                  <a:pt x="776" y="605"/>
                </a:lnTo>
                <a:lnTo>
                  <a:pt x="793" y="608"/>
                </a:lnTo>
                <a:lnTo>
                  <a:pt x="812" y="612"/>
                </a:lnTo>
                <a:lnTo>
                  <a:pt x="830" y="613"/>
                </a:lnTo>
                <a:lnTo>
                  <a:pt x="849" y="612"/>
                </a:lnTo>
                <a:lnTo>
                  <a:pt x="867" y="608"/>
                </a:lnTo>
                <a:lnTo>
                  <a:pt x="886" y="603"/>
                </a:lnTo>
                <a:lnTo>
                  <a:pt x="905" y="596"/>
                </a:lnTo>
                <a:lnTo>
                  <a:pt x="922" y="586"/>
                </a:lnTo>
                <a:lnTo>
                  <a:pt x="937" y="576"/>
                </a:lnTo>
                <a:lnTo>
                  <a:pt x="952" y="564"/>
                </a:lnTo>
                <a:lnTo>
                  <a:pt x="967" y="549"/>
                </a:lnTo>
                <a:lnTo>
                  <a:pt x="979" y="534"/>
                </a:lnTo>
                <a:lnTo>
                  <a:pt x="991" y="517"/>
                </a:lnTo>
                <a:lnTo>
                  <a:pt x="1001" y="498"/>
                </a:lnTo>
                <a:lnTo>
                  <a:pt x="1010" y="480"/>
                </a:lnTo>
                <a:lnTo>
                  <a:pt x="1016" y="459"/>
                </a:lnTo>
                <a:lnTo>
                  <a:pt x="1022" y="437"/>
                </a:lnTo>
                <a:lnTo>
                  <a:pt x="1025" y="415"/>
                </a:lnTo>
                <a:lnTo>
                  <a:pt x="1025" y="391"/>
                </a:lnTo>
                <a:lnTo>
                  <a:pt x="1025" y="313"/>
                </a:lnTo>
                <a:lnTo>
                  <a:pt x="1025" y="288"/>
                </a:lnTo>
                <a:lnTo>
                  <a:pt x="1020" y="263"/>
                </a:lnTo>
                <a:lnTo>
                  <a:pt x="1006" y="280"/>
                </a:lnTo>
                <a:lnTo>
                  <a:pt x="989" y="293"/>
                </a:lnTo>
                <a:lnTo>
                  <a:pt x="972" y="305"/>
                </a:lnTo>
                <a:lnTo>
                  <a:pt x="950" y="315"/>
                </a:lnTo>
                <a:lnTo>
                  <a:pt x="927" y="324"/>
                </a:lnTo>
                <a:lnTo>
                  <a:pt x="901" y="330"/>
                </a:lnTo>
                <a:lnTo>
                  <a:pt x="871" y="337"/>
                </a:lnTo>
                <a:lnTo>
                  <a:pt x="837" y="342"/>
                </a:lnTo>
                <a:lnTo>
                  <a:pt x="825" y="396"/>
                </a:lnTo>
                <a:lnTo>
                  <a:pt x="764" y="400"/>
                </a:lnTo>
                <a:lnTo>
                  <a:pt x="764" y="364"/>
                </a:lnTo>
                <a:lnTo>
                  <a:pt x="762" y="349"/>
                </a:lnTo>
                <a:lnTo>
                  <a:pt x="759" y="335"/>
                </a:lnTo>
                <a:lnTo>
                  <a:pt x="752" y="324"/>
                </a:lnTo>
                <a:lnTo>
                  <a:pt x="745" y="313"/>
                </a:lnTo>
                <a:lnTo>
                  <a:pt x="735" y="305"/>
                </a:lnTo>
                <a:lnTo>
                  <a:pt x="725" y="298"/>
                </a:lnTo>
                <a:lnTo>
                  <a:pt x="712" y="293"/>
                </a:lnTo>
                <a:lnTo>
                  <a:pt x="700" y="291"/>
                </a:lnTo>
                <a:lnTo>
                  <a:pt x="686" y="293"/>
                </a:lnTo>
                <a:lnTo>
                  <a:pt x="674" y="298"/>
                </a:lnTo>
                <a:lnTo>
                  <a:pt x="662" y="305"/>
                </a:lnTo>
                <a:lnTo>
                  <a:pt x="654" y="313"/>
                </a:lnTo>
                <a:lnTo>
                  <a:pt x="645" y="324"/>
                </a:lnTo>
                <a:lnTo>
                  <a:pt x="640" y="335"/>
                </a:lnTo>
                <a:lnTo>
                  <a:pt x="635" y="349"/>
                </a:lnTo>
                <a:lnTo>
                  <a:pt x="635" y="364"/>
                </a:lnTo>
                <a:lnTo>
                  <a:pt x="635" y="413"/>
                </a:lnTo>
                <a:lnTo>
                  <a:pt x="635" y="419"/>
                </a:lnTo>
                <a:close/>
                <a:moveTo>
                  <a:pt x="1991" y="1699"/>
                </a:moveTo>
                <a:lnTo>
                  <a:pt x="1991" y="1699"/>
                </a:lnTo>
                <a:lnTo>
                  <a:pt x="1994" y="1701"/>
                </a:lnTo>
                <a:lnTo>
                  <a:pt x="1999" y="1701"/>
                </a:lnTo>
                <a:lnTo>
                  <a:pt x="2001" y="1699"/>
                </a:lnTo>
                <a:lnTo>
                  <a:pt x="2003" y="1698"/>
                </a:lnTo>
                <a:lnTo>
                  <a:pt x="2004" y="1694"/>
                </a:lnTo>
                <a:lnTo>
                  <a:pt x="2003" y="1691"/>
                </a:lnTo>
                <a:lnTo>
                  <a:pt x="2001" y="1689"/>
                </a:lnTo>
                <a:lnTo>
                  <a:pt x="1999" y="1686"/>
                </a:lnTo>
                <a:lnTo>
                  <a:pt x="1864" y="1596"/>
                </a:lnTo>
                <a:lnTo>
                  <a:pt x="1843" y="1584"/>
                </a:lnTo>
                <a:lnTo>
                  <a:pt x="1825" y="1577"/>
                </a:lnTo>
                <a:lnTo>
                  <a:pt x="1804" y="1572"/>
                </a:lnTo>
                <a:lnTo>
                  <a:pt x="1784" y="1571"/>
                </a:lnTo>
                <a:lnTo>
                  <a:pt x="1465" y="1574"/>
                </a:lnTo>
                <a:lnTo>
                  <a:pt x="1465" y="1506"/>
                </a:lnTo>
                <a:lnTo>
                  <a:pt x="1782" y="1506"/>
                </a:lnTo>
                <a:lnTo>
                  <a:pt x="1811" y="1506"/>
                </a:lnTo>
                <a:lnTo>
                  <a:pt x="1825" y="1508"/>
                </a:lnTo>
                <a:lnTo>
                  <a:pt x="1838" y="1511"/>
                </a:lnTo>
                <a:lnTo>
                  <a:pt x="1852" y="1515"/>
                </a:lnTo>
                <a:lnTo>
                  <a:pt x="1864" y="1520"/>
                </a:lnTo>
                <a:lnTo>
                  <a:pt x="1875" y="1525"/>
                </a:lnTo>
                <a:lnTo>
                  <a:pt x="1887" y="1533"/>
                </a:lnTo>
                <a:lnTo>
                  <a:pt x="2036" y="1652"/>
                </a:lnTo>
                <a:lnTo>
                  <a:pt x="2045" y="1662"/>
                </a:lnTo>
                <a:lnTo>
                  <a:pt x="2053" y="1671"/>
                </a:lnTo>
                <a:lnTo>
                  <a:pt x="2058" y="1681"/>
                </a:lnTo>
                <a:lnTo>
                  <a:pt x="2062" y="1691"/>
                </a:lnTo>
                <a:lnTo>
                  <a:pt x="2065" y="1699"/>
                </a:lnTo>
                <a:lnTo>
                  <a:pt x="2065" y="1710"/>
                </a:lnTo>
                <a:lnTo>
                  <a:pt x="2063" y="1718"/>
                </a:lnTo>
                <a:lnTo>
                  <a:pt x="2062" y="1727"/>
                </a:lnTo>
                <a:lnTo>
                  <a:pt x="2058" y="1733"/>
                </a:lnTo>
                <a:lnTo>
                  <a:pt x="2053" y="1740"/>
                </a:lnTo>
                <a:lnTo>
                  <a:pt x="2048" y="1747"/>
                </a:lnTo>
                <a:lnTo>
                  <a:pt x="2041" y="1750"/>
                </a:lnTo>
                <a:lnTo>
                  <a:pt x="2035" y="1754"/>
                </a:lnTo>
                <a:lnTo>
                  <a:pt x="2026" y="1757"/>
                </a:lnTo>
                <a:lnTo>
                  <a:pt x="2018" y="1757"/>
                </a:lnTo>
                <a:lnTo>
                  <a:pt x="2008" y="1755"/>
                </a:lnTo>
                <a:lnTo>
                  <a:pt x="1962" y="1744"/>
                </a:lnTo>
                <a:lnTo>
                  <a:pt x="1962" y="1786"/>
                </a:lnTo>
                <a:lnTo>
                  <a:pt x="1586" y="1786"/>
                </a:lnTo>
                <a:lnTo>
                  <a:pt x="1586" y="1767"/>
                </a:lnTo>
                <a:lnTo>
                  <a:pt x="1537" y="1779"/>
                </a:lnTo>
                <a:lnTo>
                  <a:pt x="1535" y="1710"/>
                </a:lnTo>
                <a:lnTo>
                  <a:pt x="1833" y="1642"/>
                </a:lnTo>
                <a:lnTo>
                  <a:pt x="1991" y="1699"/>
                </a:lnTo>
                <a:close/>
                <a:moveTo>
                  <a:pt x="1062" y="2581"/>
                </a:moveTo>
                <a:lnTo>
                  <a:pt x="1062" y="2581"/>
                </a:lnTo>
                <a:lnTo>
                  <a:pt x="1076" y="2613"/>
                </a:lnTo>
                <a:lnTo>
                  <a:pt x="1086" y="2647"/>
                </a:lnTo>
                <a:lnTo>
                  <a:pt x="1089" y="2664"/>
                </a:lnTo>
                <a:lnTo>
                  <a:pt x="1091" y="2681"/>
                </a:lnTo>
                <a:lnTo>
                  <a:pt x="1093" y="2699"/>
                </a:lnTo>
                <a:lnTo>
                  <a:pt x="1093" y="2718"/>
                </a:lnTo>
                <a:lnTo>
                  <a:pt x="1093" y="2796"/>
                </a:lnTo>
                <a:lnTo>
                  <a:pt x="1093" y="2825"/>
                </a:lnTo>
                <a:lnTo>
                  <a:pt x="1088" y="2852"/>
                </a:lnTo>
                <a:lnTo>
                  <a:pt x="1083" y="2879"/>
                </a:lnTo>
                <a:lnTo>
                  <a:pt x="1072" y="2906"/>
                </a:lnTo>
                <a:lnTo>
                  <a:pt x="1062" y="2931"/>
                </a:lnTo>
                <a:lnTo>
                  <a:pt x="1049" y="2955"/>
                </a:lnTo>
                <a:lnTo>
                  <a:pt x="1033" y="2977"/>
                </a:lnTo>
                <a:lnTo>
                  <a:pt x="1016" y="2997"/>
                </a:lnTo>
                <a:lnTo>
                  <a:pt x="998" y="3016"/>
                </a:lnTo>
                <a:lnTo>
                  <a:pt x="979" y="3033"/>
                </a:lnTo>
                <a:lnTo>
                  <a:pt x="957" y="3048"/>
                </a:lnTo>
                <a:lnTo>
                  <a:pt x="933" y="3060"/>
                </a:lnTo>
                <a:lnTo>
                  <a:pt x="910" y="3070"/>
                </a:lnTo>
                <a:lnTo>
                  <a:pt x="884" y="3077"/>
                </a:lnTo>
                <a:lnTo>
                  <a:pt x="857" y="3082"/>
                </a:lnTo>
                <a:lnTo>
                  <a:pt x="830" y="3084"/>
                </a:lnTo>
                <a:lnTo>
                  <a:pt x="810" y="3082"/>
                </a:lnTo>
                <a:lnTo>
                  <a:pt x="791" y="3080"/>
                </a:lnTo>
                <a:lnTo>
                  <a:pt x="773" y="3077"/>
                </a:lnTo>
                <a:lnTo>
                  <a:pt x="754" y="3072"/>
                </a:lnTo>
                <a:lnTo>
                  <a:pt x="735" y="3065"/>
                </a:lnTo>
                <a:lnTo>
                  <a:pt x="718" y="3057"/>
                </a:lnTo>
                <a:lnTo>
                  <a:pt x="703" y="3048"/>
                </a:lnTo>
                <a:lnTo>
                  <a:pt x="686" y="3038"/>
                </a:lnTo>
                <a:lnTo>
                  <a:pt x="673" y="3026"/>
                </a:lnTo>
                <a:lnTo>
                  <a:pt x="657" y="3014"/>
                </a:lnTo>
                <a:lnTo>
                  <a:pt x="644" y="3001"/>
                </a:lnTo>
                <a:lnTo>
                  <a:pt x="632" y="2987"/>
                </a:lnTo>
                <a:lnTo>
                  <a:pt x="620" y="2972"/>
                </a:lnTo>
                <a:lnTo>
                  <a:pt x="610" y="2955"/>
                </a:lnTo>
                <a:lnTo>
                  <a:pt x="601" y="2938"/>
                </a:lnTo>
                <a:lnTo>
                  <a:pt x="593" y="2921"/>
                </a:lnTo>
                <a:lnTo>
                  <a:pt x="578" y="2926"/>
                </a:lnTo>
                <a:lnTo>
                  <a:pt x="564" y="2928"/>
                </a:lnTo>
                <a:lnTo>
                  <a:pt x="549" y="2931"/>
                </a:lnTo>
                <a:lnTo>
                  <a:pt x="534" y="2931"/>
                </a:lnTo>
                <a:lnTo>
                  <a:pt x="517" y="2930"/>
                </a:lnTo>
                <a:lnTo>
                  <a:pt x="500" y="2928"/>
                </a:lnTo>
                <a:lnTo>
                  <a:pt x="483" y="2923"/>
                </a:lnTo>
                <a:lnTo>
                  <a:pt x="468" y="2918"/>
                </a:lnTo>
                <a:lnTo>
                  <a:pt x="452" y="2911"/>
                </a:lnTo>
                <a:lnTo>
                  <a:pt x="439" y="2903"/>
                </a:lnTo>
                <a:lnTo>
                  <a:pt x="425" y="2892"/>
                </a:lnTo>
                <a:lnTo>
                  <a:pt x="413" y="2882"/>
                </a:lnTo>
                <a:lnTo>
                  <a:pt x="403" y="2869"/>
                </a:lnTo>
                <a:lnTo>
                  <a:pt x="393" y="2857"/>
                </a:lnTo>
                <a:lnTo>
                  <a:pt x="385" y="2842"/>
                </a:lnTo>
                <a:lnTo>
                  <a:pt x="378" y="2828"/>
                </a:lnTo>
                <a:lnTo>
                  <a:pt x="371" y="2811"/>
                </a:lnTo>
                <a:lnTo>
                  <a:pt x="368" y="2796"/>
                </a:lnTo>
                <a:lnTo>
                  <a:pt x="364" y="2779"/>
                </a:lnTo>
                <a:lnTo>
                  <a:pt x="364" y="2760"/>
                </a:lnTo>
                <a:lnTo>
                  <a:pt x="364" y="2743"/>
                </a:lnTo>
                <a:lnTo>
                  <a:pt x="368" y="2726"/>
                </a:lnTo>
                <a:lnTo>
                  <a:pt x="371" y="2711"/>
                </a:lnTo>
                <a:lnTo>
                  <a:pt x="378" y="2694"/>
                </a:lnTo>
                <a:lnTo>
                  <a:pt x="385" y="2681"/>
                </a:lnTo>
                <a:lnTo>
                  <a:pt x="393" y="2665"/>
                </a:lnTo>
                <a:lnTo>
                  <a:pt x="403" y="2653"/>
                </a:lnTo>
                <a:lnTo>
                  <a:pt x="413" y="2640"/>
                </a:lnTo>
                <a:lnTo>
                  <a:pt x="425" y="2630"/>
                </a:lnTo>
                <a:lnTo>
                  <a:pt x="439" y="2620"/>
                </a:lnTo>
                <a:lnTo>
                  <a:pt x="452" y="2611"/>
                </a:lnTo>
                <a:lnTo>
                  <a:pt x="468" y="2604"/>
                </a:lnTo>
                <a:lnTo>
                  <a:pt x="483" y="2598"/>
                </a:lnTo>
                <a:lnTo>
                  <a:pt x="500" y="2594"/>
                </a:lnTo>
                <a:lnTo>
                  <a:pt x="517" y="2591"/>
                </a:lnTo>
                <a:lnTo>
                  <a:pt x="534" y="2591"/>
                </a:lnTo>
                <a:lnTo>
                  <a:pt x="539" y="2591"/>
                </a:lnTo>
                <a:lnTo>
                  <a:pt x="546" y="2570"/>
                </a:lnTo>
                <a:lnTo>
                  <a:pt x="554" y="2553"/>
                </a:lnTo>
                <a:lnTo>
                  <a:pt x="564" y="2535"/>
                </a:lnTo>
                <a:lnTo>
                  <a:pt x="574" y="2520"/>
                </a:lnTo>
                <a:lnTo>
                  <a:pt x="588" y="2504"/>
                </a:lnTo>
                <a:lnTo>
                  <a:pt x="601" y="2491"/>
                </a:lnTo>
                <a:lnTo>
                  <a:pt x="615" y="2479"/>
                </a:lnTo>
                <a:lnTo>
                  <a:pt x="630" y="2467"/>
                </a:lnTo>
                <a:lnTo>
                  <a:pt x="645" y="2457"/>
                </a:lnTo>
                <a:lnTo>
                  <a:pt x="661" y="2448"/>
                </a:lnTo>
                <a:lnTo>
                  <a:pt x="676" y="2442"/>
                </a:lnTo>
                <a:lnTo>
                  <a:pt x="691" y="2437"/>
                </a:lnTo>
                <a:lnTo>
                  <a:pt x="705" y="2431"/>
                </a:lnTo>
                <a:lnTo>
                  <a:pt x="718" y="2430"/>
                </a:lnTo>
                <a:lnTo>
                  <a:pt x="732" y="2428"/>
                </a:lnTo>
                <a:lnTo>
                  <a:pt x="742" y="2430"/>
                </a:lnTo>
                <a:lnTo>
                  <a:pt x="759" y="2421"/>
                </a:lnTo>
                <a:lnTo>
                  <a:pt x="776" y="2416"/>
                </a:lnTo>
                <a:lnTo>
                  <a:pt x="793" y="2411"/>
                </a:lnTo>
                <a:lnTo>
                  <a:pt x="808" y="2408"/>
                </a:lnTo>
                <a:lnTo>
                  <a:pt x="839" y="2404"/>
                </a:lnTo>
                <a:lnTo>
                  <a:pt x="869" y="2404"/>
                </a:lnTo>
                <a:lnTo>
                  <a:pt x="896" y="2408"/>
                </a:lnTo>
                <a:lnTo>
                  <a:pt x="923" y="2413"/>
                </a:lnTo>
                <a:lnTo>
                  <a:pt x="949" y="2421"/>
                </a:lnTo>
                <a:lnTo>
                  <a:pt x="972" y="2433"/>
                </a:lnTo>
                <a:lnTo>
                  <a:pt x="994" y="2445"/>
                </a:lnTo>
                <a:lnTo>
                  <a:pt x="1015" y="2457"/>
                </a:lnTo>
                <a:lnTo>
                  <a:pt x="1033" y="2470"/>
                </a:lnTo>
                <a:lnTo>
                  <a:pt x="1050" y="2484"/>
                </a:lnTo>
                <a:lnTo>
                  <a:pt x="1077" y="2508"/>
                </a:lnTo>
                <a:lnTo>
                  <a:pt x="1098" y="2526"/>
                </a:lnTo>
                <a:lnTo>
                  <a:pt x="1062" y="2581"/>
                </a:lnTo>
                <a:close/>
                <a:moveTo>
                  <a:pt x="647" y="2877"/>
                </a:moveTo>
                <a:lnTo>
                  <a:pt x="647" y="2877"/>
                </a:lnTo>
                <a:lnTo>
                  <a:pt x="654" y="2892"/>
                </a:lnTo>
                <a:lnTo>
                  <a:pt x="661" y="2908"/>
                </a:lnTo>
                <a:lnTo>
                  <a:pt x="668" y="2921"/>
                </a:lnTo>
                <a:lnTo>
                  <a:pt x="678" y="2933"/>
                </a:lnTo>
                <a:lnTo>
                  <a:pt x="686" y="2947"/>
                </a:lnTo>
                <a:lnTo>
                  <a:pt x="696" y="2957"/>
                </a:lnTo>
                <a:lnTo>
                  <a:pt x="708" y="2969"/>
                </a:lnTo>
                <a:lnTo>
                  <a:pt x="720" y="2977"/>
                </a:lnTo>
                <a:lnTo>
                  <a:pt x="732" y="2986"/>
                </a:lnTo>
                <a:lnTo>
                  <a:pt x="744" y="2994"/>
                </a:lnTo>
                <a:lnTo>
                  <a:pt x="757" y="3001"/>
                </a:lnTo>
                <a:lnTo>
                  <a:pt x="771" y="3006"/>
                </a:lnTo>
                <a:lnTo>
                  <a:pt x="786" y="3011"/>
                </a:lnTo>
                <a:lnTo>
                  <a:pt x="800" y="3013"/>
                </a:lnTo>
                <a:lnTo>
                  <a:pt x="815" y="3016"/>
                </a:lnTo>
                <a:lnTo>
                  <a:pt x="830" y="3016"/>
                </a:lnTo>
                <a:lnTo>
                  <a:pt x="849" y="3014"/>
                </a:lnTo>
                <a:lnTo>
                  <a:pt x="867" y="3011"/>
                </a:lnTo>
                <a:lnTo>
                  <a:pt x="886" y="3006"/>
                </a:lnTo>
                <a:lnTo>
                  <a:pt x="905" y="2999"/>
                </a:lnTo>
                <a:lnTo>
                  <a:pt x="922" y="2991"/>
                </a:lnTo>
                <a:lnTo>
                  <a:pt x="939" y="2979"/>
                </a:lnTo>
                <a:lnTo>
                  <a:pt x="952" y="2967"/>
                </a:lnTo>
                <a:lnTo>
                  <a:pt x="967" y="2953"/>
                </a:lnTo>
                <a:lnTo>
                  <a:pt x="979" y="2936"/>
                </a:lnTo>
                <a:lnTo>
                  <a:pt x="991" y="2919"/>
                </a:lnTo>
                <a:lnTo>
                  <a:pt x="1001" y="2903"/>
                </a:lnTo>
                <a:lnTo>
                  <a:pt x="1010" y="2882"/>
                </a:lnTo>
                <a:lnTo>
                  <a:pt x="1016" y="2862"/>
                </a:lnTo>
                <a:lnTo>
                  <a:pt x="1022" y="2840"/>
                </a:lnTo>
                <a:lnTo>
                  <a:pt x="1025" y="2818"/>
                </a:lnTo>
                <a:lnTo>
                  <a:pt x="1025" y="2796"/>
                </a:lnTo>
                <a:lnTo>
                  <a:pt x="1025" y="2718"/>
                </a:lnTo>
                <a:lnTo>
                  <a:pt x="1025" y="2699"/>
                </a:lnTo>
                <a:lnTo>
                  <a:pt x="1023" y="2681"/>
                </a:lnTo>
                <a:lnTo>
                  <a:pt x="1020" y="2664"/>
                </a:lnTo>
                <a:lnTo>
                  <a:pt x="1015" y="2647"/>
                </a:lnTo>
                <a:lnTo>
                  <a:pt x="1000" y="2660"/>
                </a:lnTo>
                <a:lnTo>
                  <a:pt x="981" y="2674"/>
                </a:lnTo>
                <a:lnTo>
                  <a:pt x="961" y="2686"/>
                </a:lnTo>
                <a:lnTo>
                  <a:pt x="940" y="2697"/>
                </a:lnTo>
                <a:lnTo>
                  <a:pt x="900" y="2718"/>
                </a:lnTo>
                <a:lnTo>
                  <a:pt x="857" y="2735"/>
                </a:lnTo>
                <a:lnTo>
                  <a:pt x="822" y="2748"/>
                </a:lnTo>
                <a:lnTo>
                  <a:pt x="791" y="2757"/>
                </a:lnTo>
                <a:lnTo>
                  <a:pt x="764" y="2765"/>
                </a:lnTo>
                <a:lnTo>
                  <a:pt x="752" y="2753"/>
                </a:lnTo>
                <a:lnTo>
                  <a:pt x="740" y="2743"/>
                </a:lnTo>
                <a:lnTo>
                  <a:pt x="734" y="2738"/>
                </a:lnTo>
                <a:lnTo>
                  <a:pt x="725" y="2736"/>
                </a:lnTo>
                <a:lnTo>
                  <a:pt x="717" y="2735"/>
                </a:lnTo>
                <a:lnTo>
                  <a:pt x="708" y="2733"/>
                </a:lnTo>
                <a:lnTo>
                  <a:pt x="696" y="2735"/>
                </a:lnTo>
                <a:lnTo>
                  <a:pt x="684" y="2740"/>
                </a:lnTo>
                <a:lnTo>
                  <a:pt x="673" y="2747"/>
                </a:lnTo>
                <a:lnTo>
                  <a:pt x="662" y="2755"/>
                </a:lnTo>
                <a:lnTo>
                  <a:pt x="656" y="2765"/>
                </a:lnTo>
                <a:lnTo>
                  <a:pt x="649" y="2777"/>
                </a:lnTo>
                <a:lnTo>
                  <a:pt x="645" y="2791"/>
                </a:lnTo>
                <a:lnTo>
                  <a:pt x="644" y="2806"/>
                </a:lnTo>
                <a:lnTo>
                  <a:pt x="644" y="2855"/>
                </a:lnTo>
                <a:lnTo>
                  <a:pt x="645" y="2867"/>
                </a:lnTo>
                <a:lnTo>
                  <a:pt x="647" y="2877"/>
                </a:lnTo>
                <a:close/>
                <a:moveTo>
                  <a:pt x="6028" y="329"/>
                </a:moveTo>
                <a:lnTo>
                  <a:pt x="6028" y="329"/>
                </a:lnTo>
                <a:lnTo>
                  <a:pt x="6019" y="330"/>
                </a:lnTo>
                <a:lnTo>
                  <a:pt x="6011" y="332"/>
                </a:lnTo>
                <a:lnTo>
                  <a:pt x="6002" y="334"/>
                </a:lnTo>
                <a:lnTo>
                  <a:pt x="5996" y="339"/>
                </a:lnTo>
                <a:lnTo>
                  <a:pt x="5989" y="344"/>
                </a:lnTo>
                <a:lnTo>
                  <a:pt x="5984" y="349"/>
                </a:lnTo>
                <a:lnTo>
                  <a:pt x="5974" y="363"/>
                </a:lnTo>
                <a:lnTo>
                  <a:pt x="5941" y="352"/>
                </a:lnTo>
                <a:lnTo>
                  <a:pt x="5911" y="342"/>
                </a:lnTo>
                <a:lnTo>
                  <a:pt x="5874" y="330"/>
                </a:lnTo>
                <a:lnTo>
                  <a:pt x="5835" y="313"/>
                </a:lnTo>
                <a:lnTo>
                  <a:pt x="5794" y="293"/>
                </a:lnTo>
                <a:lnTo>
                  <a:pt x="5774" y="281"/>
                </a:lnTo>
                <a:lnTo>
                  <a:pt x="5755" y="269"/>
                </a:lnTo>
                <a:lnTo>
                  <a:pt x="5738" y="258"/>
                </a:lnTo>
                <a:lnTo>
                  <a:pt x="5721" y="244"/>
                </a:lnTo>
                <a:lnTo>
                  <a:pt x="5718" y="261"/>
                </a:lnTo>
                <a:lnTo>
                  <a:pt x="5714" y="278"/>
                </a:lnTo>
                <a:lnTo>
                  <a:pt x="5713" y="297"/>
                </a:lnTo>
                <a:lnTo>
                  <a:pt x="5711" y="313"/>
                </a:lnTo>
                <a:lnTo>
                  <a:pt x="5711" y="391"/>
                </a:lnTo>
                <a:lnTo>
                  <a:pt x="5713" y="415"/>
                </a:lnTo>
                <a:lnTo>
                  <a:pt x="5716" y="437"/>
                </a:lnTo>
                <a:lnTo>
                  <a:pt x="5721" y="459"/>
                </a:lnTo>
                <a:lnTo>
                  <a:pt x="5728" y="480"/>
                </a:lnTo>
                <a:lnTo>
                  <a:pt x="5736" y="498"/>
                </a:lnTo>
                <a:lnTo>
                  <a:pt x="5745" y="517"/>
                </a:lnTo>
                <a:lnTo>
                  <a:pt x="5757" y="534"/>
                </a:lnTo>
                <a:lnTo>
                  <a:pt x="5770" y="549"/>
                </a:lnTo>
                <a:lnTo>
                  <a:pt x="5784" y="564"/>
                </a:lnTo>
                <a:lnTo>
                  <a:pt x="5799" y="576"/>
                </a:lnTo>
                <a:lnTo>
                  <a:pt x="5816" y="586"/>
                </a:lnTo>
                <a:lnTo>
                  <a:pt x="5833" y="596"/>
                </a:lnTo>
                <a:lnTo>
                  <a:pt x="5850" y="603"/>
                </a:lnTo>
                <a:lnTo>
                  <a:pt x="5869" y="608"/>
                </a:lnTo>
                <a:lnTo>
                  <a:pt x="5887" y="612"/>
                </a:lnTo>
                <a:lnTo>
                  <a:pt x="5908" y="613"/>
                </a:lnTo>
                <a:lnTo>
                  <a:pt x="5921" y="612"/>
                </a:lnTo>
                <a:lnTo>
                  <a:pt x="5936" y="610"/>
                </a:lnTo>
                <a:lnTo>
                  <a:pt x="5950" y="608"/>
                </a:lnTo>
                <a:lnTo>
                  <a:pt x="5963" y="603"/>
                </a:lnTo>
                <a:lnTo>
                  <a:pt x="5977" y="598"/>
                </a:lnTo>
                <a:lnTo>
                  <a:pt x="5991" y="591"/>
                </a:lnTo>
                <a:lnTo>
                  <a:pt x="6002" y="585"/>
                </a:lnTo>
                <a:lnTo>
                  <a:pt x="6014" y="576"/>
                </a:lnTo>
                <a:lnTo>
                  <a:pt x="6026" y="568"/>
                </a:lnTo>
                <a:lnTo>
                  <a:pt x="6036" y="557"/>
                </a:lnTo>
                <a:lnTo>
                  <a:pt x="6046" y="547"/>
                </a:lnTo>
                <a:lnTo>
                  <a:pt x="6057" y="535"/>
                </a:lnTo>
                <a:lnTo>
                  <a:pt x="6065" y="524"/>
                </a:lnTo>
                <a:lnTo>
                  <a:pt x="6074" y="510"/>
                </a:lnTo>
                <a:lnTo>
                  <a:pt x="6080" y="496"/>
                </a:lnTo>
                <a:lnTo>
                  <a:pt x="6087" y="483"/>
                </a:lnTo>
                <a:lnTo>
                  <a:pt x="6091" y="468"/>
                </a:lnTo>
                <a:lnTo>
                  <a:pt x="6092" y="451"/>
                </a:lnTo>
                <a:lnTo>
                  <a:pt x="6092" y="400"/>
                </a:lnTo>
                <a:lnTo>
                  <a:pt x="6091" y="386"/>
                </a:lnTo>
                <a:lnTo>
                  <a:pt x="6087" y="373"/>
                </a:lnTo>
                <a:lnTo>
                  <a:pt x="6080" y="361"/>
                </a:lnTo>
                <a:lnTo>
                  <a:pt x="6074" y="351"/>
                </a:lnTo>
                <a:lnTo>
                  <a:pt x="6063" y="342"/>
                </a:lnTo>
                <a:lnTo>
                  <a:pt x="6052" y="335"/>
                </a:lnTo>
                <a:lnTo>
                  <a:pt x="6040" y="330"/>
                </a:lnTo>
                <a:lnTo>
                  <a:pt x="6028" y="329"/>
                </a:lnTo>
                <a:close/>
                <a:moveTo>
                  <a:pt x="6145" y="518"/>
                </a:moveTo>
                <a:lnTo>
                  <a:pt x="6145" y="518"/>
                </a:lnTo>
                <a:lnTo>
                  <a:pt x="6136" y="535"/>
                </a:lnTo>
                <a:lnTo>
                  <a:pt x="6126" y="552"/>
                </a:lnTo>
                <a:lnTo>
                  <a:pt x="6116" y="568"/>
                </a:lnTo>
                <a:lnTo>
                  <a:pt x="6104" y="583"/>
                </a:lnTo>
                <a:lnTo>
                  <a:pt x="6092" y="598"/>
                </a:lnTo>
                <a:lnTo>
                  <a:pt x="6079" y="612"/>
                </a:lnTo>
                <a:lnTo>
                  <a:pt x="6065" y="624"/>
                </a:lnTo>
                <a:lnTo>
                  <a:pt x="6050" y="635"/>
                </a:lnTo>
                <a:lnTo>
                  <a:pt x="6035" y="646"/>
                </a:lnTo>
                <a:lnTo>
                  <a:pt x="6018" y="654"/>
                </a:lnTo>
                <a:lnTo>
                  <a:pt x="6001" y="663"/>
                </a:lnTo>
                <a:lnTo>
                  <a:pt x="5984" y="669"/>
                </a:lnTo>
                <a:lnTo>
                  <a:pt x="5965" y="674"/>
                </a:lnTo>
                <a:lnTo>
                  <a:pt x="5947" y="678"/>
                </a:lnTo>
                <a:lnTo>
                  <a:pt x="5928" y="679"/>
                </a:lnTo>
                <a:lnTo>
                  <a:pt x="5908" y="681"/>
                </a:lnTo>
                <a:lnTo>
                  <a:pt x="5880" y="679"/>
                </a:lnTo>
                <a:lnTo>
                  <a:pt x="5853" y="674"/>
                </a:lnTo>
                <a:lnTo>
                  <a:pt x="5828" y="668"/>
                </a:lnTo>
                <a:lnTo>
                  <a:pt x="5804" y="657"/>
                </a:lnTo>
                <a:lnTo>
                  <a:pt x="5780" y="646"/>
                </a:lnTo>
                <a:lnTo>
                  <a:pt x="5758" y="630"/>
                </a:lnTo>
                <a:lnTo>
                  <a:pt x="5738" y="613"/>
                </a:lnTo>
                <a:lnTo>
                  <a:pt x="5720" y="595"/>
                </a:lnTo>
                <a:lnTo>
                  <a:pt x="5703" y="574"/>
                </a:lnTo>
                <a:lnTo>
                  <a:pt x="5687" y="552"/>
                </a:lnTo>
                <a:lnTo>
                  <a:pt x="5675" y="529"/>
                </a:lnTo>
                <a:lnTo>
                  <a:pt x="5664" y="503"/>
                </a:lnTo>
                <a:lnTo>
                  <a:pt x="5655" y="476"/>
                </a:lnTo>
                <a:lnTo>
                  <a:pt x="5648" y="449"/>
                </a:lnTo>
                <a:lnTo>
                  <a:pt x="5645" y="420"/>
                </a:lnTo>
                <a:lnTo>
                  <a:pt x="5643" y="391"/>
                </a:lnTo>
                <a:lnTo>
                  <a:pt x="5643" y="313"/>
                </a:lnTo>
                <a:lnTo>
                  <a:pt x="5643" y="297"/>
                </a:lnTo>
                <a:lnTo>
                  <a:pt x="5645" y="278"/>
                </a:lnTo>
                <a:lnTo>
                  <a:pt x="5648" y="261"/>
                </a:lnTo>
                <a:lnTo>
                  <a:pt x="5652" y="242"/>
                </a:lnTo>
                <a:lnTo>
                  <a:pt x="5662" y="210"/>
                </a:lnTo>
                <a:lnTo>
                  <a:pt x="5675" y="178"/>
                </a:lnTo>
                <a:lnTo>
                  <a:pt x="5640" y="122"/>
                </a:lnTo>
                <a:lnTo>
                  <a:pt x="5659" y="105"/>
                </a:lnTo>
                <a:lnTo>
                  <a:pt x="5687" y="81"/>
                </a:lnTo>
                <a:lnTo>
                  <a:pt x="5703" y="68"/>
                </a:lnTo>
                <a:lnTo>
                  <a:pt x="5721" y="54"/>
                </a:lnTo>
                <a:lnTo>
                  <a:pt x="5742" y="41"/>
                </a:lnTo>
                <a:lnTo>
                  <a:pt x="5764" y="29"/>
                </a:lnTo>
                <a:lnTo>
                  <a:pt x="5787" y="19"/>
                </a:lnTo>
                <a:lnTo>
                  <a:pt x="5813" y="10"/>
                </a:lnTo>
                <a:lnTo>
                  <a:pt x="5840" y="3"/>
                </a:lnTo>
                <a:lnTo>
                  <a:pt x="5869" y="0"/>
                </a:lnTo>
                <a:lnTo>
                  <a:pt x="5897" y="0"/>
                </a:lnTo>
                <a:lnTo>
                  <a:pt x="5928" y="5"/>
                </a:lnTo>
                <a:lnTo>
                  <a:pt x="5945" y="8"/>
                </a:lnTo>
                <a:lnTo>
                  <a:pt x="5962" y="14"/>
                </a:lnTo>
                <a:lnTo>
                  <a:pt x="5977" y="19"/>
                </a:lnTo>
                <a:lnTo>
                  <a:pt x="5994" y="25"/>
                </a:lnTo>
                <a:lnTo>
                  <a:pt x="6006" y="25"/>
                </a:lnTo>
                <a:lnTo>
                  <a:pt x="6018" y="27"/>
                </a:lnTo>
                <a:lnTo>
                  <a:pt x="6031" y="29"/>
                </a:lnTo>
                <a:lnTo>
                  <a:pt x="6046" y="34"/>
                </a:lnTo>
                <a:lnTo>
                  <a:pt x="6062" y="39"/>
                </a:lnTo>
                <a:lnTo>
                  <a:pt x="6077" y="46"/>
                </a:lnTo>
                <a:lnTo>
                  <a:pt x="6092" y="54"/>
                </a:lnTo>
                <a:lnTo>
                  <a:pt x="6107" y="64"/>
                </a:lnTo>
                <a:lnTo>
                  <a:pt x="6123" y="75"/>
                </a:lnTo>
                <a:lnTo>
                  <a:pt x="6136" y="88"/>
                </a:lnTo>
                <a:lnTo>
                  <a:pt x="6150" y="102"/>
                </a:lnTo>
                <a:lnTo>
                  <a:pt x="6162" y="117"/>
                </a:lnTo>
                <a:lnTo>
                  <a:pt x="6174" y="132"/>
                </a:lnTo>
                <a:lnTo>
                  <a:pt x="6184" y="149"/>
                </a:lnTo>
                <a:lnTo>
                  <a:pt x="6190" y="168"/>
                </a:lnTo>
                <a:lnTo>
                  <a:pt x="6197" y="188"/>
                </a:lnTo>
                <a:lnTo>
                  <a:pt x="6202" y="188"/>
                </a:lnTo>
                <a:lnTo>
                  <a:pt x="6219" y="188"/>
                </a:lnTo>
                <a:lnTo>
                  <a:pt x="6236" y="191"/>
                </a:lnTo>
                <a:lnTo>
                  <a:pt x="6253" y="195"/>
                </a:lnTo>
                <a:lnTo>
                  <a:pt x="6268" y="202"/>
                </a:lnTo>
                <a:lnTo>
                  <a:pt x="6284" y="208"/>
                </a:lnTo>
                <a:lnTo>
                  <a:pt x="6297" y="217"/>
                </a:lnTo>
                <a:lnTo>
                  <a:pt x="6311" y="227"/>
                </a:lnTo>
                <a:lnTo>
                  <a:pt x="6323" y="237"/>
                </a:lnTo>
                <a:lnTo>
                  <a:pt x="6334" y="249"/>
                </a:lnTo>
                <a:lnTo>
                  <a:pt x="6345" y="263"/>
                </a:lnTo>
                <a:lnTo>
                  <a:pt x="6353" y="276"/>
                </a:lnTo>
                <a:lnTo>
                  <a:pt x="6360" y="291"/>
                </a:lnTo>
                <a:lnTo>
                  <a:pt x="6365" y="307"/>
                </a:lnTo>
                <a:lnTo>
                  <a:pt x="6370" y="324"/>
                </a:lnTo>
                <a:lnTo>
                  <a:pt x="6372" y="341"/>
                </a:lnTo>
                <a:lnTo>
                  <a:pt x="6373" y="358"/>
                </a:lnTo>
                <a:lnTo>
                  <a:pt x="6372" y="374"/>
                </a:lnTo>
                <a:lnTo>
                  <a:pt x="6370" y="391"/>
                </a:lnTo>
                <a:lnTo>
                  <a:pt x="6365" y="408"/>
                </a:lnTo>
                <a:lnTo>
                  <a:pt x="6360" y="424"/>
                </a:lnTo>
                <a:lnTo>
                  <a:pt x="6353" y="439"/>
                </a:lnTo>
                <a:lnTo>
                  <a:pt x="6345" y="452"/>
                </a:lnTo>
                <a:lnTo>
                  <a:pt x="6334" y="466"/>
                </a:lnTo>
                <a:lnTo>
                  <a:pt x="6323" y="478"/>
                </a:lnTo>
                <a:lnTo>
                  <a:pt x="6311" y="490"/>
                </a:lnTo>
                <a:lnTo>
                  <a:pt x="6297" y="500"/>
                </a:lnTo>
                <a:lnTo>
                  <a:pt x="6284" y="508"/>
                </a:lnTo>
                <a:lnTo>
                  <a:pt x="6268" y="515"/>
                </a:lnTo>
                <a:lnTo>
                  <a:pt x="6253" y="520"/>
                </a:lnTo>
                <a:lnTo>
                  <a:pt x="6236" y="525"/>
                </a:lnTo>
                <a:lnTo>
                  <a:pt x="6219" y="527"/>
                </a:lnTo>
                <a:lnTo>
                  <a:pt x="6202" y="529"/>
                </a:lnTo>
                <a:lnTo>
                  <a:pt x="6187" y="527"/>
                </a:lnTo>
                <a:lnTo>
                  <a:pt x="6174" y="525"/>
                </a:lnTo>
                <a:lnTo>
                  <a:pt x="6158" y="522"/>
                </a:lnTo>
                <a:lnTo>
                  <a:pt x="6145" y="518"/>
                </a:lnTo>
                <a:close/>
                <a:moveTo>
                  <a:pt x="6172" y="2713"/>
                </a:moveTo>
                <a:lnTo>
                  <a:pt x="6172" y="2718"/>
                </a:lnTo>
                <a:lnTo>
                  <a:pt x="6172" y="2796"/>
                </a:lnTo>
                <a:lnTo>
                  <a:pt x="6170" y="2825"/>
                </a:lnTo>
                <a:lnTo>
                  <a:pt x="6167" y="2852"/>
                </a:lnTo>
                <a:lnTo>
                  <a:pt x="6160" y="2879"/>
                </a:lnTo>
                <a:lnTo>
                  <a:pt x="6152" y="2906"/>
                </a:lnTo>
                <a:lnTo>
                  <a:pt x="6140" y="2931"/>
                </a:lnTo>
                <a:lnTo>
                  <a:pt x="6128" y="2955"/>
                </a:lnTo>
                <a:lnTo>
                  <a:pt x="6113" y="2977"/>
                </a:lnTo>
                <a:lnTo>
                  <a:pt x="6096" y="2997"/>
                </a:lnTo>
                <a:lnTo>
                  <a:pt x="6077" y="3016"/>
                </a:lnTo>
                <a:lnTo>
                  <a:pt x="6057" y="3033"/>
                </a:lnTo>
                <a:lnTo>
                  <a:pt x="6035" y="3048"/>
                </a:lnTo>
                <a:lnTo>
                  <a:pt x="6011" y="3060"/>
                </a:lnTo>
                <a:lnTo>
                  <a:pt x="5987" y="3070"/>
                </a:lnTo>
                <a:lnTo>
                  <a:pt x="5962" y="3077"/>
                </a:lnTo>
                <a:lnTo>
                  <a:pt x="5935" y="3082"/>
                </a:lnTo>
                <a:lnTo>
                  <a:pt x="5908" y="3084"/>
                </a:lnTo>
                <a:lnTo>
                  <a:pt x="5880" y="3082"/>
                </a:lnTo>
                <a:lnTo>
                  <a:pt x="5853" y="3077"/>
                </a:lnTo>
                <a:lnTo>
                  <a:pt x="5828" y="3070"/>
                </a:lnTo>
                <a:lnTo>
                  <a:pt x="5803" y="3060"/>
                </a:lnTo>
                <a:lnTo>
                  <a:pt x="5780" y="3048"/>
                </a:lnTo>
                <a:lnTo>
                  <a:pt x="5758" y="3033"/>
                </a:lnTo>
                <a:lnTo>
                  <a:pt x="5738" y="3016"/>
                </a:lnTo>
                <a:lnTo>
                  <a:pt x="5720" y="2997"/>
                </a:lnTo>
                <a:lnTo>
                  <a:pt x="5703" y="2977"/>
                </a:lnTo>
                <a:lnTo>
                  <a:pt x="5687" y="2955"/>
                </a:lnTo>
                <a:lnTo>
                  <a:pt x="5675" y="2931"/>
                </a:lnTo>
                <a:lnTo>
                  <a:pt x="5664" y="2906"/>
                </a:lnTo>
                <a:lnTo>
                  <a:pt x="5655" y="2879"/>
                </a:lnTo>
                <a:lnTo>
                  <a:pt x="5648" y="2852"/>
                </a:lnTo>
                <a:lnTo>
                  <a:pt x="5645" y="2825"/>
                </a:lnTo>
                <a:lnTo>
                  <a:pt x="5643" y="2796"/>
                </a:lnTo>
                <a:lnTo>
                  <a:pt x="5643" y="2718"/>
                </a:lnTo>
                <a:lnTo>
                  <a:pt x="5645" y="2689"/>
                </a:lnTo>
                <a:lnTo>
                  <a:pt x="5648" y="2660"/>
                </a:lnTo>
                <a:lnTo>
                  <a:pt x="5655" y="2633"/>
                </a:lnTo>
                <a:lnTo>
                  <a:pt x="5664" y="2606"/>
                </a:lnTo>
                <a:lnTo>
                  <a:pt x="5675" y="2581"/>
                </a:lnTo>
                <a:lnTo>
                  <a:pt x="5687" y="2557"/>
                </a:lnTo>
                <a:lnTo>
                  <a:pt x="5703" y="2535"/>
                </a:lnTo>
                <a:lnTo>
                  <a:pt x="5720" y="2514"/>
                </a:lnTo>
                <a:lnTo>
                  <a:pt x="5618" y="2492"/>
                </a:lnTo>
                <a:lnTo>
                  <a:pt x="5618" y="2426"/>
                </a:lnTo>
                <a:lnTo>
                  <a:pt x="5962" y="2415"/>
                </a:lnTo>
                <a:lnTo>
                  <a:pt x="5979" y="2416"/>
                </a:lnTo>
                <a:lnTo>
                  <a:pt x="5996" y="2420"/>
                </a:lnTo>
                <a:lnTo>
                  <a:pt x="6013" y="2425"/>
                </a:lnTo>
                <a:lnTo>
                  <a:pt x="6030" y="2433"/>
                </a:lnTo>
                <a:lnTo>
                  <a:pt x="6048" y="2443"/>
                </a:lnTo>
                <a:lnTo>
                  <a:pt x="6065" y="2457"/>
                </a:lnTo>
                <a:lnTo>
                  <a:pt x="6082" y="2472"/>
                </a:lnTo>
                <a:lnTo>
                  <a:pt x="6097" y="2489"/>
                </a:lnTo>
                <a:lnTo>
                  <a:pt x="6113" y="2509"/>
                </a:lnTo>
                <a:lnTo>
                  <a:pt x="6128" y="2530"/>
                </a:lnTo>
                <a:lnTo>
                  <a:pt x="6140" y="2553"/>
                </a:lnTo>
                <a:lnTo>
                  <a:pt x="6150" y="2581"/>
                </a:lnTo>
                <a:lnTo>
                  <a:pt x="6160" y="2608"/>
                </a:lnTo>
                <a:lnTo>
                  <a:pt x="6165" y="2638"/>
                </a:lnTo>
                <a:lnTo>
                  <a:pt x="6170" y="2669"/>
                </a:lnTo>
                <a:lnTo>
                  <a:pt x="6172" y="2703"/>
                </a:lnTo>
                <a:lnTo>
                  <a:pt x="6172" y="2713"/>
                </a:lnTo>
                <a:close/>
                <a:moveTo>
                  <a:pt x="5801" y="2531"/>
                </a:moveTo>
                <a:lnTo>
                  <a:pt x="5801" y="2531"/>
                </a:lnTo>
                <a:lnTo>
                  <a:pt x="5782" y="2547"/>
                </a:lnTo>
                <a:lnTo>
                  <a:pt x="5765" y="2565"/>
                </a:lnTo>
                <a:lnTo>
                  <a:pt x="5750" y="2586"/>
                </a:lnTo>
                <a:lnTo>
                  <a:pt x="5736" y="2609"/>
                </a:lnTo>
                <a:lnTo>
                  <a:pt x="5726" y="2633"/>
                </a:lnTo>
                <a:lnTo>
                  <a:pt x="5718" y="2660"/>
                </a:lnTo>
                <a:lnTo>
                  <a:pt x="5713" y="2687"/>
                </a:lnTo>
                <a:lnTo>
                  <a:pt x="5711" y="2718"/>
                </a:lnTo>
                <a:lnTo>
                  <a:pt x="5711" y="2796"/>
                </a:lnTo>
                <a:lnTo>
                  <a:pt x="5713" y="2818"/>
                </a:lnTo>
                <a:lnTo>
                  <a:pt x="5716" y="2840"/>
                </a:lnTo>
                <a:lnTo>
                  <a:pt x="5721" y="2862"/>
                </a:lnTo>
                <a:lnTo>
                  <a:pt x="5728" y="2882"/>
                </a:lnTo>
                <a:lnTo>
                  <a:pt x="5736" y="2903"/>
                </a:lnTo>
                <a:lnTo>
                  <a:pt x="5745" y="2919"/>
                </a:lnTo>
                <a:lnTo>
                  <a:pt x="5757" y="2936"/>
                </a:lnTo>
                <a:lnTo>
                  <a:pt x="5770" y="2953"/>
                </a:lnTo>
                <a:lnTo>
                  <a:pt x="5784" y="2967"/>
                </a:lnTo>
                <a:lnTo>
                  <a:pt x="5799" y="2979"/>
                </a:lnTo>
                <a:lnTo>
                  <a:pt x="5816" y="2991"/>
                </a:lnTo>
                <a:lnTo>
                  <a:pt x="5833" y="2999"/>
                </a:lnTo>
                <a:lnTo>
                  <a:pt x="5850" y="3006"/>
                </a:lnTo>
                <a:lnTo>
                  <a:pt x="5869" y="3011"/>
                </a:lnTo>
                <a:lnTo>
                  <a:pt x="5887" y="3014"/>
                </a:lnTo>
                <a:lnTo>
                  <a:pt x="5908" y="3016"/>
                </a:lnTo>
                <a:lnTo>
                  <a:pt x="5926" y="3014"/>
                </a:lnTo>
                <a:lnTo>
                  <a:pt x="5945" y="3011"/>
                </a:lnTo>
                <a:lnTo>
                  <a:pt x="5963" y="3006"/>
                </a:lnTo>
                <a:lnTo>
                  <a:pt x="5982" y="2999"/>
                </a:lnTo>
                <a:lnTo>
                  <a:pt x="5999" y="2991"/>
                </a:lnTo>
                <a:lnTo>
                  <a:pt x="6014" y="2980"/>
                </a:lnTo>
                <a:lnTo>
                  <a:pt x="6030" y="2967"/>
                </a:lnTo>
                <a:lnTo>
                  <a:pt x="6043" y="2953"/>
                </a:lnTo>
                <a:lnTo>
                  <a:pt x="6057" y="2938"/>
                </a:lnTo>
                <a:lnTo>
                  <a:pt x="6068" y="2921"/>
                </a:lnTo>
                <a:lnTo>
                  <a:pt x="6079" y="2904"/>
                </a:lnTo>
                <a:lnTo>
                  <a:pt x="6087" y="2886"/>
                </a:lnTo>
                <a:lnTo>
                  <a:pt x="6094" y="2865"/>
                </a:lnTo>
                <a:lnTo>
                  <a:pt x="6099" y="2843"/>
                </a:lnTo>
                <a:lnTo>
                  <a:pt x="6102" y="2821"/>
                </a:lnTo>
                <a:lnTo>
                  <a:pt x="6104" y="2799"/>
                </a:lnTo>
                <a:lnTo>
                  <a:pt x="5985" y="2838"/>
                </a:lnTo>
                <a:lnTo>
                  <a:pt x="5977" y="2669"/>
                </a:lnTo>
                <a:lnTo>
                  <a:pt x="5853" y="2669"/>
                </a:lnTo>
                <a:lnTo>
                  <a:pt x="5899" y="2552"/>
                </a:lnTo>
                <a:lnTo>
                  <a:pt x="5801" y="2531"/>
                </a:lnTo>
                <a:close/>
                <a:moveTo>
                  <a:pt x="4183" y="293"/>
                </a:moveTo>
                <a:lnTo>
                  <a:pt x="4279" y="274"/>
                </a:lnTo>
                <a:lnTo>
                  <a:pt x="4508" y="1596"/>
                </a:lnTo>
                <a:lnTo>
                  <a:pt x="4412" y="1615"/>
                </a:lnTo>
                <a:lnTo>
                  <a:pt x="4371" y="1474"/>
                </a:lnTo>
                <a:lnTo>
                  <a:pt x="4352" y="1405"/>
                </a:lnTo>
                <a:lnTo>
                  <a:pt x="4334" y="1333"/>
                </a:lnTo>
                <a:lnTo>
                  <a:pt x="4317" y="1262"/>
                </a:lnTo>
                <a:lnTo>
                  <a:pt x="4300" y="1191"/>
                </a:lnTo>
                <a:lnTo>
                  <a:pt x="4285" y="1120"/>
                </a:lnTo>
                <a:lnTo>
                  <a:pt x="4271" y="1049"/>
                </a:lnTo>
                <a:lnTo>
                  <a:pt x="3990" y="1769"/>
                </a:lnTo>
                <a:lnTo>
                  <a:pt x="3983" y="1793"/>
                </a:lnTo>
                <a:lnTo>
                  <a:pt x="3980" y="1811"/>
                </a:lnTo>
                <a:lnTo>
                  <a:pt x="3981" y="1827"/>
                </a:lnTo>
                <a:lnTo>
                  <a:pt x="3983" y="1833"/>
                </a:lnTo>
                <a:lnTo>
                  <a:pt x="3985" y="1840"/>
                </a:lnTo>
                <a:lnTo>
                  <a:pt x="3988" y="1845"/>
                </a:lnTo>
                <a:lnTo>
                  <a:pt x="3991" y="1850"/>
                </a:lnTo>
                <a:lnTo>
                  <a:pt x="4002" y="1857"/>
                </a:lnTo>
                <a:lnTo>
                  <a:pt x="4015" y="1862"/>
                </a:lnTo>
                <a:lnTo>
                  <a:pt x="4029" y="1862"/>
                </a:lnTo>
                <a:lnTo>
                  <a:pt x="5697" y="1862"/>
                </a:lnTo>
                <a:lnTo>
                  <a:pt x="5697" y="1930"/>
                </a:lnTo>
                <a:lnTo>
                  <a:pt x="4029" y="1930"/>
                </a:lnTo>
                <a:lnTo>
                  <a:pt x="4008" y="1930"/>
                </a:lnTo>
                <a:lnTo>
                  <a:pt x="3990" y="1927"/>
                </a:lnTo>
                <a:lnTo>
                  <a:pt x="3973" y="1920"/>
                </a:lnTo>
                <a:lnTo>
                  <a:pt x="3959" y="1913"/>
                </a:lnTo>
                <a:lnTo>
                  <a:pt x="3947" y="1903"/>
                </a:lnTo>
                <a:lnTo>
                  <a:pt x="3937" y="1893"/>
                </a:lnTo>
                <a:lnTo>
                  <a:pt x="3929" y="1881"/>
                </a:lnTo>
                <a:lnTo>
                  <a:pt x="3922" y="1867"/>
                </a:lnTo>
                <a:lnTo>
                  <a:pt x="3919" y="1854"/>
                </a:lnTo>
                <a:lnTo>
                  <a:pt x="3915" y="1838"/>
                </a:lnTo>
                <a:lnTo>
                  <a:pt x="3914" y="1823"/>
                </a:lnTo>
                <a:lnTo>
                  <a:pt x="3914" y="1808"/>
                </a:lnTo>
                <a:lnTo>
                  <a:pt x="3915" y="1791"/>
                </a:lnTo>
                <a:lnTo>
                  <a:pt x="3917" y="1776"/>
                </a:lnTo>
                <a:lnTo>
                  <a:pt x="3922" y="1760"/>
                </a:lnTo>
                <a:lnTo>
                  <a:pt x="3927" y="1745"/>
                </a:lnTo>
                <a:lnTo>
                  <a:pt x="4249" y="922"/>
                </a:lnTo>
                <a:lnTo>
                  <a:pt x="4235" y="844"/>
                </a:lnTo>
                <a:lnTo>
                  <a:pt x="4225" y="766"/>
                </a:lnTo>
                <a:lnTo>
                  <a:pt x="4215" y="688"/>
                </a:lnTo>
                <a:lnTo>
                  <a:pt x="4207" y="610"/>
                </a:lnTo>
                <a:lnTo>
                  <a:pt x="4200" y="530"/>
                </a:lnTo>
                <a:lnTo>
                  <a:pt x="4193" y="452"/>
                </a:lnTo>
                <a:lnTo>
                  <a:pt x="4188" y="373"/>
                </a:lnTo>
                <a:lnTo>
                  <a:pt x="4183" y="293"/>
                </a:lnTo>
                <a:close/>
                <a:moveTo>
                  <a:pt x="2555" y="2696"/>
                </a:moveTo>
                <a:lnTo>
                  <a:pt x="2555" y="2696"/>
                </a:lnTo>
                <a:lnTo>
                  <a:pt x="2550" y="2775"/>
                </a:lnTo>
                <a:lnTo>
                  <a:pt x="2545" y="2855"/>
                </a:lnTo>
                <a:lnTo>
                  <a:pt x="2540" y="2933"/>
                </a:lnTo>
                <a:lnTo>
                  <a:pt x="2531" y="3013"/>
                </a:lnTo>
                <a:lnTo>
                  <a:pt x="2523" y="3091"/>
                </a:lnTo>
                <a:lnTo>
                  <a:pt x="2512" y="3169"/>
                </a:lnTo>
                <a:lnTo>
                  <a:pt x="2502" y="3246"/>
                </a:lnTo>
                <a:lnTo>
                  <a:pt x="2490" y="3324"/>
                </a:lnTo>
                <a:lnTo>
                  <a:pt x="2811" y="4148"/>
                </a:lnTo>
                <a:lnTo>
                  <a:pt x="2817" y="4163"/>
                </a:lnTo>
                <a:lnTo>
                  <a:pt x="2821" y="4178"/>
                </a:lnTo>
                <a:lnTo>
                  <a:pt x="2824" y="4194"/>
                </a:lnTo>
                <a:lnTo>
                  <a:pt x="2824" y="4211"/>
                </a:lnTo>
                <a:lnTo>
                  <a:pt x="2824" y="4226"/>
                </a:lnTo>
                <a:lnTo>
                  <a:pt x="2822" y="4241"/>
                </a:lnTo>
                <a:lnTo>
                  <a:pt x="2821" y="4256"/>
                </a:lnTo>
                <a:lnTo>
                  <a:pt x="2816" y="4270"/>
                </a:lnTo>
                <a:lnTo>
                  <a:pt x="2809" y="4283"/>
                </a:lnTo>
                <a:lnTo>
                  <a:pt x="2800" y="4295"/>
                </a:lnTo>
                <a:lnTo>
                  <a:pt x="2790" y="4305"/>
                </a:lnTo>
                <a:lnTo>
                  <a:pt x="2778" y="4316"/>
                </a:lnTo>
                <a:lnTo>
                  <a:pt x="2765" y="4322"/>
                </a:lnTo>
                <a:lnTo>
                  <a:pt x="2748" y="4329"/>
                </a:lnTo>
                <a:lnTo>
                  <a:pt x="2729" y="4333"/>
                </a:lnTo>
                <a:lnTo>
                  <a:pt x="2709" y="4333"/>
                </a:lnTo>
                <a:lnTo>
                  <a:pt x="1040" y="4333"/>
                </a:lnTo>
                <a:lnTo>
                  <a:pt x="1040" y="4265"/>
                </a:lnTo>
                <a:lnTo>
                  <a:pt x="2709" y="4265"/>
                </a:lnTo>
                <a:lnTo>
                  <a:pt x="2724" y="4265"/>
                </a:lnTo>
                <a:lnTo>
                  <a:pt x="2736" y="4260"/>
                </a:lnTo>
                <a:lnTo>
                  <a:pt x="2746" y="4253"/>
                </a:lnTo>
                <a:lnTo>
                  <a:pt x="2750" y="4248"/>
                </a:lnTo>
                <a:lnTo>
                  <a:pt x="2753" y="4243"/>
                </a:lnTo>
                <a:lnTo>
                  <a:pt x="2756" y="4236"/>
                </a:lnTo>
                <a:lnTo>
                  <a:pt x="2758" y="4229"/>
                </a:lnTo>
                <a:lnTo>
                  <a:pt x="2758" y="4214"/>
                </a:lnTo>
                <a:lnTo>
                  <a:pt x="2755" y="4195"/>
                </a:lnTo>
                <a:lnTo>
                  <a:pt x="2748" y="4172"/>
                </a:lnTo>
                <a:lnTo>
                  <a:pt x="2467" y="3451"/>
                </a:lnTo>
                <a:lnTo>
                  <a:pt x="2453" y="3523"/>
                </a:lnTo>
                <a:lnTo>
                  <a:pt x="2438" y="3594"/>
                </a:lnTo>
                <a:lnTo>
                  <a:pt x="2421" y="3665"/>
                </a:lnTo>
                <a:lnTo>
                  <a:pt x="2404" y="3736"/>
                </a:lnTo>
                <a:lnTo>
                  <a:pt x="2387" y="3807"/>
                </a:lnTo>
                <a:lnTo>
                  <a:pt x="2367" y="3877"/>
                </a:lnTo>
                <a:lnTo>
                  <a:pt x="2326" y="4017"/>
                </a:lnTo>
                <a:lnTo>
                  <a:pt x="2230" y="3999"/>
                </a:lnTo>
                <a:lnTo>
                  <a:pt x="2458" y="2677"/>
                </a:lnTo>
                <a:lnTo>
                  <a:pt x="2555" y="2696"/>
                </a:lnTo>
                <a:close/>
                <a:moveTo>
                  <a:pt x="4183" y="2696"/>
                </a:moveTo>
                <a:lnTo>
                  <a:pt x="4279" y="2677"/>
                </a:lnTo>
                <a:lnTo>
                  <a:pt x="4508" y="3999"/>
                </a:lnTo>
                <a:lnTo>
                  <a:pt x="4412" y="4017"/>
                </a:lnTo>
                <a:lnTo>
                  <a:pt x="4371" y="3877"/>
                </a:lnTo>
                <a:lnTo>
                  <a:pt x="4352" y="3807"/>
                </a:lnTo>
                <a:lnTo>
                  <a:pt x="4334" y="3736"/>
                </a:lnTo>
                <a:lnTo>
                  <a:pt x="4317" y="3665"/>
                </a:lnTo>
                <a:lnTo>
                  <a:pt x="4300" y="3594"/>
                </a:lnTo>
                <a:lnTo>
                  <a:pt x="4285" y="3523"/>
                </a:lnTo>
                <a:lnTo>
                  <a:pt x="4271" y="3451"/>
                </a:lnTo>
                <a:lnTo>
                  <a:pt x="3990" y="4172"/>
                </a:lnTo>
                <a:lnTo>
                  <a:pt x="3983" y="4195"/>
                </a:lnTo>
                <a:lnTo>
                  <a:pt x="3980" y="4214"/>
                </a:lnTo>
                <a:lnTo>
                  <a:pt x="3981" y="4229"/>
                </a:lnTo>
                <a:lnTo>
                  <a:pt x="3983" y="4236"/>
                </a:lnTo>
                <a:lnTo>
                  <a:pt x="3985" y="4243"/>
                </a:lnTo>
                <a:lnTo>
                  <a:pt x="3988" y="4248"/>
                </a:lnTo>
                <a:lnTo>
                  <a:pt x="3991" y="4253"/>
                </a:lnTo>
                <a:lnTo>
                  <a:pt x="4002" y="4260"/>
                </a:lnTo>
                <a:lnTo>
                  <a:pt x="4015" y="4265"/>
                </a:lnTo>
                <a:lnTo>
                  <a:pt x="4029" y="4265"/>
                </a:lnTo>
                <a:lnTo>
                  <a:pt x="5697" y="4265"/>
                </a:lnTo>
                <a:lnTo>
                  <a:pt x="5697" y="4333"/>
                </a:lnTo>
                <a:lnTo>
                  <a:pt x="4029" y="4333"/>
                </a:lnTo>
                <a:lnTo>
                  <a:pt x="4008" y="4333"/>
                </a:lnTo>
                <a:lnTo>
                  <a:pt x="3990" y="4329"/>
                </a:lnTo>
                <a:lnTo>
                  <a:pt x="3973" y="4322"/>
                </a:lnTo>
                <a:lnTo>
                  <a:pt x="3959" y="4316"/>
                </a:lnTo>
                <a:lnTo>
                  <a:pt x="3947" y="4305"/>
                </a:lnTo>
                <a:lnTo>
                  <a:pt x="3937" y="4295"/>
                </a:lnTo>
                <a:lnTo>
                  <a:pt x="3929" y="4283"/>
                </a:lnTo>
                <a:lnTo>
                  <a:pt x="3922" y="4270"/>
                </a:lnTo>
                <a:lnTo>
                  <a:pt x="3919" y="4256"/>
                </a:lnTo>
                <a:lnTo>
                  <a:pt x="3915" y="4241"/>
                </a:lnTo>
                <a:lnTo>
                  <a:pt x="3914" y="4226"/>
                </a:lnTo>
                <a:lnTo>
                  <a:pt x="3914" y="4211"/>
                </a:lnTo>
                <a:lnTo>
                  <a:pt x="3915" y="4194"/>
                </a:lnTo>
                <a:lnTo>
                  <a:pt x="3917" y="4178"/>
                </a:lnTo>
                <a:lnTo>
                  <a:pt x="3922" y="4163"/>
                </a:lnTo>
                <a:lnTo>
                  <a:pt x="3927" y="4148"/>
                </a:lnTo>
                <a:lnTo>
                  <a:pt x="4249" y="3324"/>
                </a:lnTo>
                <a:lnTo>
                  <a:pt x="4235" y="3246"/>
                </a:lnTo>
                <a:lnTo>
                  <a:pt x="4225" y="3169"/>
                </a:lnTo>
                <a:lnTo>
                  <a:pt x="4215" y="3091"/>
                </a:lnTo>
                <a:lnTo>
                  <a:pt x="4207" y="3013"/>
                </a:lnTo>
                <a:lnTo>
                  <a:pt x="4200" y="2933"/>
                </a:lnTo>
                <a:lnTo>
                  <a:pt x="4193" y="2855"/>
                </a:lnTo>
                <a:lnTo>
                  <a:pt x="4188" y="2775"/>
                </a:lnTo>
                <a:lnTo>
                  <a:pt x="4183" y="2696"/>
                </a:lnTo>
                <a:close/>
                <a:moveTo>
                  <a:pt x="1991" y="4109"/>
                </a:moveTo>
                <a:lnTo>
                  <a:pt x="1991" y="4109"/>
                </a:lnTo>
                <a:lnTo>
                  <a:pt x="1994" y="4109"/>
                </a:lnTo>
                <a:lnTo>
                  <a:pt x="1999" y="4109"/>
                </a:lnTo>
                <a:lnTo>
                  <a:pt x="2001" y="4107"/>
                </a:lnTo>
                <a:lnTo>
                  <a:pt x="2003" y="4106"/>
                </a:lnTo>
                <a:lnTo>
                  <a:pt x="2004" y="4102"/>
                </a:lnTo>
                <a:lnTo>
                  <a:pt x="2003" y="4100"/>
                </a:lnTo>
                <a:lnTo>
                  <a:pt x="2001" y="4097"/>
                </a:lnTo>
                <a:lnTo>
                  <a:pt x="1999" y="4095"/>
                </a:lnTo>
                <a:lnTo>
                  <a:pt x="1864" y="4004"/>
                </a:lnTo>
                <a:lnTo>
                  <a:pt x="1843" y="3994"/>
                </a:lnTo>
                <a:lnTo>
                  <a:pt x="1825" y="3985"/>
                </a:lnTo>
                <a:lnTo>
                  <a:pt x="1804" y="3980"/>
                </a:lnTo>
                <a:lnTo>
                  <a:pt x="1784" y="3980"/>
                </a:lnTo>
                <a:lnTo>
                  <a:pt x="1465" y="3982"/>
                </a:lnTo>
                <a:lnTo>
                  <a:pt x="1465" y="3914"/>
                </a:lnTo>
                <a:lnTo>
                  <a:pt x="1782" y="3914"/>
                </a:lnTo>
                <a:lnTo>
                  <a:pt x="1811" y="3916"/>
                </a:lnTo>
                <a:lnTo>
                  <a:pt x="1825" y="3916"/>
                </a:lnTo>
                <a:lnTo>
                  <a:pt x="1838" y="3919"/>
                </a:lnTo>
                <a:lnTo>
                  <a:pt x="1852" y="3923"/>
                </a:lnTo>
                <a:lnTo>
                  <a:pt x="1864" y="3928"/>
                </a:lnTo>
                <a:lnTo>
                  <a:pt x="1875" y="3933"/>
                </a:lnTo>
                <a:lnTo>
                  <a:pt x="1887" y="3941"/>
                </a:lnTo>
                <a:lnTo>
                  <a:pt x="2036" y="4061"/>
                </a:lnTo>
                <a:lnTo>
                  <a:pt x="2045" y="4070"/>
                </a:lnTo>
                <a:lnTo>
                  <a:pt x="2053" y="4078"/>
                </a:lnTo>
                <a:lnTo>
                  <a:pt x="2058" y="4089"/>
                </a:lnTo>
                <a:lnTo>
                  <a:pt x="2062" y="4099"/>
                </a:lnTo>
                <a:lnTo>
                  <a:pt x="2065" y="4107"/>
                </a:lnTo>
                <a:lnTo>
                  <a:pt x="2065" y="4117"/>
                </a:lnTo>
                <a:lnTo>
                  <a:pt x="2063" y="4126"/>
                </a:lnTo>
                <a:lnTo>
                  <a:pt x="2062" y="4134"/>
                </a:lnTo>
                <a:lnTo>
                  <a:pt x="2058" y="4143"/>
                </a:lnTo>
                <a:lnTo>
                  <a:pt x="2053" y="4150"/>
                </a:lnTo>
                <a:lnTo>
                  <a:pt x="2048" y="4155"/>
                </a:lnTo>
                <a:lnTo>
                  <a:pt x="2041" y="4160"/>
                </a:lnTo>
                <a:lnTo>
                  <a:pt x="2035" y="4163"/>
                </a:lnTo>
                <a:lnTo>
                  <a:pt x="2026" y="4165"/>
                </a:lnTo>
                <a:lnTo>
                  <a:pt x="2018" y="4165"/>
                </a:lnTo>
                <a:lnTo>
                  <a:pt x="2008" y="4163"/>
                </a:lnTo>
                <a:lnTo>
                  <a:pt x="1962" y="4153"/>
                </a:lnTo>
                <a:lnTo>
                  <a:pt x="1962" y="4194"/>
                </a:lnTo>
                <a:lnTo>
                  <a:pt x="1586" y="4194"/>
                </a:lnTo>
                <a:lnTo>
                  <a:pt x="1586" y="4175"/>
                </a:lnTo>
                <a:lnTo>
                  <a:pt x="1537" y="4187"/>
                </a:lnTo>
                <a:lnTo>
                  <a:pt x="1535" y="4117"/>
                </a:lnTo>
                <a:lnTo>
                  <a:pt x="1833" y="4050"/>
                </a:lnTo>
                <a:lnTo>
                  <a:pt x="1991" y="4109"/>
                </a:lnTo>
                <a:close/>
                <a:moveTo>
                  <a:pt x="4752" y="1699"/>
                </a:moveTo>
                <a:lnTo>
                  <a:pt x="4908" y="1642"/>
                </a:lnTo>
                <a:lnTo>
                  <a:pt x="5206" y="1710"/>
                </a:lnTo>
                <a:lnTo>
                  <a:pt x="5204" y="1779"/>
                </a:lnTo>
                <a:lnTo>
                  <a:pt x="5157" y="1767"/>
                </a:lnTo>
                <a:lnTo>
                  <a:pt x="5157" y="1786"/>
                </a:lnTo>
                <a:lnTo>
                  <a:pt x="4779" y="1786"/>
                </a:lnTo>
                <a:lnTo>
                  <a:pt x="4779" y="1744"/>
                </a:lnTo>
                <a:lnTo>
                  <a:pt x="4733" y="1755"/>
                </a:lnTo>
                <a:lnTo>
                  <a:pt x="4725" y="1757"/>
                </a:lnTo>
                <a:lnTo>
                  <a:pt x="4717" y="1757"/>
                </a:lnTo>
                <a:lnTo>
                  <a:pt x="4708" y="1754"/>
                </a:lnTo>
                <a:lnTo>
                  <a:pt x="4701" y="1750"/>
                </a:lnTo>
                <a:lnTo>
                  <a:pt x="4695" y="1747"/>
                </a:lnTo>
                <a:lnTo>
                  <a:pt x="4688" y="1740"/>
                </a:lnTo>
                <a:lnTo>
                  <a:pt x="4684" y="1733"/>
                </a:lnTo>
                <a:lnTo>
                  <a:pt x="4679" y="1727"/>
                </a:lnTo>
                <a:lnTo>
                  <a:pt x="4678" y="1718"/>
                </a:lnTo>
                <a:lnTo>
                  <a:pt x="4678" y="1710"/>
                </a:lnTo>
                <a:lnTo>
                  <a:pt x="4678" y="1699"/>
                </a:lnTo>
                <a:lnTo>
                  <a:pt x="4679" y="1691"/>
                </a:lnTo>
                <a:lnTo>
                  <a:pt x="4683" y="1681"/>
                </a:lnTo>
                <a:lnTo>
                  <a:pt x="4689" y="1671"/>
                </a:lnTo>
                <a:lnTo>
                  <a:pt x="4696" y="1662"/>
                </a:lnTo>
                <a:lnTo>
                  <a:pt x="4706" y="1652"/>
                </a:lnTo>
                <a:lnTo>
                  <a:pt x="4855" y="1533"/>
                </a:lnTo>
                <a:lnTo>
                  <a:pt x="4866" y="1525"/>
                </a:lnTo>
                <a:lnTo>
                  <a:pt x="4878" y="1520"/>
                </a:lnTo>
                <a:lnTo>
                  <a:pt x="4891" y="1515"/>
                </a:lnTo>
                <a:lnTo>
                  <a:pt x="4905" y="1511"/>
                </a:lnTo>
                <a:lnTo>
                  <a:pt x="4916" y="1508"/>
                </a:lnTo>
                <a:lnTo>
                  <a:pt x="4932" y="1506"/>
                </a:lnTo>
                <a:lnTo>
                  <a:pt x="4961" y="1506"/>
                </a:lnTo>
                <a:lnTo>
                  <a:pt x="5277" y="1506"/>
                </a:lnTo>
                <a:lnTo>
                  <a:pt x="5277" y="1574"/>
                </a:lnTo>
                <a:lnTo>
                  <a:pt x="4959" y="1571"/>
                </a:lnTo>
                <a:lnTo>
                  <a:pt x="4937" y="1572"/>
                </a:lnTo>
                <a:lnTo>
                  <a:pt x="4918" y="1577"/>
                </a:lnTo>
                <a:lnTo>
                  <a:pt x="4898" y="1584"/>
                </a:lnTo>
                <a:lnTo>
                  <a:pt x="4879" y="1596"/>
                </a:lnTo>
                <a:lnTo>
                  <a:pt x="4744" y="1686"/>
                </a:lnTo>
                <a:lnTo>
                  <a:pt x="4740" y="1689"/>
                </a:lnTo>
                <a:lnTo>
                  <a:pt x="4739" y="1691"/>
                </a:lnTo>
                <a:lnTo>
                  <a:pt x="4739" y="1694"/>
                </a:lnTo>
                <a:lnTo>
                  <a:pt x="4739" y="1698"/>
                </a:lnTo>
                <a:lnTo>
                  <a:pt x="4740" y="1699"/>
                </a:lnTo>
                <a:lnTo>
                  <a:pt x="4744" y="1701"/>
                </a:lnTo>
                <a:lnTo>
                  <a:pt x="4747" y="1701"/>
                </a:lnTo>
                <a:lnTo>
                  <a:pt x="4752" y="1699"/>
                </a:lnTo>
                <a:close/>
              </a:path>
            </a:pathLst>
          </a:custGeom>
          <a:solidFill>
            <a:sysClr val="windowText" lastClr="000000">
              <a:lumMod val="50000"/>
              <a:lumOff val="50000"/>
            </a:sysClr>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230" name="TextBox 229">
            <a:extLst>
              <a:ext uri="{FF2B5EF4-FFF2-40B4-BE49-F238E27FC236}">
                <a16:creationId xmlns:a16="http://schemas.microsoft.com/office/drawing/2014/main" id="{1A048E90-A741-C348-B110-1A4E0568ECAC}"/>
              </a:ext>
            </a:extLst>
          </p:cNvPr>
          <p:cNvSpPr txBox="1"/>
          <p:nvPr/>
        </p:nvSpPr>
        <p:spPr>
          <a:xfrm>
            <a:off x="246708" y="5060891"/>
            <a:ext cx="143905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Delivery Team Capacity</a:t>
            </a:r>
          </a:p>
        </p:txBody>
      </p:sp>
      <p:sp>
        <p:nvSpPr>
          <p:cNvPr id="231" name="Freeform 37">
            <a:extLst>
              <a:ext uri="{FF2B5EF4-FFF2-40B4-BE49-F238E27FC236}">
                <a16:creationId xmlns:a16="http://schemas.microsoft.com/office/drawing/2014/main" id="{D44D5F25-5A43-1D4E-802B-9434A207FEBF}"/>
              </a:ext>
            </a:extLst>
          </p:cNvPr>
          <p:cNvSpPr>
            <a:spLocks noChangeAspect="1" noEditPoints="1"/>
          </p:cNvSpPr>
          <p:nvPr/>
        </p:nvSpPr>
        <p:spPr bwMode="auto">
          <a:xfrm>
            <a:off x="772417" y="3159397"/>
            <a:ext cx="387633" cy="553339"/>
          </a:xfrm>
          <a:custGeom>
            <a:avLst/>
            <a:gdLst>
              <a:gd name="T0" fmla="*/ 796 w 1805"/>
              <a:gd name="T1" fmla="*/ 2087 h 2550"/>
              <a:gd name="T2" fmla="*/ 1751 w 1805"/>
              <a:gd name="T3" fmla="*/ 1593 h 2550"/>
              <a:gd name="T4" fmla="*/ 796 w 1805"/>
              <a:gd name="T5" fmla="*/ 1713 h 2550"/>
              <a:gd name="T6" fmla="*/ 1452 w 1805"/>
              <a:gd name="T7" fmla="*/ 1826 h 2550"/>
              <a:gd name="T8" fmla="*/ 664 w 1805"/>
              <a:gd name="T9" fmla="*/ 1185 h 2550"/>
              <a:gd name="T10" fmla="*/ 1418 w 1805"/>
              <a:gd name="T11" fmla="*/ 1060 h 2550"/>
              <a:gd name="T12" fmla="*/ 1391 w 1805"/>
              <a:gd name="T13" fmla="*/ 948 h 2550"/>
              <a:gd name="T14" fmla="*/ 1298 w 1805"/>
              <a:gd name="T15" fmla="*/ 849 h 2550"/>
              <a:gd name="T16" fmla="*/ 1087 w 1805"/>
              <a:gd name="T17" fmla="*/ 789 h 2550"/>
              <a:gd name="T18" fmla="*/ 950 w 1805"/>
              <a:gd name="T19" fmla="*/ 951 h 2550"/>
              <a:gd name="T20" fmla="*/ 484 w 1805"/>
              <a:gd name="T21" fmla="*/ 780 h 2550"/>
              <a:gd name="T22" fmla="*/ 613 w 1805"/>
              <a:gd name="T23" fmla="*/ 1220 h 2550"/>
              <a:gd name="T24" fmla="*/ 369 w 1805"/>
              <a:gd name="T25" fmla="*/ 804 h 2550"/>
              <a:gd name="T26" fmla="*/ 192 w 1805"/>
              <a:gd name="T27" fmla="*/ 884 h 2550"/>
              <a:gd name="T28" fmla="*/ 128 w 1805"/>
              <a:gd name="T29" fmla="*/ 988 h 2550"/>
              <a:gd name="T30" fmla="*/ 348 w 1805"/>
              <a:gd name="T31" fmla="*/ 2138 h 2550"/>
              <a:gd name="T32" fmla="*/ 400 w 1805"/>
              <a:gd name="T33" fmla="*/ 1965 h 2550"/>
              <a:gd name="T34" fmla="*/ 1634 w 1805"/>
              <a:gd name="T35" fmla="*/ 1943 h 2550"/>
              <a:gd name="T36" fmla="*/ 1703 w 1805"/>
              <a:gd name="T37" fmla="*/ 1937 h 2550"/>
              <a:gd name="T38" fmla="*/ 1804 w 1805"/>
              <a:gd name="T39" fmla="*/ 1687 h 2550"/>
              <a:gd name="T40" fmla="*/ 1790 w 1805"/>
              <a:gd name="T41" fmla="*/ 1624 h 2550"/>
              <a:gd name="T42" fmla="*/ 1751 w 1805"/>
              <a:gd name="T43" fmla="*/ 1687 h 2550"/>
              <a:gd name="T44" fmla="*/ 1673 w 1805"/>
              <a:gd name="T45" fmla="*/ 1895 h 2550"/>
              <a:gd name="T46" fmla="*/ 1509 w 1805"/>
              <a:gd name="T47" fmla="*/ 1809 h 2550"/>
              <a:gd name="T48" fmla="*/ 1457 w 1805"/>
              <a:gd name="T49" fmla="*/ 1725 h 2550"/>
              <a:gd name="T50" fmla="*/ 1716 w 1805"/>
              <a:gd name="T51" fmla="*/ 1639 h 2550"/>
              <a:gd name="T52" fmla="*/ 1752 w 1805"/>
              <a:gd name="T53" fmla="*/ 1664 h 2550"/>
              <a:gd name="T54" fmla="*/ 1307 w 1805"/>
              <a:gd name="T55" fmla="*/ 2216 h 2550"/>
              <a:gd name="T56" fmla="*/ 590 w 1805"/>
              <a:gd name="T57" fmla="*/ 666 h 2550"/>
              <a:gd name="T58" fmla="*/ 683 w 1805"/>
              <a:gd name="T59" fmla="*/ 671 h 2550"/>
              <a:gd name="T60" fmla="*/ 801 w 1805"/>
              <a:gd name="T61" fmla="*/ 685 h 2550"/>
              <a:gd name="T62" fmla="*/ 900 w 1805"/>
              <a:gd name="T63" fmla="*/ 657 h 2550"/>
              <a:gd name="T64" fmla="*/ 984 w 1805"/>
              <a:gd name="T65" fmla="*/ 670 h 2550"/>
              <a:gd name="T66" fmla="*/ 1076 w 1805"/>
              <a:gd name="T67" fmla="*/ 633 h 2550"/>
              <a:gd name="T68" fmla="*/ 1121 w 1805"/>
              <a:gd name="T69" fmla="*/ 553 h 2550"/>
              <a:gd name="T70" fmla="*/ 1022 w 1805"/>
              <a:gd name="T71" fmla="*/ 534 h 2550"/>
              <a:gd name="T72" fmla="*/ 1026 w 1805"/>
              <a:gd name="T73" fmla="*/ 490 h 2550"/>
              <a:gd name="T74" fmla="*/ 1057 w 1805"/>
              <a:gd name="T75" fmla="*/ 444 h 2550"/>
              <a:gd name="T76" fmla="*/ 1056 w 1805"/>
              <a:gd name="T77" fmla="*/ 268 h 2550"/>
              <a:gd name="T78" fmla="*/ 1012 w 1805"/>
              <a:gd name="T79" fmla="*/ 150 h 2550"/>
              <a:gd name="T80" fmla="*/ 931 w 1805"/>
              <a:gd name="T81" fmla="*/ 58 h 2550"/>
              <a:gd name="T82" fmla="*/ 822 w 1805"/>
              <a:gd name="T83" fmla="*/ 7 h 2550"/>
              <a:gd name="T84" fmla="*/ 712 w 1805"/>
              <a:gd name="T85" fmla="*/ 4 h 2550"/>
              <a:gd name="T86" fmla="*/ 601 w 1805"/>
              <a:gd name="T87" fmla="*/ 49 h 2550"/>
              <a:gd name="T88" fmla="*/ 517 w 1805"/>
              <a:gd name="T89" fmla="*/ 137 h 2550"/>
              <a:gd name="T90" fmla="*/ 468 w 1805"/>
              <a:gd name="T91" fmla="*/ 252 h 2550"/>
              <a:gd name="T92" fmla="*/ 460 w 1805"/>
              <a:gd name="T93" fmla="*/ 414 h 2550"/>
              <a:gd name="T94" fmla="*/ 485 w 1805"/>
              <a:gd name="T95" fmla="*/ 485 h 2550"/>
              <a:gd name="T96" fmla="*/ 538 w 1805"/>
              <a:gd name="T97" fmla="*/ 507 h 2550"/>
              <a:gd name="T98" fmla="*/ 421 w 1805"/>
              <a:gd name="T99" fmla="*/ 553 h 2550"/>
              <a:gd name="T100" fmla="*/ 420 w 1805"/>
              <a:gd name="T101" fmla="*/ 607 h 2550"/>
              <a:gd name="T102" fmla="*/ 497 w 1805"/>
              <a:gd name="T103" fmla="*/ 662 h 2550"/>
              <a:gd name="T104" fmla="*/ 626 w 1805"/>
              <a:gd name="T105" fmla="*/ 394 h 2550"/>
              <a:gd name="T106" fmla="*/ 784 w 1805"/>
              <a:gd name="T107" fmla="*/ 346 h 2550"/>
              <a:gd name="T108" fmla="*/ 899 w 1805"/>
              <a:gd name="T109" fmla="*/ 201 h 2550"/>
              <a:gd name="T110" fmla="*/ 959 w 1805"/>
              <a:gd name="T111" fmla="*/ 291 h 2550"/>
              <a:gd name="T112" fmla="*/ 947 w 1805"/>
              <a:gd name="T113" fmla="*/ 503 h 2550"/>
              <a:gd name="T114" fmla="*/ 842 w 1805"/>
              <a:gd name="T115" fmla="*/ 621 h 2550"/>
              <a:gd name="T116" fmla="*/ 711 w 1805"/>
              <a:gd name="T117" fmla="*/ 629 h 2550"/>
              <a:gd name="T118" fmla="*/ 597 w 1805"/>
              <a:gd name="T119" fmla="*/ 523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5" h="2550">
                <a:moveTo>
                  <a:pt x="1451" y="1846"/>
                </a:moveTo>
                <a:lnTo>
                  <a:pt x="796" y="1846"/>
                </a:lnTo>
                <a:lnTo>
                  <a:pt x="796" y="1898"/>
                </a:lnTo>
                <a:lnTo>
                  <a:pt x="1451" y="1898"/>
                </a:lnTo>
                <a:lnTo>
                  <a:pt x="1451" y="1846"/>
                </a:lnTo>
                <a:close/>
                <a:moveTo>
                  <a:pt x="1451" y="2035"/>
                </a:moveTo>
                <a:lnTo>
                  <a:pt x="796" y="2035"/>
                </a:lnTo>
                <a:lnTo>
                  <a:pt x="796" y="2087"/>
                </a:lnTo>
                <a:lnTo>
                  <a:pt x="1451" y="2087"/>
                </a:lnTo>
                <a:lnTo>
                  <a:pt x="1451" y="2035"/>
                </a:lnTo>
                <a:close/>
                <a:moveTo>
                  <a:pt x="1779" y="1611"/>
                </a:moveTo>
                <a:lnTo>
                  <a:pt x="1779" y="1611"/>
                </a:lnTo>
                <a:lnTo>
                  <a:pt x="1772" y="1606"/>
                </a:lnTo>
                <a:lnTo>
                  <a:pt x="1766" y="1601"/>
                </a:lnTo>
                <a:lnTo>
                  <a:pt x="1759" y="1597"/>
                </a:lnTo>
                <a:lnTo>
                  <a:pt x="1751" y="1593"/>
                </a:lnTo>
                <a:lnTo>
                  <a:pt x="1742" y="1591"/>
                </a:lnTo>
                <a:lnTo>
                  <a:pt x="1734" y="1589"/>
                </a:lnTo>
                <a:lnTo>
                  <a:pt x="1725" y="1588"/>
                </a:lnTo>
                <a:lnTo>
                  <a:pt x="1716" y="1588"/>
                </a:lnTo>
                <a:lnTo>
                  <a:pt x="1416" y="1588"/>
                </a:lnTo>
                <a:lnTo>
                  <a:pt x="1409" y="1662"/>
                </a:lnTo>
                <a:lnTo>
                  <a:pt x="796" y="1662"/>
                </a:lnTo>
                <a:lnTo>
                  <a:pt x="796" y="1713"/>
                </a:lnTo>
                <a:lnTo>
                  <a:pt x="1406" y="1713"/>
                </a:lnTo>
                <a:lnTo>
                  <a:pt x="1406" y="1713"/>
                </a:lnTo>
                <a:lnTo>
                  <a:pt x="1407" y="1734"/>
                </a:lnTo>
                <a:lnTo>
                  <a:pt x="1411" y="1754"/>
                </a:lnTo>
                <a:lnTo>
                  <a:pt x="1418" y="1774"/>
                </a:lnTo>
                <a:lnTo>
                  <a:pt x="1427" y="1792"/>
                </a:lnTo>
                <a:lnTo>
                  <a:pt x="1438" y="1810"/>
                </a:lnTo>
                <a:lnTo>
                  <a:pt x="1452" y="1826"/>
                </a:lnTo>
                <a:lnTo>
                  <a:pt x="1466" y="1841"/>
                </a:lnTo>
                <a:lnTo>
                  <a:pt x="1474" y="1847"/>
                </a:lnTo>
                <a:lnTo>
                  <a:pt x="1482" y="1853"/>
                </a:lnTo>
                <a:lnTo>
                  <a:pt x="1580" y="1914"/>
                </a:lnTo>
                <a:lnTo>
                  <a:pt x="1573" y="1914"/>
                </a:lnTo>
                <a:lnTo>
                  <a:pt x="1573" y="2498"/>
                </a:lnTo>
                <a:lnTo>
                  <a:pt x="664" y="2498"/>
                </a:lnTo>
                <a:lnTo>
                  <a:pt x="664" y="1185"/>
                </a:lnTo>
                <a:lnTo>
                  <a:pt x="1310" y="1185"/>
                </a:lnTo>
                <a:lnTo>
                  <a:pt x="1310" y="1463"/>
                </a:lnTo>
                <a:lnTo>
                  <a:pt x="1624" y="1463"/>
                </a:lnTo>
                <a:lnTo>
                  <a:pt x="1624" y="1403"/>
                </a:lnTo>
                <a:lnTo>
                  <a:pt x="1418" y="1202"/>
                </a:lnTo>
                <a:lnTo>
                  <a:pt x="1418" y="1077"/>
                </a:lnTo>
                <a:lnTo>
                  <a:pt x="1418" y="1077"/>
                </a:lnTo>
                <a:lnTo>
                  <a:pt x="1418" y="1060"/>
                </a:lnTo>
                <a:lnTo>
                  <a:pt x="1417" y="1045"/>
                </a:lnTo>
                <a:lnTo>
                  <a:pt x="1415" y="1029"/>
                </a:lnTo>
                <a:lnTo>
                  <a:pt x="1412" y="1013"/>
                </a:lnTo>
                <a:lnTo>
                  <a:pt x="1409" y="1000"/>
                </a:lnTo>
                <a:lnTo>
                  <a:pt x="1406" y="985"/>
                </a:lnTo>
                <a:lnTo>
                  <a:pt x="1401" y="973"/>
                </a:lnTo>
                <a:lnTo>
                  <a:pt x="1397" y="959"/>
                </a:lnTo>
                <a:lnTo>
                  <a:pt x="1391" y="948"/>
                </a:lnTo>
                <a:lnTo>
                  <a:pt x="1384" y="935"/>
                </a:lnTo>
                <a:lnTo>
                  <a:pt x="1378" y="925"/>
                </a:lnTo>
                <a:lnTo>
                  <a:pt x="1371" y="914"/>
                </a:lnTo>
                <a:lnTo>
                  <a:pt x="1363" y="905"/>
                </a:lnTo>
                <a:lnTo>
                  <a:pt x="1355" y="895"/>
                </a:lnTo>
                <a:lnTo>
                  <a:pt x="1337" y="878"/>
                </a:lnTo>
                <a:lnTo>
                  <a:pt x="1318" y="862"/>
                </a:lnTo>
                <a:lnTo>
                  <a:pt x="1298" y="849"/>
                </a:lnTo>
                <a:lnTo>
                  <a:pt x="1276" y="838"/>
                </a:lnTo>
                <a:lnTo>
                  <a:pt x="1252" y="828"/>
                </a:lnTo>
                <a:lnTo>
                  <a:pt x="1228" y="819"/>
                </a:lnTo>
                <a:lnTo>
                  <a:pt x="1203" y="811"/>
                </a:lnTo>
                <a:lnTo>
                  <a:pt x="1177" y="805"/>
                </a:lnTo>
                <a:lnTo>
                  <a:pt x="1151" y="799"/>
                </a:lnTo>
                <a:lnTo>
                  <a:pt x="1087" y="789"/>
                </a:lnTo>
                <a:lnTo>
                  <a:pt x="1087" y="789"/>
                </a:lnTo>
                <a:lnTo>
                  <a:pt x="1088" y="930"/>
                </a:lnTo>
                <a:lnTo>
                  <a:pt x="1089" y="942"/>
                </a:lnTo>
                <a:lnTo>
                  <a:pt x="1017" y="966"/>
                </a:lnTo>
                <a:lnTo>
                  <a:pt x="1087" y="1028"/>
                </a:lnTo>
                <a:lnTo>
                  <a:pt x="994" y="1133"/>
                </a:lnTo>
                <a:lnTo>
                  <a:pt x="948" y="1133"/>
                </a:lnTo>
                <a:lnTo>
                  <a:pt x="1039" y="1030"/>
                </a:lnTo>
                <a:lnTo>
                  <a:pt x="950" y="951"/>
                </a:lnTo>
                <a:lnTo>
                  <a:pt x="1055" y="917"/>
                </a:lnTo>
                <a:lnTo>
                  <a:pt x="1055" y="917"/>
                </a:lnTo>
                <a:lnTo>
                  <a:pt x="1052" y="784"/>
                </a:lnTo>
                <a:lnTo>
                  <a:pt x="954" y="768"/>
                </a:lnTo>
                <a:lnTo>
                  <a:pt x="781" y="1133"/>
                </a:lnTo>
                <a:lnTo>
                  <a:pt x="742" y="1133"/>
                </a:lnTo>
                <a:lnTo>
                  <a:pt x="567" y="763"/>
                </a:lnTo>
                <a:lnTo>
                  <a:pt x="484" y="780"/>
                </a:lnTo>
                <a:lnTo>
                  <a:pt x="484" y="780"/>
                </a:lnTo>
                <a:lnTo>
                  <a:pt x="482" y="839"/>
                </a:lnTo>
                <a:lnTo>
                  <a:pt x="482" y="839"/>
                </a:lnTo>
                <a:lnTo>
                  <a:pt x="481" y="917"/>
                </a:lnTo>
                <a:lnTo>
                  <a:pt x="586" y="951"/>
                </a:lnTo>
                <a:lnTo>
                  <a:pt x="497" y="1031"/>
                </a:lnTo>
                <a:lnTo>
                  <a:pt x="613" y="1167"/>
                </a:lnTo>
                <a:lnTo>
                  <a:pt x="613" y="1220"/>
                </a:lnTo>
                <a:lnTo>
                  <a:pt x="449" y="1028"/>
                </a:lnTo>
                <a:lnTo>
                  <a:pt x="518" y="966"/>
                </a:lnTo>
                <a:lnTo>
                  <a:pt x="448" y="942"/>
                </a:lnTo>
                <a:lnTo>
                  <a:pt x="448" y="930"/>
                </a:lnTo>
                <a:lnTo>
                  <a:pt x="448" y="930"/>
                </a:lnTo>
                <a:lnTo>
                  <a:pt x="449" y="787"/>
                </a:lnTo>
                <a:lnTo>
                  <a:pt x="369" y="804"/>
                </a:lnTo>
                <a:lnTo>
                  <a:pt x="369" y="804"/>
                </a:lnTo>
                <a:lnTo>
                  <a:pt x="343" y="810"/>
                </a:lnTo>
                <a:lnTo>
                  <a:pt x="319" y="816"/>
                </a:lnTo>
                <a:lnTo>
                  <a:pt x="295" y="823"/>
                </a:lnTo>
                <a:lnTo>
                  <a:pt x="273" y="833"/>
                </a:lnTo>
                <a:lnTo>
                  <a:pt x="250" y="843"/>
                </a:lnTo>
                <a:lnTo>
                  <a:pt x="229" y="856"/>
                </a:lnTo>
                <a:lnTo>
                  <a:pt x="210" y="869"/>
                </a:lnTo>
                <a:lnTo>
                  <a:pt x="192" y="884"/>
                </a:lnTo>
                <a:lnTo>
                  <a:pt x="175" y="901"/>
                </a:lnTo>
                <a:lnTo>
                  <a:pt x="160" y="920"/>
                </a:lnTo>
                <a:lnTo>
                  <a:pt x="154" y="930"/>
                </a:lnTo>
                <a:lnTo>
                  <a:pt x="147" y="940"/>
                </a:lnTo>
                <a:lnTo>
                  <a:pt x="141" y="951"/>
                </a:lnTo>
                <a:lnTo>
                  <a:pt x="137" y="964"/>
                </a:lnTo>
                <a:lnTo>
                  <a:pt x="132" y="976"/>
                </a:lnTo>
                <a:lnTo>
                  <a:pt x="128" y="988"/>
                </a:lnTo>
                <a:lnTo>
                  <a:pt x="125" y="1002"/>
                </a:lnTo>
                <a:lnTo>
                  <a:pt x="121" y="1015"/>
                </a:lnTo>
                <a:lnTo>
                  <a:pt x="119" y="1030"/>
                </a:lnTo>
                <a:lnTo>
                  <a:pt x="118" y="1046"/>
                </a:lnTo>
                <a:lnTo>
                  <a:pt x="117" y="1061"/>
                </a:lnTo>
                <a:lnTo>
                  <a:pt x="117" y="1077"/>
                </a:lnTo>
                <a:lnTo>
                  <a:pt x="0" y="2138"/>
                </a:lnTo>
                <a:lnTo>
                  <a:pt x="348" y="2138"/>
                </a:lnTo>
                <a:lnTo>
                  <a:pt x="348" y="1606"/>
                </a:lnTo>
                <a:lnTo>
                  <a:pt x="280" y="1300"/>
                </a:lnTo>
                <a:lnTo>
                  <a:pt x="332" y="1288"/>
                </a:lnTo>
                <a:lnTo>
                  <a:pt x="400" y="1600"/>
                </a:lnTo>
                <a:lnTo>
                  <a:pt x="400" y="1926"/>
                </a:lnTo>
                <a:lnTo>
                  <a:pt x="613" y="1926"/>
                </a:lnTo>
                <a:lnTo>
                  <a:pt x="613" y="1965"/>
                </a:lnTo>
                <a:lnTo>
                  <a:pt x="400" y="1965"/>
                </a:lnTo>
                <a:lnTo>
                  <a:pt x="400" y="2138"/>
                </a:lnTo>
                <a:lnTo>
                  <a:pt x="613" y="2138"/>
                </a:lnTo>
                <a:lnTo>
                  <a:pt x="613" y="2550"/>
                </a:lnTo>
                <a:lnTo>
                  <a:pt x="1624" y="2550"/>
                </a:lnTo>
                <a:lnTo>
                  <a:pt x="1624" y="2550"/>
                </a:lnTo>
                <a:lnTo>
                  <a:pt x="1624" y="1939"/>
                </a:lnTo>
                <a:lnTo>
                  <a:pt x="1624" y="1939"/>
                </a:lnTo>
                <a:lnTo>
                  <a:pt x="1634" y="1943"/>
                </a:lnTo>
                <a:lnTo>
                  <a:pt x="1643" y="1946"/>
                </a:lnTo>
                <a:lnTo>
                  <a:pt x="1652" y="1947"/>
                </a:lnTo>
                <a:lnTo>
                  <a:pt x="1661" y="1948"/>
                </a:lnTo>
                <a:lnTo>
                  <a:pt x="1663" y="1948"/>
                </a:lnTo>
                <a:lnTo>
                  <a:pt x="1663" y="1948"/>
                </a:lnTo>
                <a:lnTo>
                  <a:pt x="1677" y="1946"/>
                </a:lnTo>
                <a:lnTo>
                  <a:pt x="1689" y="1943"/>
                </a:lnTo>
                <a:lnTo>
                  <a:pt x="1703" y="1937"/>
                </a:lnTo>
                <a:lnTo>
                  <a:pt x="1714" y="1929"/>
                </a:lnTo>
                <a:lnTo>
                  <a:pt x="1724" y="1920"/>
                </a:lnTo>
                <a:lnTo>
                  <a:pt x="1733" y="1909"/>
                </a:lnTo>
                <a:lnTo>
                  <a:pt x="1740" y="1896"/>
                </a:lnTo>
                <a:lnTo>
                  <a:pt x="1746" y="1882"/>
                </a:lnTo>
                <a:lnTo>
                  <a:pt x="1801" y="1701"/>
                </a:lnTo>
                <a:lnTo>
                  <a:pt x="1801" y="1701"/>
                </a:lnTo>
                <a:lnTo>
                  <a:pt x="1804" y="1687"/>
                </a:lnTo>
                <a:lnTo>
                  <a:pt x="1805" y="1671"/>
                </a:lnTo>
                <a:lnTo>
                  <a:pt x="1805" y="1671"/>
                </a:lnTo>
                <a:lnTo>
                  <a:pt x="1804" y="1663"/>
                </a:lnTo>
                <a:lnTo>
                  <a:pt x="1803" y="1654"/>
                </a:lnTo>
                <a:lnTo>
                  <a:pt x="1802" y="1646"/>
                </a:lnTo>
                <a:lnTo>
                  <a:pt x="1798" y="1638"/>
                </a:lnTo>
                <a:lnTo>
                  <a:pt x="1795" y="1630"/>
                </a:lnTo>
                <a:lnTo>
                  <a:pt x="1790" y="1624"/>
                </a:lnTo>
                <a:lnTo>
                  <a:pt x="1785" y="1617"/>
                </a:lnTo>
                <a:lnTo>
                  <a:pt x="1779" y="1611"/>
                </a:lnTo>
                <a:lnTo>
                  <a:pt x="1779" y="1611"/>
                </a:lnTo>
                <a:close/>
                <a:moveTo>
                  <a:pt x="1362" y="1220"/>
                </a:moveTo>
                <a:lnTo>
                  <a:pt x="1559" y="1411"/>
                </a:lnTo>
                <a:lnTo>
                  <a:pt x="1362" y="1411"/>
                </a:lnTo>
                <a:lnTo>
                  <a:pt x="1362" y="1220"/>
                </a:lnTo>
                <a:close/>
                <a:moveTo>
                  <a:pt x="1751" y="1687"/>
                </a:moveTo>
                <a:lnTo>
                  <a:pt x="1696" y="1866"/>
                </a:lnTo>
                <a:lnTo>
                  <a:pt x="1696" y="1866"/>
                </a:lnTo>
                <a:lnTo>
                  <a:pt x="1693" y="1874"/>
                </a:lnTo>
                <a:lnTo>
                  <a:pt x="1689" y="1881"/>
                </a:lnTo>
                <a:lnTo>
                  <a:pt x="1686" y="1886"/>
                </a:lnTo>
                <a:lnTo>
                  <a:pt x="1682" y="1890"/>
                </a:lnTo>
                <a:lnTo>
                  <a:pt x="1677" y="1892"/>
                </a:lnTo>
                <a:lnTo>
                  <a:pt x="1673" y="1895"/>
                </a:lnTo>
                <a:lnTo>
                  <a:pt x="1667" y="1896"/>
                </a:lnTo>
                <a:lnTo>
                  <a:pt x="1661" y="1897"/>
                </a:lnTo>
                <a:lnTo>
                  <a:pt x="1661" y="1897"/>
                </a:lnTo>
                <a:lnTo>
                  <a:pt x="1657" y="1896"/>
                </a:lnTo>
                <a:lnTo>
                  <a:pt x="1650" y="1895"/>
                </a:lnTo>
                <a:lnTo>
                  <a:pt x="1645" y="1892"/>
                </a:lnTo>
                <a:lnTo>
                  <a:pt x="1638" y="1889"/>
                </a:lnTo>
                <a:lnTo>
                  <a:pt x="1509" y="1809"/>
                </a:lnTo>
                <a:lnTo>
                  <a:pt x="1509" y="1809"/>
                </a:lnTo>
                <a:lnTo>
                  <a:pt x="1499" y="1801"/>
                </a:lnTo>
                <a:lnTo>
                  <a:pt x="1489" y="1792"/>
                </a:lnTo>
                <a:lnTo>
                  <a:pt x="1480" y="1780"/>
                </a:lnTo>
                <a:lnTo>
                  <a:pt x="1472" y="1766"/>
                </a:lnTo>
                <a:lnTo>
                  <a:pt x="1465" y="1753"/>
                </a:lnTo>
                <a:lnTo>
                  <a:pt x="1461" y="1738"/>
                </a:lnTo>
                <a:lnTo>
                  <a:pt x="1457" y="1725"/>
                </a:lnTo>
                <a:lnTo>
                  <a:pt x="1456" y="1711"/>
                </a:lnTo>
                <a:lnTo>
                  <a:pt x="1456" y="1711"/>
                </a:lnTo>
                <a:lnTo>
                  <a:pt x="1457" y="1706"/>
                </a:lnTo>
                <a:lnTo>
                  <a:pt x="1435" y="1703"/>
                </a:lnTo>
                <a:lnTo>
                  <a:pt x="1435" y="1703"/>
                </a:lnTo>
                <a:lnTo>
                  <a:pt x="1457" y="1704"/>
                </a:lnTo>
                <a:lnTo>
                  <a:pt x="1463" y="1639"/>
                </a:lnTo>
                <a:lnTo>
                  <a:pt x="1716" y="1639"/>
                </a:lnTo>
                <a:lnTo>
                  <a:pt x="1716" y="1639"/>
                </a:lnTo>
                <a:lnTo>
                  <a:pt x="1725" y="1639"/>
                </a:lnTo>
                <a:lnTo>
                  <a:pt x="1733" y="1642"/>
                </a:lnTo>
                <a:lnTo>
                  <a:pt x="1739" y="1645"/>
                </a:lnTo>
                <a:lnTo>
                  <a:pt x="1744" y="1648"/>
                </a:lnTo>
                <a:lnTo>
                  <a:pt x="1748" y="1653"/>
                </a:lnTo>
                <a:lnTo>
                  <a:pt x="1751" y="1658"/>
                </a:lnTo>
                <a:lnTo>
                  <a:pt x="1752" y="1664"/>
                </a:lnTo>
                <a:lnTo>
                  <a:pt x="1753" y="1671"/>
                </a:lnTo>
                <a:lnTo>
                  <a:pt x="1753" y="1671"/>
                </a:lnTo>
                <a:lnTo>
                  <a:pt x="1752" y="1679"/>
                </a:lnTo>
                <a:lnTo>
                  <a:pt x="1751" y="1687"/>
                </a:lnTo>
                <a:lnTo>
                  <a:pt x="1751" y="1687"/>
                </a:lnTo>
                <a:close/>
                <a:moveTo>
                  <a:pt x="796" y="2268"/>
                </a:moveTo>
                <a:lnTo>
                  <a:pt x="1307" y="2268"/>
                </a:lnTo>
                <a:lnTo>
                  <a:pt x="1307" y="2216"/>
                </a:lnTo>
                <a:lnTo>
                  <a:pt x="796" y="2216"/>
                </a:lnTo>
                <a:lnTo>
                  <a:pt x="796" y="2268"/>
                </a:lnTo>
                <a:close/>
                <a:moveTo>
                  <a:pt x="536" y="670"/>
                </a:moveTo>
                <a:lnTo>
                  <a:pt x="536" y="670"/>
                </a:lnTo>
                <a:lnTo>
                  <a:pt x="550" y="670"/>
                </a:lnTo>
                <a:lnTo>
                  <a:pt x="563" y="670"/>
                </a:lnTo>
                <a:lnTo>
                  <a:pt x="577" y="668"/>
                </a:lnTo>
                <a:lnTo>
                  <a:pt x="590" y="666"/>
                </a:lnTo>
                <a:lnTo>
                  <a:pt x="602" y="662"/>
                </a:lnTo>
                <a:lnTo>
                  <a:pt x="616" y="658"/>
                </a:lnTo>
                <a:lnTo>
                  <a:pt x="627" y="653"/>
                </a:lnTo>
                <a:lnTo>
                  <a:pt x="639" y="646"/>
                </a:lnTo>
                <a:lnTo>
                  <a:pt x="639" y="646"/>
                </a:lnTo>
                <a:lnTo>
                  <a:pt x="654" y="655"/>
                </a:lnTo>
                <a:lnTo>
                  <a:pt x="669" y="664"/>
                </a:lnTo>
                <a:lnTo>
                  <a:pt x="683" y="671"/>
                </a:lnTo>
                <a:lnTo>
                  <a:pt x="700" y="677"/>
                </a:lnTo>
                <a:lnTo>
                  <a:pt x="716" y="681"/>
                </a:lnTo>
                <a:lnTo>
                  <a:pt x="733" y="685"/>
                </a:lnTo>
                <a:lnTo>
                  <a:pt x="750" y="687"/>
                </a:lnTo>
                <a:lnTo>
                  <a:pt x="767" y="687"/>
                </a:lnTo>
                <a:lnTo>
                  <a:pt x="767" y="687"/>
                </a:lnTo>
                <a:lnTo>
                  <a:pt x="784" y="687"/>
                </a:lnTo>
                <a:lnTo>
                  <a:pt x="801" y="685"/>
                </a:lnTo>
                <a:lnTo>
                  <a:pt x="817" y="682"/>
                </a:lnTo>
                <a:lnTo>
                  <a:pt x="832" y="678"/>
                </a:lnTo>
                <a:lnTo>
                  <a:pt x="847" y="673"/>
                </a:lnTo>
                <a:lnTo>
                  <a:pt x="862" y="667"/>
                </a:lnTo>
                <a:lnTo>
                  <a:pt x="876" y="660"/>
                </a:lnTo>
                <a:lnTo>
                  <a:pt x="890" y="652"/>
                </a:lnTo>
                <a:lnTo>
                  <a:pt x="890" y="652"/>
                </a:lnTo>
                <a:lnTo>
                  <a:pt x="900" y="657"/>
                </a:lnTo>
                <a:lnTo>
                  <a:pt x="911" y="660"/>
                </a:lnTo>
                <a:lnTo>
                  <a:pt x="923" y="664"/>
                </a:lnTo>
                <a:lnTo>
                  <a:pt x="934" y="667"/>
                </a:lnTo>
                <a:lnTo>
                  <a:pt x="947" y="669"/>
                </a:lnTo>
                <a:lnTo>
                  <a:pt x="959" y="670"/>
                </a:lnTo>
                <a:lnTo>
                  <a:pt x="971" y="670"/>
                </a:lnTo>
                <a:lnTo>
                  <a:pt x="984" y="670"/>
                </a:lnTo>
                <a:lnTo>
                  <a:pt x="984" y="670"/>
                </a:lnTo>
                <a:lnTo>
                  <a:pt x="997" y="668"/>
                </a:lnTo>
                <a:lnTo>
                  <a:pt x="1010" y="666"/>
                </a:lnTo>
                <a:lnTo>
                  <a:pt x="1023" y="662"/>
                </a:lnTo>
                <a:lnTo>
                  <a:pt x="1034" y="658"/>
                </a:lnTo>
                <a:lnTo>
                  <a:pt x="1046" y="653"/>
                </a:lnTo>
                <a:lnTo>
                  <a:pt x="1057" y="646"/>
                </a:lnTo>
                <a:lnTo>
                  <a:pt x="1067" y="640"/>
                </a:lnTo>
                <a:lnTo>
                  <a:pt x="1076" y="633"/>
                </a:lnTo>
                <a:lnTo>
                  <a:pt x="1085" y="625"/>
                </a:lnTo>
                <a:lnTo>
                  <a:pt x="1093" y="616"/>
                </a:lnTo>
                <a:lnTo>
                  <a:pt x="1099" y="607"/>
                </a:lnTo>
                <a:lnTo>
                  <a:pt x="1106" y="597"/>
                </a:lnTo>
                <a:lnTo>
                  <a:pt x="1111" y="587"/>
                </a:lnTo>
                <a:lnTo>
                  <a:pt x="1115" y="576"/>
                </a:lnTo>
                <a:lnTo>
                  <a:pt x="1118" y="564"/>
                </a:lnTo>
                <a:lnTo>
                  <a:pt x="1121" y="553"/>
                </a:lnTo>
                <a:lnTo>
                  <a:pt x="1118" y="553"/>
                </a:lnTo>
                <a:lnTo>
                  <a:pt x="1118" y="553"/>
                </a:lnTo>
                <a:lnTo>
                  <a:pt x="1102" y="553"/>
                </a:lnTo>
                <a:lnTo>
                  <a:pt x="1085" y="552"/>
                </a:lnTo>
                <a:lnTo>
                  <a:pt x="1068" y="550"/>
                </a:lnTo>
                <a:lnTo>
                  <a:pt x="1052" y="546"/>
                </a:lnTo>
                <a:lnTo>
                  <a:pt x="1037" y="541"/>
                </a:lnTo>
                <a:lnTo>
                  <a:pt x="1022" y="534"/>
                </a:lnTo>
                <a:lnTo>
                  <a:pt x="1007" y="526"/>
                </a:lnTo>
                <a:lnTo>
                  <a:pt x="994" y="517"/>
                </a:lnTo>
                <a:lnTo>
                  <a:pt x="994" y="517"/>
                </a:lnTo>
                <a:lnTo>
                  <a:pt x="1001" y="496"/>
                </a:lnTo>
                <a:lnTo>
                  <a:pt x="1001" y="496"/>
                </a:lnTo>
                <a:lnTo>
                  <a:pt x="1014" y="494"/>
                </a:lnTo>
                <a:lnTo>
                  <a:pt x="1021" y="492"/>
                </a:lnTo>
                <a:lnTo>
                  <a:pt x="1026" y="490"/>
                </a:lnTo>
                <a:lnTo>
                  <a:pt x="1032" y="487"/>
                </a:lnTo>
                <a:lnTo>
                  <a:pt x="1037" y="483"/>
                </a:lnTo>
                <a:lnTo>
                  <a:pt x="1041" y="479"/>
                </a:lnTo>
                <a:lnTo>
                  <a:pt x="1046" y="474"/>
                </a:lnTo>
                <a:lnTo>
                  <a:pt x="1049" y="468"/>
                </a:lnTo>
                <a:lnTo>
                  <a:pt x="1052" y="461"/>
                </a:lnTo>
                <a:lnTo>
                  <a:pt x="1055" y="453"/>
                </a:lnTo>
                <a:lnTo>
                  <a:pt x="1057" y="444"/>
                </a:lnTo>
                <a:lnTo>
                  <a:pt x="1060" y="424"/>
                </a:lnTo>
                <a:lnTo>
                  <a:pt x="1061" y="398"/>
                </a:lnTo>
                <a:lnTo>
                  <a:pt x="1061" y="333"/>
                </a:lnTo>
                <a:lnTo>
                  <a:pt x="1061" y="333"/>
                </a:lnTo>
                <a:lnTo>
                  <a:pt x="1061" y="317"/>
                </a:lnTo>
                <a:lnTo>
                  <a:pt x="1060" y="300"/>
                </a:lnTo>
                <a:lnTo>
                  <a:pt x="1058" y="284"/>
                </a:lnTo>
                <a:lnTo>
                  <a:pt x="1056" y="268"/>
                </a:lnTo>
                <a:lnTo>
                  <a:pt x="1052" y="252"/>
                </a:lnTo>
                <a:lnTo>
                  <a:pt x="1048" y="236"/>
                </a:lnTo>
                <a:lnTo>
                  <a:pt x="1043" y="221"/>
                </a:lnTo>
                <a:lnTo>
                  <a:pt x="1039" y="206"/>
                </a:lnTo>
                <a:lnTo>
                  <a:pt x="1032" y="191"/>
                </a:lnTo>
                <a:lnTo>
                  <a:pt x="1026" y="178"/>
                </a:lnTo>
                <a:lnTo>
                  <a:pt x="1019" y="163"/>
                </a:lnTo>
                <a:lnTo>
                  <a:pt x="1012" y="150"/>
                </a:lnTo>
                <a:lnTo>
                  <a:pt x="1003" y="137"/>
                </a:lnTo>
                <a:lnTo>
                  <a:pt x="994" y="124"/>
                </a:lnTo>
                <a:lnTo>
                  <a:pt x="985" y="111"/>
                </a:lnTo>
                <a:lnTo>
                  <a:pt x="975" y="100"/>
                </a:lnTo>
                <a:lnTo>
                  <a:pt x="965" y="89"/>
                </a:lnTo>
                <a:lnTo>
                  <a:pt x="955" y="79"/>
                </a:lnTo>
                <a:lnTo>
                  <a:pt x="943" y="69"/>
                </a:lnTo>
                <a:lnTo>
                  <a:pt x="931" y="58"/>
                </a:lnTo>
                <a:lnTo>
                  <a:pt x="919" y="49"/>
                </a:lnTo>
                <a:lnTo>
                  <a:pt x="906" y="42"/>
                </a:lnTo>
                <a:lnTo>
                  <a:pt x="893" y="34"/>
                </a:lnTo>
                <a:lnTo>
                  <a:pt x="880" y="27"/>
                </a:lnTo>
                <a:lnTo>
                  <a:pt x="866" y="21"/>
                </a:lnTo>
                <a:lnTo>
                  <a:pt x="851" y="16"/>
                </a:lnTo>
                <a:lnTo>
                  <a:pt x="838" y="11"/>
                </a:lnTo>
                <a:lnTo>
                  <a:pt x="822" y="7"/>
                </a:lnTo>
                <a:lnTo>
                  <a:pt x="808" y="4"/>
                </a:lnTo>
                <a:lnTo>
                  <a:pt x="792" y="2"/>
                </a:lnTo>
                <a:lnTo>
                  <a:pt x="776" y="0"/>
                </a:lnTo>
                <a:lnTo>
                  <a:pt x="761" y="0"/>
                </a:lnTo>
                <a:lnTo>
                  <a:pt x="761" y="0"/>
                </a:lnTo>
                <a:lnTo>
                  <a:pt x="744" y="0"/>
                </a:lnTo>
                <a:lnTo>
                  <a:pt x="728" y="2"/>
                </a:lnTo>
                <a:lnTo>
                  <a:pt x="712" y="4"/>
                </a:lnTo>
                <a:lnTo>
                  <a:pt x="698" y="7"/>
                </a:lnTo>
                <a:lnTo>
                  <a:pt x="683" y="11"/>
                </a:lnTo>
                <a:lnTo>
                  <a:pt x="669" y="16"/>
                </a:lnTo>
                <a:lnTo>
                  <a:pt x="654" y="21"/>
                </a:lnTo>
                <a:lnTo>
                  <a:pt x="641" y="27"/>
                </a:lnTo>
                <a:lnTo>
                  <a:pt x="627" y="34"/>
                </a:lnTo>
                <a:lnTo>
                  <a:pt x="614" y="42"/>
                </a:lnTo>
                <a:lnTo>
                  <a:pt x="601" y="49"/>
                </a:lnTo>
                <a:lnTo>
                  <a:pt x="589" y="58"/>
                </a:lnTo>
                <a:lnTo>
                  <a:pt x="578" y="69"/>
                </a:lnTo>
                <a:lnTo>
                  <a:pt x="567" y="79"/>
                </a:lnTo>
                <a:lnTo>
                  <a:pt x="555" y="89"/>
                </a:lnTo>
                <a:lnTo>
                  <a:pt x="545" y="100"/>
                </a:lnTo>
                <a:lnTo>
                  <a:pt x="535" y="111"/>
                </a:lnTo>
                <a:lnTo>
                  <a:pt x="526" y="124"/>
                </a:lnTo>
                <a:lnTo>
                  <a:pt x="517" y="137"/>
                </a:lnTo>
                <a:lnTo>
                  <a:pt x="509" y="150"/>
                </a:lnTo>
                <a:lnTo>
                  <a:pt x="501" y="163"/>
                </a:lnTo>
                <a:lnTo>
                  <a:pt x="495" y="178"/>
                </a:lnTo>
                <a:lnTo>
                  <a:pt x="488" y="191"/>
                </a:lnTo>
                <a:lnTo>
                  <a:pt x="482" y="206"/>
                </a:lnTo>
                <a:lnTo>
                  <a:pt x="477" y="221"/>
                </a:lnTo>
                <a:lnTo>
                  <a:pt x="472" y="236"/>
                </a:lnTo>
                <a:lnTo>
                  <a:pt x="468" y="252"/>
                </a:lnTo>
                <a:lnTo>
                  <a:pt x="464" y="268"/>
                </a:lnTo>
                <a:lnTo>
                  <a:pt x="462" y="284"/>
                </a:lnTo>
                <a:lnTo>
                  <a:pt x="461" y="300"/>
                </a:lnTo>
                <a:lnTo>
                  <a:pt x="460" y="317"/>
                </a:lnTo>
                <a:lnTo>
                  <a:pt x="459" y="333"/>
                </a:lnTo>
                <a:lnTo>
                  <a:pt x="459" y="398"/>
                </a:lnTo>
                <a:lnTo>
                  <a:pt x="459" y="398"/>
                </a:lnTo>
                <a:lnTo>
                  <a:pt x="460" y="414"/>
                </a:lnTo>
                <a:lnTo>
                  <a:pt x="460" y="426"/>
                </a:lnTo>
                <a:lnTo>
                  <a:pt x="462" y="438"/>
                </a:lnTo>
                <a:lnTo>
                  <a:pt x="464" y="449"/>
                </a:lnTo>
                <a:lnTo>
                  <a:pt x="467" y="459"/>
                </a:lnTo>
                <a:lnTo>
                  <a:pt x="470" y="467"/>
                </a:lnTo>
                <a:lnTo>
                  <a:pt x="475" y="473"/>
                </a:lnTo>
                <a:lnTo>
                  <a:pt x="479" y="479"/>
                </a:lnTo>
                <a:lnTo>
                  <a:pt x="485" y="485"/>
                </a:lnTo>
                <a:lnTo>
                  <a:pt x="490" y="488"/>
                </a:lnTo>
                <a:lnTo>
                  <a:pt x="496" y="491"/>
                </a:lnTo>
                <a:lnTo>
                  <a:pt x="503" y="494"/>
                </a:lnTo>
                <a:lnTo>
                  <a:pt x="509" y="495"/>
                </a:lnTo>
                <a:lnTo>
                  <a:pt x="517" y="496"/>
                </a:lnTo>
                <a:lnTo>
                  <a:pt x="534" y="495"/>
                </a:lnTo>
                <a:lnTo>
                  <a:pt x="534" y="495"/>
                </a:lnTo>
                <a:lnTo>
                  <a:pt x="538" y="507"/>
                </a:lnTo>
                <a:lnTo>
                  <a:pt x="538" y="507"/>
                </a:lnTo>
                <a:lnTo>
                  <a:pt x="524" y="518"/>
                </a:lnTo>
                <a:lnTo>
                  <a:pt x="508" y="528"/>
                </a:lnTo>
                <a:lnTo>
                  <a:pt x="492" y="536"/>
                </a:lnTo>
                <a:lnTo>
                  <a:pt x="476" y="543"/>
                </a:lnTo>
                <a:lnTo>
                  <a:pt x="458" y="549"/>
                </a:lnTo>
                <a:lnTo>
                  <a:pt x="439" y="552"/>
                </a:lnTo>
                <a:lnTo>
                  <a:pt x="421" y="553"/>
                </a:lnTo>
                <a:lnTo>
                  <a:pt x="402" y="553"/>
                </a:lnTo>
                <a:lnTo>
                  <a:pt x="398" y="553"/>
                </a:lnTo>
                <a:lnTo>
                  <a:pt x="398" y="553"/>
                </a:lnTo>
                <a:lnTo>
                  <a:pt x="400" y="564"/>
                </a:lnTo>
                <a:lnTo>
                  <a:pt x="404" y="576"/>
                </a:lnTo>
                <a:lnTo>
                  <a:pt x="408" y="587"/>
                </a:lnTo>
                <a:lnTo>
                  <a:pt x="414" y="597"/>
                </a:lnTo>
                <a:lnTo>
                  <a:pt x="420" y="607"/>
                </a:lnTo>
                <a:lnTo>
                  <a:pt x="426" y="616"/>
                </a:lnTo>
                <a:lnTo>
                  <a:pt x="434" y="625"/>
                </a:lnTo>
                <a:lnTo>
                  <a:pt x="443" y="633"/>
                </a:lnTo>
                <a:lnTo>
                  <a:pt x="452" y="640"/>
                </a:lnTo>
                <a:lnTo>
                  <a:pt x="462" y="646"/>
                </a:lnTo>
                <a:lnTo>
                  <a:pt x="473" y="653"/>
                </a:lnTo>
                <a:lnTo>
                  <a:pt x="485" y="658"/>
                </a:lnTo>
                <a:lnTo>
                  <a:pt x="497" y="662"/>
                </a:lnTo>
                <a:lnTo>
                  <a:pt x="509" y="666"/>
                </a:lnTo>
                <a:lnTo>
                  <a:pt x="523" y="668"/>
                </a:lnTo>
                <a:lnTo>
                  <a:pt x="536" y="670"/>
                </a:lnTo>
                <a:lnTo>
                  <a:pt x="536" y="670"/>
                </a:lnTo>
                <a:close/>
                <a:moveTo>
                  <a:pt x="573" y="389"/>
                </a:moveTo>
                <a:lnTo>
                  <a:pt x="573" y="389"/>
                </a:lnTo>
                <a:lnTo>
                  <a:pt x="599" y="392"/>
                </a:lnTo>
                <a:lnTo>
                  <a:pt x="626" y="394"/>
                </a:lnTo>
                <a:lnTo>
                  <a:pt x="626" y="394"/>
                </a:lnTo>
                <a:lnTo>
                  <a:pt x="651" y="392"/>
                </a:lnTo>
                <a:lnTo>
                  <a:pt x="675" y="389"/>
                </a:lnTo>
                <a:lnTo>
                  <a:pt x="699" y="385"/>
                </a:lnTo>
                <a:lnTo>
                  <a:pt x="721" y="378"/>
                </a:lnTo>
                <a:lnTo>
                  <a:pt x="744" y="369"/>
                </a:lnTo>
                <a:lnTo>
                  <a:pt x="764" y="359"/>
                </a:lnTo>
                <a:lnTo>
                  <a:pt x="784" y="346"/>
                </a:lnTo>
                <a:lnTo>
                  <a:pt x="803" y="333"/>
                </a:lnTo>
                <a:lnTo>
                  <a:pt x="821" y="317"/>
                </a:lnTo>
                <a:lnTo>
                  <a:pt x="838" y="301"/>
                </a:lnTo>
                <a:lnTo>
                  <a:pt x="853" y="283"/>
                </a:lnTo>
                <a:lnTo>
                  <a:pt x="867" y="264"/>
                </a:lnTo>
                <a:lnTo>
                  <a:pt x="878" y="244"/>
                </a:lnTo>
                <a:lnTo>
                  <a:pt x="890" y="224"/>
                </a:lnTo>
                <a:lnTo>
                  <a:pt x="899" y="201"/>
                </a:lnTo>
                <a:lnTo>
                  <a:pt x="905" y="179"/>
                </a:lnTo>
                <a:lnTo>
                  <a:pt x="905" y="179"/>
                </a:lnTo>
                <a:lnTo>
                  <a:pt x="918" y="195"/>
                </a:lnTo>
                <a:lnTo>
                  <a:pt x="929" y="211"/>
                </a:lnTo>
                <a:lnTo>
                  <a:pt x="939" y="229"/>
                </a:lnTo>
                <a:lnTo>
                  <a:pt x="947" y="248"/>
                </a:lnTo>
                <a:lnTo>
                  <a:pt x="954" y="270"/>
                </a:lnTo>
                <a:lnTo>
                  <a:pt x="959" y="291"/>
                </a:lnTo>
                <a:lnTo>
                  <a:pt x="961" y="314"/>
                </a:lnTo>
                <a:lnTo>
                  <a:pt x="963" y="336"/>
                </a:lnTo>
                <a:lnTo>
                  <a:pt x="963" y="415"/>
                </a:lnTo>
                <a:lnTo>
                  <a:pt x="963" y="415"/>
                </a:lnTo>
                <a:lnTo>
                  <a:pt x="961" y="438"/>
                </a:lnTo>
                <a:lnTo>
                  <a:pt x="959" y="461"/>
                </a:lnTo>
                <a:lnTo>
                  <a:pt x="954" y="482"/>
                </a:lnTo>
                <a:lnTo>
                  <a:pt x="947" y="503"/>
                </a:lnTo>
                <a:lnTo>
                  <a:pt x="939" y="523"/>
                </a:lnTo>
                <a:lnTo>
                  <a:pt x="929" y="541"/>
                </a:lnTo>
                <a:lnTo>
                  <a:pt x="918" y="558"/>
                </a:lnTo>
                <a:lnTo>
                  <a:pt x="904" y="573"/>
                </a:lnTo>
                <a:lnTo>
                  <a:pt x="891" y="588"/>
                </a:lnTo>
                <a:lnTo>
                  <a:pt x="876" y="600"/>
                </a:lnTo>
                <a:lnTo>
                  <a:pt x="859" y="612"/>
                </a:lnTo>
                <a:lnTo>
                  <a:pt x="842" y="621"/>
                </a:lnTo>
                <a:lnTo>
                  <a:pt x="825" y="629"/>
                </a:lnTo>
                <a:lnTo>
                  <a:pt x="807" y="634"/>
                </a:lnTo>
                <a:lnTo>
                  <a:pt x="788" y="638"/>
                </a:lnTo>
                <a:lnTo>
                  <a:pt x="767" y="639"/>
                </a:lnTo>
                <a:lnTo>
                  <a:pt x="767" y="639"/>
                </a:lnTo>
                <a:lnTo>
                  <a:pt x="748" y="638"/>
                </a:lnTo>
                <a:lnTo>
                  <a:pt x="729" y="634"/>
                </a:lnTo>
                <a:lnTo>
                  <a:pt x="711" y="629"/>
                </a:lnTo>
                <a:lnTo>
                  <a:pt x="693" y="621"/>
                </a:lnTo>
                <a:lnTo>
                  <a:pt x="676" y="612"/>
                </a:lnTo>
                <a:lnTo>
                  <a:pt x="660" y="600"/>
                </a:lnTo>
                <a:lnTo>
                  <a:pt x="645" y="588"/>
                </a:lnTo>
                <a:lnTo>
                  <a:pt x="630" y="573"/>
                </a:lnTo>
                <a:lnTo>
                  <a:pt x="618" y="558"/>
                </a:lnTo>
                <a:lnTo>
                  <a:pt x="607" y="541"/>
                </a:lnTo>
                <a:lnTo>
                  <a:pt x="597" y="523"/>
                </a:lnTo>
                <a:lnTo>
                  <a:pt x="589" y="503"/>
                </a:lnTo>
                <a:lnTo>
                  <a:pt x="582" y="482"/>
                </a:lnTo>
                <a:lnTo>
                  <a:pt x="577" y="461"/>
                </a:lnTo>
                <a:lnTo>
                  <a:pt x="573" y="438"/>
                </a:lnTo>
                <a:lnTo>
                  <a:pt x="573" y="415"/>
                </a:lnTo>
                <a:lnTo>
                  <a:pt x="573" y="389"/>
                </a:lnTo>
                <a:close/>
              </a:path>
            </a:pathLst>
          </a:custGeom>
          <a:solidFill>
            <a:sysClr val="windowText" lastClr="000000">
              <a:lumMod val="50000"/>
              <a:lumOff val="50000"/>
            </a:sys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232" name="TextBox 231">
            <a:extLst>
              <a:ext uri="{FF2B5EF4-FFF2-40B4-BE49-F238E27FC236}">
                <a16:creationId xmlns:a16="http://schemas.microsoft.com/office/drawing/2014/main" id="{A72602BA-4C84-374B-A9B2-75D4A4B6641B}"/>
              </a:ext>
            </a:extLst>
          </p:cNvPr>
          <p:cNvSpPr txBox="1"/>
          <p:nvPr/>
        </p:nvSpPr>
        <p:spPr>
          <a:xfrm>
            <a:off x="270443" y="3728772"/>
            <a:ext cx="143905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Level of Effort</a:t>
            </a:r>
          </a:p>
        </p:txBody>
      </p:sp>
      <p:sp>
        <p:nvSpPr>
          <p:cNvPr id="233" name="Freeform 9">
            <a:extLst>
              <a:ext uri="{FF2B5EF4-FFF2-40B4-BE49-F238E27FC236}">
                <a16:creationId xmlns:a16="http://schemas.microsoft.com/office/drawing/2014/main" id="{32236D9C-2867-FC49-84EC-60C74E9CAD98}"/>
              </a:ext>
            </a:extLst>
          </p:cNvPr>
          <p:cNvSpPr>
            <a:spLocks noChangeAspect="1" noEditPoints="1"/>
          </p:cNvSpPr>
          <p:nvPr/>
        </p:nvSpPr>
        <p:spPr bwMode="auto">
          <a:xfrm>
            <a:off x="1493807" y="3153638"/>
            <a:ext cx="396841" cy="553238"/>
          </a:xfrm>
          <a:custGeom>
            <a:avLst/>
            <a:gdLst>
              <a:gd name="T0" fmla="*/ 2147483647 w 3454"/>
              <a:gd name="T1" fmla="*/ 0 h 4763"/>
              <a:gd name="T2" fmla="*/ 2147483647 w 3454"/>
              <a:gd name="T3" fmla="*/ 2147483647 h 4763"/>
              <a:gd name="T4" fmla="*/ 2147483647 w 3454"/>
              <a:gd name="T5" fmla="*/ 2147483647 h 4763"/>
              <a:gd name="T6" fmla="*/ 2147483647 w 3454"/>
              <a:gd name="T7" fmla="*/ 2147483647 h 4763"/>
              <a:gd name="T8" fmla="*/ 2147483647 w 3454"/>
              <a:gd name="T9" fmla="*/ 2147483647 h 4763"/>
              <a:gd name="T10" fmla="*/ 2147483647 w 3454"/>
              <a:gd name="T11" fmla="*/ 2147483647 h 4763"/>
              <a:gd name="T12" fmla="*/ 2147483647 w 3454"/>
              <a:gd name="T13" fmla="*/ 2147483647 h 4763"/>
              <a:gd name="T14" fmla="*/ 2147483647 w 3454"/>
              <a:gd name="T15" fmla="*/ 2147483647 h 4763"/>
              <a:gd name="T16" fmla="*/ 2147483647 w 3454"/>
              <a:gd name="T17" fmla="*/ 2147483647 h 4763"/>
              <a:gd name="T18" fmla="*/ 2147483647 w 3454"/>
              <a:gd name="T19" fmla="*/ 2147483647 h 4763"/>
              <a:gd name="T20" fmla="*/ 2147483647 w 3454"/>
              <a:gd name="T21" fmla="*/ 2147483647 h 4763"/>
              <a:gd name="T22" fmla="*/ 2147483647 w 3454"/>
              <a:gd name="T23" fmla="*/ 2147483647 h 4763"/>
              <a:gd name="T24" fmla="*/ 2147483647 w 3454"/>
              <a:gd name="T25" fmla="*/ 0 h 4763"/>
              <a:gd name="T26" fmla="*/ 2147483647 w 3454"/>
              <a:gd name="T27" fmla="*/ 2147483647 h 4763"/>
              <a:gd name="T28" fmla="*/ 2147483647 w 3454"/>
              <a:gd name="T29" fmla="*/ 2147483647 h 4763"/>
              <a:gd name="T30" fmla="*/ 2147483647 w 3454"/>
              <a:gd name="T31" fmla="*/ 2147483647 h 4763"/>
              <a:gd name="T32" fmla="*/ 2147483647 w 3454"/>
              <a:gd name="T33" fmla="*/ 2147483647 h 4763"/>
              <a:gd name="T34" fmla="*/ 2147483647 w 3454"/>
              <a:gd name="T35" fmla="*/ 2147483647 h 4763"/>
              <a:gd name="T36" fmla="*/ 2147483647 w 3454"/>
              <a:gd name="T37" fmla="*/ 2147483647 h 4763"/>
              <a:gd name="T38" fmla="*/ 2147483647 w 3454"/>
              <a:gd name="T39" fmla="*/ 2147483647 h 4763"/>
              <a:gd name="T40" fmla="*/ 2147483647 w 3454"/>
              <a:gd name="T41" fmla="*/ 2147483647 h 4763"/>
              <a:gd name="T42" fmla="*/ 2147483647 w 3454"/>
              <a:gd name="T43" fmla="*/ 2147483647 h 4763"/>
              <a:gd name="T44" fmla="*/ 2147483647 w 3454"/>
              <a:gd name="T45" fmla="*/ 2147483647 h 4763"/>
              <a:gd name="T46" fmla="*/ 2147483647 w 3454"/>
              <a:gd name="T47" fmla="*/ 2147483647 h 4763"/>
              <a:gd name="T48" fmla="*/ 2147483647 w 3454"/>
              <a:gd name="T49" fmla="*/ 2147483647 h 4763"/>
              <a:gd name="T50" fmla="*/ 2147483647 w 3454"/>
              <a:gd name="T51" fmla="*/ 2147483647 h 4763"/>
              <a:gd name="T52" fmla="*/ 2147483647 w 3454"/>
              <a:gd name="T53" fmla="*/ 2147483647 h 4763"/>
              <a:gd name="T54" fmla="*/ 2147483647 w 3454"/>
              <a:gd name="T55" fmla="*/ 2147483647 h 4763"/>
              <a:gd name="T56" fmla="*/ 2147483647 w 3454"/>
              <a:gd name="T57" fmla="*/ 2147483647 h 4763"/>
              <a:gd name="T58" fmla="*/ 2147483647 w 3454"/>
              <a:gd name="T59" fmla="*/ 2147483647 h 4763"/>
              <a:gd name="T60" fmla="*/ 2147483647 w 3454"/>
              <a:gd name="T61" fmla="*/ 2147483647 h 4763"/>
              <a:gd name="T62" fmla="*/ 2147483647 w 3454"/>
              <a:gd name="T63" fmla="*/ 2147483647 h 4763"/>
              <a:gd name="T64" fmla="*/ 2147483647 w 3454"/>
              <a:gd name="T65" fmla="*/ 2147483647 h 4763"/>
              <a:gd name="T66" fmla="*/ 2147483647 w 3454"/>
              <a:gd name="T67" fmla="*/ 2147483647 h 4763"/>
              <a:gd name="T68" fmla="*/ 2147483647 w 3454"/>
              <a:gd name="T69" fmla="*/ 2147483647 h 4763"/>
              <a:gd name="T70" fmla="*/ 2147483647 w 3454"/>
              <a:gd name="T71" fmla="*/ 2147483647 h 4763"/>
              <a:gd name="T72" fmla="*/ 2147483647 w 3454"/>
              <a:gd name="T73" fmla="*/ 2147483647 h 4763"/>
              <a:gd name="T74" fmla="*/ 2147483647 w 3454"/>
              <a:gd name="T75" fmla="*/ 2147483647 h 4763"/>
              <a:gd name="T76" fmla="*/ 2147483647 w 3454"/>
              <a:gd name="T77" fmla="*/ 2147483647 h 4763"/>
              <a:gd name="T78" fmla="*/ 2147483647 w 3454"/>
              <a:gd name="T79" fmla="*/ 2147483647 h 4763"/>
              <a:gd name="T80" fmla="*/ 2147483647 w 3454"/>
              <a:gd name="T81" fmla="*/ 2147483647 h 4763"/>
              <a:gd name="T82" fmla="*/ 2147483647 w 3454"/>
              <a:gd name="T83" fmla="*/ 2147483647 h 4763"/>
              <a:gd name="T84" fmla="*/ 2147483647 w 3454"/>
              <a:gd name="T85" fmla="*/ 2147483647 h 4763"/>
              <a:gd name="T86" fmla="*/ 2147483647 w 3454"/>
              <a:gd name="T87" fmla="*/ 2147483647 h 4763"/>
              <a:gd name="T88" fmla="*/ 2147483647 w 3454"/>
              <a:gd name="T89" fmla="*/ 2147483647 h 4763"/>
              <a:gd name="T90" fmla="*/ 2147483647 w 3454"/>
              <a:gd name="T91" fmla="*/ 2147483647 h 4763"/>
              <a:gd name="T92" fmla="*/ 2147483647 w 3454"/>
              <a:gd name="T93" fmla="*/ 2147483647 h 47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54"/>
              <a:gd name="T142" fmla="*/ 0 h 4763"/>
              <a:gd name="T143" fmla="*/ 3454 w 3454"/>
              <a:gd name="T144" fmla="*/ 4763 h 47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54" h="4763">
                <a:moveTo>
                  <a:pt x="3264" y="0"/>
                </a:moveTo>
                <a:lnTo>
                  <a:pt x="190" y="0"/>
                </a:lnTo>
                <a:lnTo>
                  <a:pt x="170" y="1"/>
                </a:lnTo>
                <a:lnTo>
                  <a:pt x="152" y="4"/>
                </a:lnTo>
                <a:lnTo>
                  <a:pt x="134" y="8"/>
                </a:lnTo>
                <a:lnTo>
                  <a:pt x="116" y="14"/>
                </a:lnTo>
                <a:lnTo>
                  <a:pt x="100" y="23"/>
                </a:lnTo>
                <a:lnTo>
                  <a:pt x="85" y="33"/>
                </a:lnTo>
                <a:lnTo>
                  <a:pt x="70" y="43"/>
                </a:lnTo>
                <a:lnTo>
                  <a:pt x="56" y="56"/>
                </a:lnTo>
                <a:lnTo>
                  <a:pt x="43" y="69"/>
                </a:lnTo>
                <a:lnTo>
                  <a:pt x="33" y="83"/>
                </a:lnTo>
                <a:lnTo>
                  <a:pt x="23" y="99"/>
                </a:lnTo>
                <a:lnTo>
                  <a:pt x="16" y="116"/>
                </a:lnTo>
                <a:lnTo>
                  <a:pt x="8" y="133"/>
                </a:lnTo>
                <a:lnTo>
                  <a:pt x="4" y="151"/>
                </a:lnTo>
                <a:lnTo>
                  <a:pt x="1" y="170"/>
                </a:lnTo>
                <a:lnTo>
                  <a:pt x="0" y="190"/>
                </a:lnTo>
                <a:lnTo>
                  <a:pt x="0" y="4763"/>
                </a:lnTo>
                <a:lnTo>
                  <a:pt x="3454" y="4763"/>
                </a:lnTo>
                <a:lnTo>
                  <a:pt x="3454" y="190"/>
                </a:lnTo>
                <a:lnTo>
                  <a:pt x="3453" y="170"/>
                </a:lnTo>
                <a:lnTo>
                  <a:pt x="3450" y="151"/>
                </a:lnTo>
                <a:lnTo>
                  <a:pt x="3446" y="133"/>
                </a:lnTo>
                <a:lnTo>
                  <a:pt x="3440" y="116"/>
                </a:lnTo>
                <a:lnTo>
                  <a:pt x="3431" y="99"/>
                </a:lnTo>
                <a:lnTo>
                  <a:pt x="3421" y="83"/>
                </a:lnTo>
                <a:lnTo>
                  <a:pt x="3411" y="69"/>
                </a:lnTo>
                <a:lnTo>
                  <a:pt x="3398" y="56"/>
                </a:lnTo>
                <a:lnTo>
                  <a:pt x="3385" y="43"/>
                </a:lnTo>
                <a:lnTo>
                  <a:pt x="3371" y="33"/>
                </a:lnTo>
                <a:lnTo>
                  <a:pt x="3355" y="23"/>
                </a:lnTo>
                <a:lnTo>
                  <a:pt x="3338" y="14"/>
                </a:lnTo>
                <a:lnTo>
                  <a:pt x="3321" y="8"/>
                </a:lnTo>
                <a:lnTo>
                  <a:pt x="3303" y="4"/>
                </a:lnTo>
                <a:lnTo>
                  <a:pt x="3284" y="1"/>
                </a:lnTo>
                <a:lnTo>
                  <a:pt x="3264" y="0"/>
                </a:lnTo>
                <a:close/>
                <a:moveTo>
                  <a:pt x="3261" y="4570"/>
                </a:moveTo>
                <a:lnTo>
                  <a:pt x="193" y="4570"/>
                </a:lnTo>
                <a:lnTo>
                  <a:pt x="193" y="190"/>
                </a:lnTo>
                <a:lnTo>
                  <a:pt x="3264" y="193"/>
                </a:lnTo>
                <a:lnTo>
                  <a:pt x="3261" y="4570"/>
                </a:lnTo>
                <a:close/>
                <a:moveTo>
                  <a:pt x="1277" y="1192"/>
                </a:moveTo>
                <a:lnTo>
                  <a:pt x="1209" y="1125"/>
                </a:lnTo>
                <a:lnTo>
                  <a:pt x="1040" y="1293"/>
                </a:lnTo>
                <a:lnTo>
                  <a:pt x="1108" y="1361"/>
                </a:lnTo>
                <a:lnTo>
                  <a:pt x="1277" y="1192"/>
                </a:lnTo>
                <a:close/>
                <a:moveTo>
                  <a:pt x="2444" y="2391"/>
                </a:moveTo>
                <a:lnTo>
                  <a:pt x="2989" y="2391"/>
                </a:lnTo>
                <a:lnTo>
                  <a:pt x="2989" y="2197"/>
                </a:lnTo>
                <a:lnTo>
                  <a:pt x="2444" y="2197"/>
                </a:lnTo>
                <a:lnTo>
                  <a:pt x="2444" y="2391"/>
                </a:lnTo>
                <a:close/>
                <a:moveTo>
                  <a:pt x="2989" y="643"/>
                </a:moveTo>
                <a:lnTo>
                  <a:pt x="2892" y="643"/>
                </a:lnTo>
                <a:lnTo>
                  <a:pt x="2892" y="1529"/>
                </a:lnTo>
                <a:lnTo>
                  <a:pt x="562" y="1529"/>
                </a:lnTo>
                <a:lnTo>
                  <a:pt x="562" y="739"/>
                </a:lnTo>
                <a:lnTo>
                  <a:pt x="2699" y="739"/>
                </a:lnTo>
                <a:lnTo>
                  <a:pt x="2699" y="643"/>
                </a:lnTo>
                <a:lnTo>
                  <a:pt x="465" y="643"/>
                </a:lnTo>
                <a:lnTo>
                  <a:pt x="465" y="1626"/>
                </a:lnTo>
                <a:lnTo>
                  <a:pt x="2989" y="1626"/>
                </a:lnTo>
                <a:lnTo>
                  <a:pt x="2989" y="643"/>
                </a:lnTo>
                <a:close/>
                <a:moveTo>
                  <a:pt x="1776" y="2391"/>
                </a:moveTo>
                <a:lnTo>
                  <a:pt x="2347" y="2391"/>
                </a:lnTo>
                <a:lnTo>
                  <a:pt x="2347" y="2197"/>
                </a:lnTo>
                <a:lnTo>
                  <a:pt x="1776" y="2197"/>
                </a:lnTo>
                <a:lnTo>
                  <a:pt x="1776" y="2391"/>
                </a:lnTo>
                <a:close/>
                <a:moveTo>
                  <a:pt x="1108" y="2391"/>
                </a:moveTo>
                <a:lnTo>
                  <a:pt x="1679" y="2391"/>
                </a:lnTo>
                <a:lnTo>
                  <a:pt x="1679" y="2197"/>
                </a:lnTo>
                <a:lnTo>
                  <a:pt x="1108" y="2197"/>
                </a:lnTo>
                <a:lnTo>
                  <a:pt x="1108" y="2391"/>
                </a:lnTo>
                <a:close/>
                <a:moveTo>
                  <a:pt x="1011" y="2197"/>
                </a:moveTo>
                <a:lnTo>
                  <a:pt x="465" y="2197"/>
                </a:lnTo>
                <a:lnTo>
                  <a:pt x="465" y="2391"/>
                </a:lnTo>
                <a:lnTo>
                  <a:pt x="1011" y="2391"/>
                </a:lnTo>
                <a:lnTo>
                  <a:pt x="1011" y="2197"/>
                </a:lnTo>
                <a:close/>
                <a:moveTo>
                  <a:pt x="743" y="1293"/>
                </a:moveTo>
                <a:lnTo>
                  <a:pt x="811" y="1361"/>
                </a:lnTo>
                <a:lnTo>
                  <a:pt x="1197" y="975"/>
                </a:lnTo>
                <a:lnTo>
                  <a:pt x="1130" y="906"/>
                </a:lnTo>
                <a:lnTo>
                  <a:pt x="743" y="1293"/>
                </a:lnTo>
                <a:close/>
                <a:moveTo>
                  <a:pt x="1776" y="2958"/>
                </a:moveTo>
                <a:lnTo>
                  <a:pt x="2347" y="2958"/>
                </a:lnTo>
                <a:lnTo>
                  <a:pt x="2347" y="2765"/>
                </a:lnTo>
                <a:lnTo>
                  <a:pt x="1776" y="2765"/>
                </a:lnTo>
                <a:lnTo>
                  <a:pt x="1776" y="2958"/>
                </a:lnTo>
                <a:close/>
                <a:moveTo>
                  <a:pt x="1108" y="2958"/>
                </a:moveTo>
                <a:lnTo>
                  <a:pt x="1679" y="2958"/>
                </a:lnTo>
                <a:lnTo>
                  <a:pt x="1679" y="2765"/>
                </a:lnTo>
                <a:lnTo>
                  <a:pt x="1108" y="2765"/>
                </a:lnTo>
                <a:lnTo>
                  <a:pt x="1108" y="2958"/>
                </a:lnTo>
                <a:close/>
                <a:moveTo>
                  <a:pt x="1011" y="2765"/>
                </a:moveTo>
                <a:lnTo>
                  <a:pt x="465" y="2765"/>
                </a:lnTo>
                <a:lnTo>
                  <a:pt x="465" y="2958"/>
                </a:lnTo>
                <a:lnTo>
                  <a:pt x="1011" y="2958"/>
                </a:lnTo>
                <a:lnTo>
                  <a:pt x="1011" y="2765"/>
                </a:lnTo>
                <a:close/>
                <a:moveTo>
                  <a:pt x="2444" y="2958"/>
                </a:moveTo>
                <a:lnTo>
                  <a:pt x="2989" y="2958"/>
                </a:lnTo>
                <a:lnTo>
                  <a:pt x="2989" y="2765"/>
                </a:lnTo>
                <a:lnTo>
                  <a:pt x="2444" y="2765"/>
                </a:lnTo>
                <a:lnTo>
                  <a:pt x="2444" y="2958"/>
                </a:lnTo>
                <a:close/>
                <a:moveTo>
                  <a:pt x="1776" y="3526"/>
                </a:moveTo>
                <a:lnTo>
                  <a:pt x="2347" y="3526"/>
                </a:lnTo>
                <a:lnTo>
                  <a:pt x="2347" y="3333"/>
                </a:lnTo>
                <a:lnTo>
                  <a:pt x="1776" y="3333"/>
                </a:lnTo>
                <a:lnTo>
                  <a:pt x="1776" y="3526"/>
                </a:lnTo>
                <a:close/>
                <a:moveTo>
                  <a:pt x="1108" y="3526"/>
                </a:moveTo>
                <a:lnTo>
                  <a:pt x="1679" y="3526"/>
                </a:lnTo>
                <a:lnTo>
                  <a:pt x="1679" y="3333"/>
                </a:lnTo>
                <a:lnTo>
                  <a:pt x="1108" y="3333"/>
                </a:lnTo>
                <a:lnTo>
                  <a:pt x="1108" y="3526"/>
                </a:lnTo>
                <a:close/>
                <a:moveTo>
                  <a:pt x="1011" y="3333"/>
                </a:moveTo>
                <a:lnTo>
                  <a:pt x="465" y="3333"/>
                </a:lnTo>
                <a:lnTo>
                  <a:pt x="465" y="3526"/>
                </a:lnTo>
                <a:lnTo>
                  <a:pt x="1011" y="3526"/>
                </a:lnTo>
                <a:lnTo>
                  <a:pt x="1011" y="3333"/>
                </a:lnTo>
                <a:close/>
                <a:moveTo>
                  <a:pt x="2444" y="3526"/>
                </a:moveTo>
                <a:lnTo>
                  <a:pt x="2989" y="3526"/>
                </a:lnTo>
                <a:lnTo>
                  <a:pt x="2989" y="3333"/>
                </a:lnTo>
                <a:lnTo>
                  <a:pt x="2444" y="3333"/>
                </a:lnTo>
                <a:lnTo>
                  <a:pt x="2444" y="3526"/>
                </a:lnTo>
                <a:close/>
                <a:moveTo>
                  <a:pt x="2444" y="4093"/>
                </a:moveTo>
                <a:lnTo>
                  <a:pt x="2989" y="4093"/>
                </a:lnTo>
                <a:lnTo>
                  <a:pt x="2989" y="3899"/>
                </a:lnTo>
                <a:lnTo>
                  <a:pt x="2444" y="3899"/>
                </a:lnTo>
                <a:lnTo>
                  <a:pt x="2444" y="4093"/>
                </a:lnTo>
                <a:close/>
                <a:moveTo>
                  <a:pt x="1679" y="3899"/>
                </a:moveTo>
                <a:lnTo>
                  <a:pt x="465" y="3899"/>
                </a:lnTo>
                <a:lnTo>
                  <a:pt x="465" y="4093"/>
                </a:lnTo>
                <a:lnTo>
                  <a:pt x="1679" y="4093"/>
                </a:lnTo>
                <a:lnTo>
                  <a:pt x="1679" y="3899"/>
                </a:lnTo>
                <a:close/>
                <a:moveTo>
                  <a:pt x="1776" y="4093"/>
                </a:moveTo>
                <a:lnTo>
                  <a:pt x="2347" y="4093"/>
                </a:lnTo>
                <a:lnTo>
                  <a:pt x="2347" y="3899"/>
                </a:lnTo>
                <a:lnTo>
                  <a:pt x="1776" y="3899"/>
                </a:lnTo>
                <a:lnTo>
                  <a:pt x="1776" y="4093"/>
                </a:lnTo>
                <a:close/>
              </a:path>
            </a:pathLst>
          </a:custGeom>
          <a:solidFill>
            <a:sysClr val="windowText" lastClr="000000">
              <a:lumMod val="50000"/>
              <a:lumOff val="50000"/>
            </a:sysClr>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234" name="TextBox 233">
            <a:extLst>
              <a:ext uri="{FF2B5EF4-FFF2-40B4-BE49-F238E27FC236}">
                <a16:creationId xmlns:a16="http://schemas.microsoft.com/office/drawing/2014/main" id="{08E5CBED-B53E-6E46-A65D-F220EF525862}"/>
              </a:ext>
            </a:extLst>
          </p:cNvPr>
          <p:cNvSpPr txBox="1"/>
          <p:nvPr/>
        </p:nvSpPr>
        <p:spPr>
          <a:xfrm>
            <a:off x="1418039" y="3758565"/>
            <a:ext cx="109494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Valu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Defined Score</a:t>
            </a:r>
          </a:p>
        </p:txBody>
      </p:sp>
      <p:cxnSp>
        <p:nvCxnSpPr>
          <p:cNvPr id="235" name="Straight Arrow Connector 348">
            <a:extLst>
              <a:ext uri="{FF2B5EF4-FFF2-40B4-BE49-F238E27FC236}">
                <a16:creationId xmlns:a16="http://schemas.microsoft.com/office/drawing/2014/main" id="{83633F7D-AB21-8846-B1C0-9240B33241C7}"/>
              </a:ext>
            </a:extLst>
          </p:cNvPr>
          <p:cNvCxnSpPr/>
          <p:nvPr/>
        </p:nvCxnSpPr>
        <p:spPr>
          <a:xfrm>
            <a:off x="1974262" y="3423082"/>
            <a:ext cx="716664" cy="12984"/>
          </a:xfrm>
          <a:prstGeom prst="straightConnector1">
            <a:avLst/>
          </a:prstGeom>
          <a:noFill/>
          <a:ln w="6350" cap="flat" cmpd="sng" algn="ctr">
            <a:solidFill>
              <a:sysClr val="windowText" lastClr="000000">
                <a:lumMod val="65000"/>
                <a:lumOff val="35000"/>
              </a:sysClr>
            </a:solidFill>
            <a:prstDash val="solid"/>
            <a:miter lim="800000"/>
            <a:tailEnd type="triangle"/>
          </a:ln>
          <a:effectLst/>
        </p:spPr>
      </p:cxnSp>
      <p:sp>
        <p:nvSpPr>
          <p:cNvPr id="236" name="TextBox 235">
            <a:extLst>
              <a:ext uri="{FF2B5EF4-FFF2-40B4-BE49-F238E27FC236}">
                <a16:creationId xmlns:a16="http://schemas.microsoft.com/office/drawing/2014/main" id="{65B19676-BF82-834D-8AD6-F2BF0DA76CF1}"/>
              </a:ext>
            </a:extLst>
          </p:cNvPr>
          <p:cNvSpPr txBox="1"/>
          <p:nvPr/>
        </p:nvSpPr>
        <p:spPr>
          <a:xfrm rot="20946754">
            <a:off x="2318060" y="4845712"/>
            <a:ext cx="665766" cy="215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Populates</a:t>
            </a:r>
          </a:p>
        </p:txBody>
      </p:sp>
      <p:sp>
        <p:nvSpPr>
          <p:cNvPr id="237" name="TextBox 236">
            <a:extLst>
              <a:ext uri="{FF2B5EF4-FFF2-40B4-BE49-F238E27FC236}">
                <a16:creationId xmlns:a16="http://schemas.microsoft.com/office/drawing/2014/main" id="{72C3A13F-7EB4-DE46-A93A-BFBC11677231}"/>
              </a:ext>
            </a:extLst>
          </p:cNvPr>
          <p:cNvSpPr txBox="1"/>
          <p:nvPr/>
        </p:nvSpPr>
        <p:spPr>
          <a:xfrm>
            <a:off x="1960243" y="3215558"/>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Populates</a:t>
            </a:r>
          </a:p>
        </p:txBody>
      </p:sp>
      <p:sp>
        <p:nvSpPr>
          <p:cNvPr id="238" name="TextBox 237">
            <a:extLst>
              <a:ext uri="{FF2B5EF4-FFF2-40B4-BE49-F238E27FC236}">
                <a16:creationId xmlns:a16="http://schemas.microsoft.com/office/drawing/2014/main" id="{F61FC6AA-8F80-0047-93E2-04AB22B17C18}"/>
              </a:ext>
            </a:extLst>
          </p:cNvPr>
          <p:cNvSpPr txBox="1"/>
          <p:nvPr/>
        </p:nvSpPr>
        <p:spPr>
          <a:xfrm>
            <a:off x="7081069" y="1308061"/>
            <a:ext cx="193870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Prioritiz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Project Backlog</a:t>
            </a:r>
          </a:p>
        </p:txBody>
      </p:sp>
      <p:sp>
        <p:nvSpPr>
          <p:cNvPr id="239" name="Rounded Rectangle 26">
            <a:extLst>
              <a:ext uri="{FF2B5EF4-FFF2-40B4-BE49-F238E27FC236}">
                <a16:creationId xmlns:a16="http://schemas.microsoft.com/office/drawing/2014/main" id="{43C4F797-AA68-6441-AEBA-955AE32DEC67}"/>
              </a:ext>
            </a:extLst>
          </p:cNvPr>
          <p:cNvSpPr/>
          <p:nvPr/>
        </p:nvSpPr>
        <p:spPr>
          <a:xfrm>
            <a:off x="7966566" y="2251951"/>
            <a:ext cx="609500" cy="170046"/>
          </a:xfrm>
          <a:prstGeom prst="roundRect">
            <a:avLst/>
          </a:prstGeom>
          <a:solidFill>
            <a:schemeClr val="accent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0" name="Rounded Rectangle 27">
            <a:extLst>
              <a:ext uri="{FF2B5EF4-FFF2-40B4-BE49-F238E27FC236}">
                <a16:creationId xmlns:a16="http://schemas.microsoft.com/office/drawing/2014/main" id="{C2CD3890-7408-8348-AFE4-2B9E907C5466}"/>
              </a:ext>
            </a:extLst>
          </p:cNvPr>
          <p:cNvSpPr/>
          <p:nvPr/>
        </p:nvSpPr>
        <p:spPr>
          <a:xfrm>
            <a:off x="7966566" y="2452168"/>
            <a:ext cx="609500" cy="170046"/>
          </a:xfrm>
          <a:prstGeom prst="roundRect">
            <a:avLst/>
          </a:prstGeom>
          <a:solidFill>
            <a:schemeClr val="accent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1" name="Rounded Rectangle 28">
            <a:extLst>
              <a:ext uri="{FF2B5EF4-FFF2-40B4-BE49-F238E27FC236}">
                <a16:creationId xmlns:a16="http://schemas.microsoft.com/office/drawing/2014/main" id="{938BBE36-7E34-A248-93D3-1643220ECC13}"/>
              </a:ext>
            </a:extLst>
          </p:cNvPr>
          <p:cNvSpPr/>
          <p:nvPr/>
        </p:nvSpPr>
        <p:spPr>
          <a:xfrm>
            <a:off x="7966566" y="2652385"/>
            <a:ext cx="609500" cy="170046"/>
          </a:xfrm>
          <a:prstGeom prst="roundRect">
            <a:avLst/>
          </a:prstGeom>
          <a:solidFill>
            <a:schemeClr val="accent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2" name="Rounded Rectangle 29">
            <a:extLst>
              <a:ext uri="{FF2B5EF4-FFF2-40B4-BE49-F238E27FC236}">
                <a16:creationId xmlns:a16="http://schemas.microsoft.com/office/drawing/2014/main" id="{7D2C75D8-BE1E-D641-A77E-6F9E9D28C959}"/>
              </a:ext>
            </a:extLst>
          </p:cNvPr>
          <p:cNvSpPr/>
          <p:nvPr/>
        </p:nvSpPr>
        <p:spPr>
          <a:xfrm>
            <a:off x="7966127" y="2852602"/>
            <a:ext cx="609500" cy="170046"/>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3" name="Rounded Rectangle 30">
            <a:extLst>
              <a:ext uri="{FF2B5EF4-FFF2-40B4-BE49-F238E27FC236}">
                <a16:creationId xmlns:a16="http://schemas.microsoft.com/office/drawing/2014/main" id="{3C55F4B8-FA93-CC48-9DA8-33A102FC18BD}"/>
              </a:ext>
            </a:extLst>
          </p:cNvPr>
          <p:cNvSpPr/>
          <p:nvPr/>
        </p:nvSpPr>
        <p:spPr>
          <a:xfrm>
            <a:off x="7966566" y="3052819"/>
            <a:ext cx="609500" cy="170046"/>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4" name="Rounded Rectangle 31">
            <a:extLst>
              <a:ext uri="{FF2B5EF4-FFF2-40B4-BE49-F238E27FC236}">
                <a16:creationId xmlns:a16="http://schemas.microsoft.com/office/drawing/2014/main" id="{04600145-C4F7-D54E-9BAC-E6FB56A1459E}"/>
              </a:ext>
            </a:extLst>
          </p:cNvPr>
          <p:cNvSpPr/>
          <p:nvPr/>
        </p:nvSpPr>
        <p:spPr>
          <a:xfrm>
            <a:off x="7966566" y="3253036"/>
            <a:ext cx="609500" cy="170046"/>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5" name="Rounded Rectangle 32">
            <a:extLst>
              <a:ext uri="{FF2B5EF4-FFF2-40B4-BE49-F238E27FC236}">
                <a16:creationId xmlns:a16="http://schemas.microsoft.com/office/drawing/2014/main" id="{3A6867FA-C2CE-9344-9122-CB4B086CE72B}"/>
              </a:ext>
            </a:extLst>
          </p:cNvPr>
          <p:cNvSpPr/>
          <p:nvPr/>
        </p:nvSpPr>
        <p:spPr>
          <a:xfrm>
            <a:off x="7966566" y="3453253"/>
            <a:ext cx="609500" cy="170046"/>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6" name="Rounded Rectangle 33">
            <a:extLst>
              <a:ext uri="{FF2B5EF4-FFF2-40B4-BE49-F238E27FC236}">
                <a16:creationId xmlns:a16="http://schemas.microsoft.com/office/drawing/2014/main" id="{6FF667CC-D6F6-8B4A-A42A-FDD8B067A0A2}"/>
              </a:ext>
            </a:extLst>
          </p:cNvPr>
          <p:cNvSpPr/>
          <p:nvPr/>
        </p:nvSpPr>
        <p:spPr>
          <a:xfrm>
            <a:off x="7966127" y="3653470"/>
            <a:ext cx="609500" cy="170046"/>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7" name="Rounded Rectangle 34">
            <a:extLst>
              <a:ext uri="{FF2B5EF4-FFF2-40B4-BE49-F238E27FC236}">
                <a16:creationId xmlns:a16="http://schemas.microsoft.com/office/drawing/2014/main" id="{40A516B2-CFBC-9C46-A56C-C4BE55161828}"/>
              </a:ext>
            </a:extLst>
          </p:cNvPr>
          <p:cNvSpPr/>
          <p:nvPr/>
        </p:nvSpPr>
        <p:spPr>
          <a:xfrm>
            <a:off x="7966127" y="3853687"/>
            <a:ext cx="609500" cy="170046"/>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8" name="Rounded Rectangle 35">
            <a:extLst>
              <a:ext uri="{FF2B5EF4-FFF2-40B4-BE49-F238E27FC236}">
                <a16:creationId xmlns:a16="http://schemas.microsoft.com/office/drawing/2014/main" id="{999A4E5B-503B-AD44-A7AC-DC9A978C113F}"/>
              </a:ext>
            </a:extLst>
          </p:cNvPr>
          <p:cNvSpPr/>
          <p:nvPr/>
        </p:nvSpPr>
        <p:spPr>
          <a:xfrm>
            <a:off x="7966127" y="4053904"/>
            <a:ext cx="609500" cy="170046"/>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49" name="Rounded Rectangle 36">
            <a:extLst>
              <a:ext uri="{FF2B5EF4-FFF2-40B4-BE49-F238E27FC236}">
                <a16:creationId xmlns:a16="http://schemas.microsoft.com/office/drawing/2014/main" id="{FD281EF5-99DB-A741-89F8-16547E709158}"/>
              </a:ext>
            </a:extLst>
          </p:cNvPr>
          <p:cNvSpPr/>
          <p:nvPr/>
        </p:nvSpPr>
        <p:spPr>
          <a:xfrm>
            <a:off x="7966127" y="4254121"/>
            <a:ext cx="609500" cy="170046"/>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50" name="Rounded Rectangle 37">
            <a:extLst>
              <a:ext uri="{FF2B5EF4-FFF2-40B4-BE49-F238E27FC236}">
                <a16:creationId xmlns:a16="http://schemas.microsoft.com/office/drawing/2014/main" id="{4AFF98B8-69EC-094D-9794-65B5AF1B4D68}"/>
              </a:ext>
            </a:extLst>
          </p:cNvPr>
          <p:cNvSpPr/>
          <p:nvPr/>
        </p:nvSpPr>
        <p:spPr>
          <a:xfrm>
            <a:off x="7965688" y="4454339"/>
            <a:ext cx="609500" cy="170046"/>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251" name="Straight Arrow Connector 364">
            <a:extLst>
              <a:ext uri="{FF2B5EF4-FFF2-40B4-BE49-F238E27FC236}">
                <a16:creationId xmlns:a16="http://schemas.microsoft.com/office/drawing/2014/main" id="{54895B9E-AA5F-2C4B-9200-1CEFFCD8D128}"/>
              </a:ext>
            </a:extLst>
          </p:cNvPr>
          <p:cNvCxnSpPr/>
          <p:nvPr/>
        </p:nvCxnSpPr>
        <p:spPr>
          <a:xfrm>
            <a:off x="7859498" y="2107589"/>
            <a:ext cx="0" cy="2781938"/>
          </a:xfrm>
          <a:prstGeom prst="straightConnector1">
            <a:avLst/>
          </a:prstGeom>
          <a:noFill/>
          <a:ln w="38100" cap="flat" cmpd="sng" algn="ctr">
            <a:solidFill>
              <a:sysClr val="windowText" lastClr="000000">
                <a:lumMod val="50000"/>
                <a:lumOff val="50000"/>
              </a:sysClr>
            </a:solidFill>
            <a:prstDash val="solid"/>
            <a:miter lim="800000"/>
            <a:headEnd type="triangle"/>
            <a:tailEnd type="triangle"/>
          </a:ln>
          <a:effectLst/>
        </p:spPr>
      </p:cxnSp>
      <p:sp>
        <p:nvSpPr>
          <p:cNvPr id="252" name="TextBox 251">
            <a:extLst>
              <a:ext uri="{FF2B5EF4-FFF2-40B4-BE49-F238E27FC236}">
                <a16:creationId xmlns:a16="http://schemas.microsoft.com/office/drawing/2014/main" id="{4004F858-CC44-CC43-A869-1AF32BAEEB5C}"/>
              </a:ext>
            </a:extLst>
          </p:cNvPr>
          <p:cNvSpPr txBox="1"/>
          <p:nvPr/>
        </p:nvSpPr>
        <p:spPr>
          <a:xfrm rot="16200000">
            <a:off x="7027170" y="3162757"/>
            <a:ext cx="1640620" cy="219442"/>
          </a:xfrm>
          <a:prstGeom prst="rect">
            <a:avLst/>
          </a:prstGeom>
          <a:solidFill>
            <a:srgbClr val="F0F0F0"/>
          </a:solidFill>
          <a:ln>
            <a:noFill/>
          </a:ln>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Low Priority   High Priority</a:t>
            </a:r>
          </a:p>
        </p:txBody>
      </p:sp>
      <p:sp>
        <p:nvSpPr>
          <p:cNvPr id="253" name="Rounded Rectangle 41">
            <a:extLst>
              <a:ext uri="{FF2B5EF4-FFF2-40B4-BE49-F238E27FC236}">
                <a16:creationId xmlns:a16="http://schemas.microsoft.com/office/drawing/2014/main" id="{0A561B86-1179-3343-84EB-4338C0AD90C2}"/>
              </a:ext>
            </a:extLst>
          </p:cNvPr>
          <p:cNvSpPr/>
          <p:nvPr/>
        </p:nvSpPr>
        <p:spPr>
          <a:xfrm>
            <a:off x="371475" y="5713610"/>
            <a:ext cx="11440163" cy="370298"/>
          </a:xfrm>
          <a:prstGeom prst="roundRect">
            <a:avLst>
              <a:gd name="adj" fmla="val 50000"/>
            </a:avLst>
          </a:prstGeom>
          <a:solidFill>
            <a:srgbClr val="C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254" name="Straight Arrow Connector 368">
            <a:extLst>
              <a:ext uri="{FF2B5EF4-FFF2-40B4-BE49-F238E27FC236}">
                <a16:creationId xmlns:a16="http://schemas.microsoft.com/office/drawing/2014/main" id="{FE9D10B3-EBF0-8448-A0C8-3E1E5493DBCC}"/>
              </a:ext>
            </a:extLst>
          </p:cNvPr>
          <p:cNvCxnSpPr/>
          <p:nvPr/>
        </p:nvCxnSpPr>
        <p:spPr>
          <a:xfrm>
            <a:off x="971207" y="5898759"/>
            <a:ext cx="10282717" cy="0"/>
          </a:xfrm>
          <a:prstGeom prst="straightConnector1">
            <a:avLst/>
          </a:prstGeom>
          <a:noFill/>
          <a:ln w="38100" cap="flat" cmpd="sng" algn="ctr">
            <a:solidFill>
              <a:sysClr val="window" lastClr="FFFFFF"/>
            </a:solidFill>
            <a:prstDash val="solid"/>
            <a:miter lim="800000"/>
            <a:headEnd type="triangle"/>
            <a:tailEnd type="triangle"/>
          </a:ln>
          <a:effectLst/>
        </p:spPr>
      </p:cxnSp>
      <p:sp>
        <p:nvSpPr>
          <p:cNvPr id="255" name="TextBox 254">
            <a:extLst>
              <a:ext uri="{FF2B5EF4-FFF2-40B4-BE49-F238E27FC236}">
                <a16:creationId xmlns:a16="http://schemas.microsoft.com/office/drawing/2014/main" id="{76A1605E-AAB5-3643-A89D-CE9F488DF3EE}"/>
              </a:ext>
            </a:extLst>
          </p:cNvPr>
          <p:cNvSpPr txBox="1"/>
          <p:nvPr/>
        </p:nvSpPr>
        <p:spPr>
          <a:xfrm>
            <a:off x="4928746" y="5775649"/>
            <a:ext cx="2367638" cy="246221"/>
          </a:xfrm>
          <a:prstGeom prst="rect">
            <a:avLst/>
          </a:prstGeom>
          <a:solidFill>
            <a:srgbClr val="C00000"/>
          </a:solidFill>
          <a:ln>
            <a:noFill/>
          </a:ln>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ntinuous Value Measurement</a:t>
            </a:r>
          </a:p>
        </p:txBody>
      </p:sp>
      <p:sp>
        <p:nvSpPr>
          <p:cNvPr id="257" name="Right Arrow 46">
            <a:extLst>
              <a:ext uri="{FF2B5EF4-FFF2-40B4-BE49-F238E27FC236}">
                <a16:creationId xmlns:a16="http://schemas.microsoft.com/office/drawing/2014/main" id="{70064FEF-9209-7B4D-94EC-1E93EBE67902}"/>
              </a:ext>
            </a:extLst>
          </p:cNvPr>
          <p:cNvSpPr/>
          <p:nvPr/>
        </p:nvSpPr>
        <p:spPr>
          <a:xfrm>
            <a:off x="7285672" y="2645025"/>
            <a:ext cx="442127" cy="1819246"/>
          </a:xfrm>
          <a:prstGeom prst="rightArrow">
            <a:avLst>
              <a:gd name="adj1" fmla="val 50000"/>
              <a:gd name="adj2" fmla="val 72727"/>
            </a:avLst>
          </a:prstGeom>
          <a:solidFill>
            <a:srgbClr val="C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58" name="TextBox 257">
            <a:extLst>
              <a:ext uri="{FF2B5EF4-FFF2-40B4-BE49-F238E27FC236}">
                <a16:creationId xmlns:a16="http://schemas.microsoft.com/office/drawing/2014/main" id="{180806B0-6B60-C74C-B57A-53575E773FCB}"/>
              </a:ext>
            </a:extLst>
          </p:cNvPr>
          <p:cNvSpPr txBox="1"/>
          <p:nvPr/>
        </p:nvSpPr>
        <p:spPr>
          <a:xfrm>
            <a:off x="10188235" y="1437373"/>
            <a:ext cx="16610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Release Cycles</a:t>
            </a:r>
          </a:p>
        </p:txBody>
      </p:sp>
      <p:sp>
        <p:nvSpPr>
          <p:cNvPr id="259" name="Down Arrow 48">
            <a:extLst>
              <a:ext uri="{FF2B5EF4-FFF2-40B4-BE49-F238E27FC236}">
                <a16:creationId xmlns:a16="http://schemas.microsoft.com/office/drawing/2014/main" id="{89049260-893C-C047-AF4B-D49F553A5189}"/>
              </a:ext>
            </a:extLst>
          </p:cNvPr>
          <p:cNvSpPr/>
          <p:nvPr/>
        </p:nvSpPr>
        <p:spPr>
          <a:xfrm rot="16200000">
            <a:off x="10449701" y="1291208"/>
            <a:ext cx="395989" cy="2273474"/>
          </a:xfrm>
          <a:prstGeom prst="downArrow">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0" name="TextBox 259">
            <a:extLst>
              <a:ext uri="{FF2B5EF4-FFF2-40B4-BE49-F238E27FC236}">
                <a16:creationId xmlns:a16="http://schemas.microsoft.com/office/drawing/2014/main" id="{DC17144D-9ADF-734E-BC21-7DDA96A3018B}"/>
              </a:ext>
            </a:extLst>
          </p:cNvPr>
          <p:cNvSpPr txBox="1"/>
          <p:nvPr/>
        </p:nvSpPr>
        <p:spPr>
          <a:xfrm rot="16200000">
            <a:off x="9403937" y="2328555"/>
            <a:ext cx="70816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Sprint 1…x</a:t>
            </a:r>
          </a:p>
        </p:txBody>
      </p:sp>
      <p:sp>
        <p:nvSpPr>
          <p:cNvPr id="261" name="Rounded Rectangle 51">
            <a:extLst>
              <a:ext uri="{FF2B5EF4-FFF2-40B4-BE49-F238E27FC236}">
                <a16:creationId xmlns:a16="http://schemas.microsoft.com/office/drawing/2014/main" id="{818FE608-D677-1C47-AD5F-6726A84DDF4D}"/>
              </a:ext>
            </a:extLst>
          </p:cNvPr>
          <p:cNvSpPr>
            <a:spLocks noChangeAspect="1"/>
          </p:cNvSpPr>
          <p:nvPr/>
        </p:nvSpPr>
        <p:spPr>
          <a:xfrm rot="16200000">
            <a:off x="9626692" y="2386784"/>
            <a:ext cx="538348" cy="98985"/>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2" name="Rounded Rectangle 52">
            <a:extLst>
              <a:ext uri="{FF2B5EF4-FFF2-40B4-BE49-F238E27FC236}">
                <a16:creationId xmlns:a16="http://schemas.microsoft.com/office/drawing/2014/main" id="{E4FA371B-F0D2-BD4F-98B8-CA721CEE07D0}"/>
              </a:ext>
            </a:extLst>
          </p:cNvPr>
          <p:cNvSpPr/>
          <p:nvPr/>
        </p:nvSpPr>
        <p:spPr>
          <a:xfrm rot="16200000">
            <a:off x="9738384" y="2386784"/>
            <a:ext cx="538012" cy="98985"/>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3" name="TextBox 262">
            <a:extLst>
              <a:ext uri="{FF2B5EF4-FFF2-40B4-BE49-F238E27FC236}">
                <a16:creationId xmlns:a16="http://schemas.microsoft.com/office/drawing/2014/main" id="{E0439B72-41EC-B741-B99C-CEC4D602D4A5}"/>
              </a:ext>
            </a:extLst>
          </p:cNvPr>
          <p:cNvSpPr txBox="1"/>
          <p:nvPr/>
        </p:nvSpPr>
        <p:spPr>
          <a:xfrm rot="16200000">
            <a:off x="9988105" y="2328555"/>
            <a:ext cx="70816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Sprint x…y</a:t>
            </a:r>
          </a:p>
        </p:txBody>
      </p:sp>
      <p:sp>
        <p:nvSpPr>
          <p:cNvPr id="264" name="Rounded Rectangle 55">
            <a:extLst>
              <a:ext uri="{FF2B5EF4-FFF2-40B4-BE49-F238E27FC236}">
                <a16:creationId xmlns:a16="http://schemas.microsoft.com/office/drawing/2014/main" id="{C06F6A3C-8F92-934D-994C-B1988C1EA366}"/>
              </a:ext>
            </a:extLst>
          </p:cNvPr>
          <p:cNvSpPr/>
          <p:nvPr/>
        </p:nvSpPr>
        <p:spPr>
          <a:xfrm rot="16200000">
            <a:off x="11123908" y="2382243"/>
            <a:ext cx="538011" cy="98985"/>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5" name="Rounded Rectangle 56">
            <a:extLst>
              <a:ext uri="{FF2B5EF4-FFF2-40B4-BE49-F238E27FC236}">
                <a16:creationId xmlns:a16="http://schemas.microsoft.com/office/drawing/2014/main" id="{AA61B25F-D14D-334D-9C33-CD87B3EA99E6}"/>
              </a:ext>
            </a:extLst>
          </p:cNvPr>
          <p:cNvSpPr/>
          <p:nvPr/>
        </p:nvSpPr>
        <p:spPr>
          <a:xfrm rot="16200000">
            <a:off x="10462704" y="2391324"/>
            <a:ext cx="538011" cy="98985"/>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6" name="Rounded Rectangle 57">
            <a:extLst>
              <a:ext uri="{FF2B5EF4-FFF2-40B4-BE49-F238E27FC236}">
                <a16:creationId xmlns:a16="http://schemas.microsoft.com/office/drawing/2014/main" id="{A575602A-4C59-C947-AE85-7C08615C3561}"/>
              </a:ext>
            </a:extLst>
          </p:cNvPr>
          <p:cNvSpPr/>
          <p:nvPr/>
        </p:nvSpPr>
        <p:spPr>
          <a:xfrm rot="16200000">
            <a:off x="10576805" y="2391324"/>
            <a:ext cx="538011" cy="98985"/>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7" name="Rounded Rectangle 58">
            <a:extLst>
              <a:ext uri="{FF2B5EF4-FFF2-40B4-BE49-F238E27FC236}">
                <a16:creationId xmlns:a16="http://schemas.microsoft.com/office/drawing/2014/main" id="{402DC65D-B932-1249-B991-7C573EAF8ABF}"/>
              </a:ext>
            </a:extLst>
          </p:cNvPr>
          <p:cNvSpPr/>
          <p:nvPr/>
        </p:nvSpPr>
        <p:spPr>
          <a:xfrm rot="16200000">
            <a:off x="10348601" y="2391324"/>
            <a:ext cx="538011" cy="98985"/>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8" name="TextBox 267">
            <a:extLst>
              <a:ext uri="{FF2B5EF4-FFF2-40B4-BE49-F238E27FC236}">
                <a16:creationId xmlns:a16="http://schemas.microsoft.com/office/drawing/2014/main" id="{2110473E-C198-7548-9180-6F0DF7C9EE76}"/>
              </a:ext>
            </a:extLst>
          </p:cNvPr>
          <p:cNvSpPr txBox="1"/>
          <p:nvPr/>
        </p:nvSpPr>
        <p:spPr>
          <a:xfrm rot="16200000">
            <a:off x="10894226" y="2328557"/>
            <a:ext cx="70816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Sprint y…z</a:t>
            </a:r>
          </a:p>
        </p:txBody>
      </p:sp>
      <p:grpSp>
        <p:nvGrpSpPr>
          <p:cNvPr id="269" name="Group 386">
            <a:extLst>
              <a:ext uri="{FF2B5EF4-FFF2-40B4-BE49-F238E27FC236}">
                <a16:creationId xmlns:a16="http://schemas.microsoft.com/office/drawing/2014/main" id="{7B7C54DF-9192-5D4A-A191-96EDB6F87D96}"/>
              </a:ext>
            </a:extLst>
          </p:cNvPr>
          <p:cNvGrpSpPr/>
          <p:nvPr/>
        </p:nvGrpSpPr>
        <p:grpSpPr>
          <a:xfrm rot="16200000">
            <a:off x="10547236" y="1687818"/>
            <a:ext cx="547290" cy="1487643"/>
            <a:chOff x="10766037" y="3124323"/>
            <a:chExt cx="846454" cy="1649098"/>
          </a:xfrm>
        </p:grpSpPr>
        <p:sp>
          <p:nvSpPr>
            <p:cNvPr id="270" name="Rounded Rectangle 62">
              <a:extLst>
                <a:ext uri="{FF2B5EF4-FFF2-40B4-BE49-F238E27FC236}">
                  <a16:creationId xmlns:a16="http://schemas.microsoft.com/office/drawing/2014/main" id="{45D809CC-DCCB-F644-B125-0538956986FB}"/>
                </a:ext>
              </a:extLst>
            </p:cNvPr>
            <p:cNvSpPr/>
            <p:nvPr/>
          </p:nvSpPr>
          <p:spPr>
            <a:xfrm>
              <a:off x="10766037" y="3537123"/>
              <a:ext cx="832104" cy="109728"/>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46464"/>
                </a:solidFill>
                <a:effectLst/>
                <a:uLnTx/>
                <a:uFillTx/>
                <a:latin typeface="Calibri"/>
                <a:ea typeface="+mn-ea"/>
                <a:cs typeface="+mn-cs"/>
              </a:endParaRPr>
            </a:p>
          </p:txBody>
        </p:sp>
        <p:sp>
          <p:nvSpPr>
            <p:cNvPr id="271" name="Rounded Rectangle 63">
              <a:extLst>
                <a:ext uri="{FF2B5EF4-FFF2-40B4-BE49-F238E27FC236}">
                  <a16:creationId xmlns:a16="http://schemas.microsoft.com/office/drawing/2014/main" id="{2C86A35A-7E34-A54F-9CB0-80B5FC09A4EC}"/>
                </a:ext>
              </a:extLst>
            </p:cNvPr>
            <p:cNvSpPr/>
            <p:nvPr/>
          </p:nvSpPr>
          <p:spPr>
            <a:xfrm>
              <a:off x="10780389" y="3124323"/>
              <a:ext cx="832102" cy="109728"/>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46464"/>
                </a:solidFill>
                <a:effectLst/>
                <a:uLnTx/>
                <a:uFillTx/>
                <a:latin typeface="Calibri"/>
                <a:ea typeface="+mn-ea"/>
                <a:cs typeface="+mn-cs"/>
              </a:endParaRPr>
            </a:p>
          </p:txBody>
        </p:sp>
        <p:sp>
          <p:nvSpPr>
            <p:cNvPr id="272" name="Rounded Rectangle 64">
              <a:extLst>
                <a:ext uri="{FF2B5EF4-FFF2-40B4-BE49-F238E27FC236}">
                  <a16:creationId xmlns:a16="http://schemas.microsoft.com/office/drawing/2014/main" id="{37FA8BF6-ED7A-354F-BD9C-CD44CA6A1079}"/>
                </a:ext>
              </a:extLst>
            </p:cNvPr>
            <p:cNvSpPr/>
            <p:nvPr/>
          </p:nvSpPr>
          <p:spPr>
            <a:xfrm>
              <a:off x="10780386" y="4663693"/>
              <a:ext cx="832104" cy="109728"/>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46464"/>
                </a:solidFill>
                <a:effectLst/>
                <a:uLnTx/>
                <a:uFillTx/>
                <a:latin typeface="Calibri"/>
                <a:ea typeface="+mn-ea"/>
                <a:cs typeface="+mn-cs"/>
              </a:endParaRPr>
            </a:p>
          </p:txBody>
        </p:sp>
      </p:grpSp>
      <p:sp>
        <p:nvSpPr>
          <p:cNvPr id="273" name="Freeform 126">
            <a:extLst>
              <a:ext uri="{FF2B5EF4-FFF2-40B4-BE49-F238E27FC236}">
                <a16:creationId xmlns:a16="http://schemas.microsoft.com/office/drawing/2014/main" id="{2D28A1ED-3270-CD4B-A19B-8D97F9AEB7E2}"/>
              </a:ext>
            </a:extLst>
          </p:cNvPr>
          <p:cNvSpPr>
            <a:spLocks noChangeAspect="1" noEditPoints="1"/>
          </p:cNvSpPr>
          <p:nvPr/>
        </p:nvSpPr>
        <p:spPr bwMode="auto">
          <a:xfrm>
            <a:off x="5854828" y="4869813"/>
            <a:ext cx="460547" cy="473694"/>
          </a:xfrm>
          <a:custGeom>
            <a:avLst/>
            <a:gdLst>
              <a:gd name="T0" fmla="*/ 2147483647 w 3688"/>
              <a:gd name="T1" fmla="*/ 2147483647 h 4763"/>
              <a:gd name="T2" fmla="*/ 2147483647 w 3688"/>
              <a:gd name="T3" fmla="*/ 2147483647 h 4763"/>
              <a:gd name="T4" fmla="*/ 2147483647 w 3688"/>
              <a:gd name="T5" fmla="*/ 2147483647 h 4763"/>
              <a:gd name="T6" fmla="*/ 2147483647 w 3688"/>
              <a:gd name="T7" fmla="*/ 2147483647 h 4763"/>
              <a:gd name="T8" fmla="*/ 2147483647 w 3688"/>
              <a:gd name="T9" fmla="*/ 2147483647 h 4763"/>
              <a:gd name="T10" fmla="*/ 2147483647 w 3688"/>
              <a:gd name="T11" fmla="*/ 0 h 4763"/>
              <a:gd name="T12" fmla="*/ 2147483647 w 3688"/>
              <a:gd name="T13" fmla="*/ 2147483647 h 4763"/>
              <a:gd name="T14" fmla="*/ 2147483647 w 3688"/>
              <a:gd name="T15" fmla="*/ 2147483647 h 4763"/>
              <a:gd name="T16" fmla="*/ 2147483647 w 3688"/>
              <a:gd name="T17" fmla="*/ 2147483647 h 4763"/>
              <a:gd name="T18" fmla="*/ 2147483647 w 3688"/>
              <a:gd name="T19" fmla="*/ 2147483647 h 4763"/>
              <a:gd name="T20" fmla="*/ 2147483647 w 3688"/>
              <a:gd name="T21" fmla="*/ 2147483647 h 4763"/>
              <a:gd name="T22" fmla="*/ 2147483647 w 3688"/>
              <a:gd name="T23" fmla="*/ 2147483647 h 4763"/>
              <a:gd name="T24" fmla="*/ 2147483647 w 3688"/>
              <a:gd name="T25" fmla="*/ 2147483647 h 4763"/>
              <a:gd name="T26" fmla="*/ 2147483647 w 3688"/>
              <a:gd name="T27" fmla="*/ 2147483647 h 4763"/>
              <a:gd name="T28" fmla="*/ 2147483647 w 3688"/>
              <a:gd name="T29" fmla="*/ 2147483647 h 4763"/>
              <a:gd name="T30" fmla="*/ 2147483647 w 3688"/>
              <a:gd name="T31" fmla="*/ 2147483647 h 4763"/>
              <a:gd name="T32" fmla="*/ 2147483647 w 3688"/>
              <a:gd name="T33" fmla="*/ 2147483647 h 4763"/>
              <a:gd name="T34" fmla="*/ 2147483647 w 3688"/>
              <a:gd name="T35" fmla="*/ 2147483647 h 4763"/>
              <a:gd name="T36" fmla="*/ 2147483647 w 3688"/>
              <a:gd name="T37" fmla="*/ 2147483647 h 4763"/>
              <a:gd name="T38" fmla="*/ 2147483647 w 3688"/>
              <a:gd name="T39" fmla="*/ 2147483647 h 4763"/>
              <a:gd name="T40" fmla="*/ 2147483647 w 3688"/>
              <a:gd name="T41" fmla="*/ 2147483647 h 4763"/>
              <a:gd name="T42" fmla="*/ 2147483647 w 3688"/>
              <a:gd name="T43" fmla="*/ 2147483647 h 4763"/>
              <a:gd name="T44" fmla="*/ 2147483647 w 3688"/>
              <a:gd name="T45" fmla="*/ 2147483647 h 4763"/>
              <a:gd name="T46" fmla="*/ 2147483647 w 3688"/>
              <a:gd name="T47" fmla="*/ 2147483647 h 4763"/>
              <a:gd name="T48" fmla="*/ 2147483647 w 3688"/>
              <a:gd name="T49" fmla="*/ 2147483647 h 4763"/>
              <a:gd name="T50" fmla="*/ 2147483647 w 3688"/>
              <a:gd name="T51" fmla="*/ 2147483647 h 4763"/>
              <a:gd name="T52" fmla="*/ 2147483647 w 3688"/>
              <a:gd name="T53" fmla="*/ 2147483647 h 4763"/>
              <a:gd name="T54" fmla="*/ 2147483647 w 3688"/>
              <a:gd name="T55" fmla="*/ 2147483647 h 4763"/>
              <a:gd name="T56" fmla="*/ 2147483647 w 3688"/>
              <a:gd name="T57" fmla="*/ 2147483647 h 4763"/>
              <a:gd name="T58" fmla="*/ 2147483647 w 3688"/>
              <a:gd name="T59" fmla="*/ 2147483647 h 4763"/>
              <a:gd name="T60" fmla="*/ 2147483647 w 3688"/>
              <a:gd name="T61" fmla="*/ 2147483647 h 4763"/>
              <a:gd name="T62" fmla="*/ 2147483647 w 3688"/>
              <a:gd name="T63" fmla="*/ 2147483647 h 4763"/>
              <a:gd name="T64" fmla="*/ 2147483647 w 3688"/>
              <a:gd name="T65" fmla="*/ 2147483647 h 4763"/>
              <a:gd name="T66" fmla="*/ 2147483647 w 3688"/>
              <a:gd name="T67" fmla="*/ 2147483647 h 4763"/>
              <a:gd name="T68" fmla="*/ 2147483647 w 3688"/>
              <a:gd name="T69" fmla="*/ 2147483647 h 4763"/>
              <a:gd name="T70" fmla="*/ 2147483647 w 3688"/>
              <a:gd name="T71" fmla="*/ 2147483647 h 4763"/>
              <a:gd name="T72" fmla="*/ 2147483647 w 3688"/>
              <a:gd name="T73" fmla="*/ 2147483647 h 4763"/>
              <a:gd name="T74" fmla="*/ 2147483647 w 3688"/>
              <a:gd name="T75" fmla="*/ 2147483647 h 4763"/>
              <a:gd name="T76" fmla="*/ 2147483647 w 3688"/>
              <a:gd name="T77" fmla="*/ 2147483647 h 4763"/>
              <a:gd name="T78" fmla="*/ 2147483647 w 3688"/>
              <a:gd name="T79" fmla="*/ 2147483647 h 4763"/>
              <a:gd name="T80" fmla="*/ 2147483647 w 3688"/>
              <a:gd name="T81" fmla="*/ 2147483647 h 4763"/>
              <a:gd name="T82" fmla="*/ 2147483647 w 3688"/>
              <a:gd name="T83" fmla="*/ 2147483647 h 4763"/>
              <a:gd name="T84" fmla="*/ 2147483647 w 3688"/>
              <a:gd name="T85" fmla="*/ 2147483647 h 4763"/>
              <a:gd name="T86" fmla="*/ 2147483647 w 3688"/>
              <a:gd name="T87" fmla="*/ 2147483647 h 4763"/>
              <a:gd name="T88" fmla="*/ 2147483647 w 3688"/>
              <a:gd name="T89" fmla="*/ 2147483647 h 4763"/>
              <a:gd name="T90" fmla="*/ 2147483647 w 3688"/>
              <a:gd name="T91" fmla="*/ 2147483647 h 4763"/>
              <a:gd name="T92" fmla="*/ 2147483647 w 3688"/>
              <a:gd name="T93" fmla="*/ 2147483647 h 4763"/>
              <a:gd name="T94" fmla="*/ 2147483647 w 3688"/>
              <a:gd name="T95" fmla="*/ 2147483647 h 4763"/>
              <a:gd name="T96" fmla="*/ 2147483647 w 3688"/>
              <a:gd name="T97" fmla="*/ 2147483647 h 4763"/>
              <a:gd name="T98" fmla="*/ 2147483647 w 3688"/>
              <a:gd name="T99" fmla="*/ 2147483647 h 4763"/>
              <a:gd name="T100" fmla="*/ 2147483647 w 3688"/>
              <a:gd name="T101" fmla="*/ 2147483647 h 4763"/>
              <a:gd name="T102" fmla="*/ 2147483647 w 3688"/>
              <a:gd name="T103" fmla="*/ 2147483647 h 4763"/>
              <a:gd name="T104" fmla="*/ 2147483647 w 3688"/>
              <a:gd name="T105" fmla="*/ 2147483647 h 4763"/>
              <a:gd name="T106" fmla="*/ 2147483647 w 3688"/>
              <a:gd name="T107" fmla="*/ 2147483647 h 4763"/>
              <a:gd name="T108" fmla="*/ 2147483647 w 3688"/>
              <a:gd name="T109" fmla="*/ 2147483647 h 4763"/>
              <a:gd name="T110" fmla="*/ 2147483647 w 3688"/>
              <a:gd name="T111" fmla="*/ 2147483647 h 4763"/>
              <a:gd name="T112" fmla="*/ 2147483647 w 3688"/>
              <a:gd name="T113" fmla="*/ 2147483647 h 4763"/>
              <a:gd name="T114" fmla="*/ 2147483647 w 3688"/>
              <a:gd name="T115" fmla="*/ 2147483647 h 4763"/>
              <a:gd name="T116" fmla="*/ 2147483647 w 3688"/>
              <a:gd name="T117" fmla="*/ 2147483647 h 4763"/>
              <a:gd name="T118" fmla="*/ 2147483647 w 3688"/>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88"/>
              <a:gd name="T181" fmla="*/ 0 h 4763"/>
              <a:gd name="T182" fmla="*/ 3688 w 3688"/>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88" h="4763">
                <a:moveTo>
                  <a:pt x="1819" y="0"/>
                </a:moveTo>
                <a:lnTo>
                  <a:pt x="1819" y="0"/>
                </a:lnTo>
                <a:lnTo>
                  <a:pt x="1847" y="1"/>
                </a:lnTo>
                <a:lnTo>
                  <a:pt x="1874" y="5"/>
                </a:lnTo>
                <a:lnTo>
                  <a:pt x="1901" y="14"/>
                </a:lnTo>
                <a:lnTo>
                  <a:pt x="1926" y="24"/>
                </a:lnTo>
                <a:lnTo>
                  <a:pt x="1950" y="37"/>
                </a:lnTo>
                <a:lnTo>
                  <a:pt x="1973" y="53"/>
                </a:lnTo>
                <a:lnTo>
                  <a:pt x="1993" y="70"/>
                </a:lnTo>
                <a:lnTo>
                  <a:pt x="2012" y="89"/>
                </a:lnTo>
                <a:lnTo>
                  <a:pt x="2030" y="111"/>
                </a:lnTo>
                <a:lnTo>
                  <a:pt x="2045" y="134"/>
                </a:lnTo>
                <a:lnTo>
                  <a:pt x="2058" y="160"/>
                </a:lnTo>
                <a:lnTo>
                  <a:pt x="2071" y="185"/>
                </a:lnTo>
                <a:lnTo>
                  <a:pt x="2079" y="214"/>
                </a:lnTo>
                <a:lnTo>
                  <a:pt x="2085" y="242"/>
                </a:lnTo>
                <a:lnTo>
                  <a:pt x="2089" y="272"/>
                </a:lnTo>
                <a:lnTo>
                  <a:pt x="2091" y="303"/>
                </a:lnTo>
                <a:lnTo>
                  <a:pt x="2091" y="375"/>
                </a:lnTo>
                <a:lnTo>
                  <a:pt x="2089" y="406"/>
                </a:lnTo>
                <a:lnTo>
                  <a:pt x="2085" y="435"/>
                </a:lnTo>
                <a:lnTo>
                  <a:pt x="2079" y="464"/>
                </a:lnTo>
                <a:lnTo>
                  <a:pt x="2071" y="491"/>
                </a:lnTo>
                <a:lnTo>
                  <a:pt x="2058" y="518"/>
                </a:lnTo>
                <a:lnTo>
                  <a:pt x="2045" y="542"/>
                </a:lnTo>
                <a:lnTo>
                  <a:pt x="2030" y="567"/>
                </a:lnTo>
                <a:lnTo>
                  <a:pt x="2012" y="588"/>
                </a:lnTo>
                <a:lnTo>
                  <a:pt x="1993" y="607"/>
                </a:lnTo>
                <a:lnTo>
                  <a:pt x="1973" y="625"/>
                </a:lnTo>
                <a:lnTo>
                  <a:pt x="1950" y="640"/>
                </a:lnTo>
                <a:lnTo>
                  <a:pt x="1926" y="653"/>
                </a:lnTo>
                <a:lnTo>
                  <a:pt x="1901" y="664"/>
                </a:lnTo>
                <a:lnTo>
                  <a:pt x="1874" y="671"/>
                </a:lnTo>
                <a:lnTo>
                  <a:pt x="1847" y="676"/>
                </a:lnTo>
                <a:lnTo>
                  <a:pt x="1819" y="678"/>
                </a:lnTo>
                <a:lnTo>
                  <a:pt x="1791" y="676"/>
                </a:lnTo>
                <a:lnTo>
                  <a:pt x="1764" y="671"/>
                </a:lnTo>
                <a:lnTo>
                  <a:pt x="1738" y="664"/>
                </a:lnTo>
                <a:lnTo>
                  <a:pt x="1712" y="653"/>
                </a:lnTo>
                <a:lnTo>
                  <a:pt x="1688" y="640"/>
                </a:lnTo>
                <a:lnTo>
                  <a:pt x="1666" y="625"/>
                </a:lnTo>
                <a:lnTo>
                  <a:pt x="1646" y="607"/>
                </a:lnTo>
                <a:lnTo>
                  <a:pt x="1626" y="588"/>
                </a:lnTo>
                <a:lnTo>
                  <a:pt x="1609" y="567"/>
                </a:lnTo>
                <a:lnTo>
                  <a:pt x="1593" y="542"/>
                </a:lnTo>
                <a:lnTo>
                  <a:pt x="1580" y="518"/>
                </a:lnTo>
                <a:lnTo>
                  <a:pt x="1569" y="491"/>
                </a:lnTo>
                <a:lnTo>
                  <a:pt x="1559" y="464"/>
                </a:lnTo>
                <a:lnTo>
                  <a:pt x="1553" y="435"/>
                </a:lnTo>
                <a:lnTo>
                  <a:pt x="1549" y="406"/>
                </a:lnTo>
                <a:lnTo>
                  <a:pt x="1547" y="375"/>
                </a:lnTo>
                <a:lnTo>
                  <a:pt x="1547" y="303"/>
                </a:lnTo>
                <a:lnTo>
                  <a:pt x="1549" y="272"/>
                </a:lnTo>
                <a:lnTo>
                  <a:pt x="1553" y="242"/>
                </a:lnTo>
                <a:lnTo>
                  <a:pt x="1559" y="214"/>
                </a:lnTo>
                <a:lnTo>
                  <a:pt x="1569" y="185"/>
                </a:lnTo>
                <a:lnTo>
                  <a:pt x="1580" y="160"/>
                </a:lnTo>
                <a:lnTo>
                  <a:pt x="1593" y="134"/>
                </a:lnTo>
                <a:lnTo>
                  <a:pt x="1609" y="111"/>
                </a:lnTo>
                <a:lnTo>
                  <a:pt x="1626" y="89"/>
                </a:lnTo>
                <a:lnTo>
                  <a:pt x="1646" y="70"/>
                </a:lnTo>
                <a:lnTo>
                  <a:pt x="1666" y="53"/>
                </a:lnTo>
                <a:lnTo>
                  <a:pt x="1689" y="37"/>
                </a:lnTo>
                <a:lnTo>
                  <a:pt x="1712" y="24"/>
                </a:lnTo>
                <a:lnTo>
                  <a:pt x="1738" y="14"/>
                </a:lnTo>
                <a:lnTo>
                  <a:pt x="1764" y="5"/>
                </a:lnTo>
                <a:lnTo>
                  <a:pt x="1791" y="1"/>
                </a:lnTo>
                <a:lnTo>
                  <a:pt x="1819" y="0"/>
                </a:lnTo>
                <a:close/>
                <a:moveTo>
                  <a:pt x="2022" y="212"/>
                </a:moveTo>
                <a:lnTo>
                  <a:pt x="2022" y="212"/>
                </a:lnTo>
                <a:lnTo>
                  <a:pt x="2029" y="234"/>
                </a:lnTo>
                <a:lnTo>
                  <a:pt x="2033" y="256"/>
                </a:lnTo>
                <a:lnTo>
                  <a:pt x="2035" y="279"/>
                </a:lnTo>
                <a:lnTo>
                  <a:pt x="2037" y="303"/>
                </a:lnTo>
                <a:lnTo>
                  <a:pt x="2037" y="375"/>
                </a:lnTo>
                <a:lnTo>
                  <a:pt x="2035" y="400"/>
                </a:lnTo>
                <a:lnTo>
                  <a:pt x="2033" y="426"/>
                </a:lnTo>
                <a:lnTo>
                  <a:pt x="2027" y="450"/>
                </a:lnTo>
                <a:lnTo>
                  <a:pt x="2019" y="473"/>
                </a:lnTo>
                <a:lnTo>
                  <a:pt x="2010" y="495"/>
                </a:lnTo>
                <a:lnTo>
                  <a:pt x="1999" y="515"/>
                </a:lnTo>
                <a:lnTo>
                  <a:pt x="1987" y="534"/>
                </a:lnTo>
                <a:lnTo>
                  <a:pt x="1972" y="552"/>
                </a:lnTo>
                <a:lnTo>
                  <a:pt x="1957" y="568"/>
                </a:lnTo>
                <a:lnTo>
                  <a:pt x="1939" y="582"/>
                </a:lnTo>
                <a:lnTo>
                  <a:pt x="1922" y="594"/>
                </a:lnTo>
                <a:lnTo>
                  <a:pt x="1903" y="605"/>
                </a:lnTo>
                <a:lnTo>
                  <a:pt x="1883" y="613"/>
                </a:lnTo>
                <a:lnTo>
                  <a:pt x="1862" y="618"/>
                </a:lnTo>
                <a:lnTo>
                  <a:pt x="1841" y="622"/>
                </a:lnTo>
                <a:lnTo>
                  <a:pt x="1819" y="623"/>
                </a:lnTo>
                <a:lnTo>
                  <a:pt x="1797" y="622"/>
                </a:lnTo>
                <a:lnTo>
                  <a:pt x="1776" y="618"/>
                </a:lnTo>
                <a:lnTo>
                  <a:pt x="1755" y="613"/>
                </a:lnTo>
                <a:lnTo>
                  <a:pt x="1736" y="605"/>
                </a:lnTo>
                <a:lnTo>
                  <a:pt x="1718" y="594"/>
                </a:lnTo>
                <a:lnTo>
                  <a:pt x="1699" y="582"/>
                </a:lnTo>
                <a:lnTo>
                  <a:pt x="1682" y="568"/>
                </a:lnTo>
                <a:lnTo>
                  <a:pt x="1666" y="552"/>
                </a:lnTo>
                <a:lnTo>
                  <a:pt x="1653" y="534"/>
                </a:lnTo>
                <a:lnTo>
                  <a:pt x="1639" y="515"/>
                </a:lnTo>
                <a:lnTo>
                  <a:pt x="1628" y="495"/>
                </a:lnTo>
                <a:lnTo>
                  <a:pt x="1619" y="473"/>
                </a:lnTo>
                <a:lnTo>
                  <a:pt x="1612" y="450"/>
                </a:lnTo>
                <a:lnTo>
                  <a:pt x="1607" y="426"/>
                </a:lnTo>
                <a:lnTo>
                  <a:pt x="1603" y="400"/>
                </a:lnTo>
                <a:lnTo>
                  <a:pt x="1601" y="375"/>
                </a:lnTo>
                <a:lnTo>
                  <a:pt x="1601" y="303"/>
                </a:lnTo>
                <a:lnTo>
                  <a:pt x="1603" y="281"/>
                </a:lnTo>
                <a:lnTo>
                  <a:pt x="1605" y="260"/>
                </a:lnTo>
                <a:lnTo>
                  <a:pt x="1608" y="241"/>
                </a:lnTo>
                <a:lnTo>
                  <a:pt x="1613" y="220"/>
                </a:lnTo>
                <a:lnTo>
                  <a:pt x="1620" y="210"/>
                </a:lnTo>
                <a:lnTo>
                  <a:pt x="1628" y="199"/>
                </a:lnTo>
                <a:lnTo>
                  <a:pt x="1636" y="189"/>
                </a:lnTo>
                <a:lnTo>
                  <a:pt x="1646" y="181"/>
                </a:lnTo>
                <a:lnTo>
                  <a:pt x="1655" y="173"/>
                </a:lnTo>
                <a:lnTo>
                  <a:pt x="1666" y="165"/>
                </a:lnTo>
                <a:lnTo>
                  <a:pt x="1688" y="151"/>
                </a:lnTo>
                <a:lnTo>
                  <a:pt x="1700" y="165"/>
                </a:lnTo>
                <a:lnTo>
                  <a:pt x="1713" y="176"/>
                </a:lnTo>
                <a:lnTo>
                  <a:pt x="1728" y="187"/>
                </a:lnTo>
                <a:lnTo>
                  <a:pt x="1743" y="195"/>
                </a:lnTo>
                <a:lnTo>
                  <a:pt x="1761" y="202"/>
                </a:lnTo>
                <a:lnTo>
                  <a:pt x="1778" y="207"/>
                </a:lnTo>
                <a:lnTo>
                  <a:pt x="1796" y="210"/>
                </a:lnTo>
                <a:lnTo>
                  <a:pt x="1815" y="211"/>
                </a:lnTo>
                <a:lnTo>
                  <a:pt x="1834" y="210"/>
                </a:lnTo>
                <a:lnTo>
                  <a:pt x="1853" y="207"/>
                </a:lnTo>
                <a:lnTo>
                  <a:pt x="1870" y="202"/>
                </a:lnTo>
                <a:lnTo>
                  <a:pt x="1888" y="193"/>
                </a:lnTo>
                <a:lnTo>
                  <a:pt x="1904" y="184"/>
                </a:lnTo>
                <a:lnTo>
                  <a:pt x="1919" y="173"/>
                </a:lnTo>
                <a:lnTo>
                  <a:pt x="1933" y="161"/>
                </a:lnTo>
                <a:lnTo>
                  <a:pt x="1945" y="147"/>
                </a:lnTo>
                <a:lnTo>
                  <a:pt x="1968" y="160"/>
                </a:lnTo>
                <a:lnTo>
                  <a:pt x="1979" y="168"/>
                </a:lnTo>
                <a:lnTo>
                  <a:pt x="1988" y="174"/>
                </a:lnTo>
                <a:lnTo>
                  <a:pt x="1997" y="183"/>
                </a:lnTo>
                <a:lnTo>
                  <a:pt x="2007" y="192"/>
                </a:lnTo>
                <a:lnTo>
                  <a:pt x="2015" y="202"/>
                </a:lnTo>
                <a:lnTo>
                  <a:pt x="2022" y="212"/>
                </a:lnTo>
                <a:close/>
                <a:moveTo>
                  <a:pt x="3073" y="1083"/>
                </a:moveTo>
                <a:lnTo>
                  <a:pt x="3073" y="1083"/>
                </a:lnTo>
                <a:lnTo>
                  <a:pt x="3100" y="1082"/>
                </a:lnTo>
                <a:lnTo>
                  <a:pt x="3127" y="1078"/>
                </a:lnTo>
                <a:lnTo>
                  <a:pt x="3151" y="1070"/>
                </a:lnTo>
                <a:lnTo>
                  <a:pt x="3175" y="1060"/>
                </a:lnTo>
                <a:lnTo>
                  <a:pt x="3198" y="1048"/>
                </a:lnTo>
                <a:lnTo>
                  <a:pt x="3220" y="1033"/>
                </a:lnTo>
                <a:lnTo>
                  <a:pt x="3239" y="1017"/>
                </a:lnTo>
                <a:lnTo>
                  <a:pt x="3258" y="998"/>
                </a:lnTo>
                <a:lnTo>
                  <a:pt x="3274" y="976"/>
                </a:lnTo>
                <a:lnTo>
                  <a:pt x="3289" y="955"/>
                </a:lnTo>
                <a:lnTo>
                  <a:pt x="3303" y="930"/>
                </a:lnTo>
                <a:lnTo>
                  <a:pt x="3313" y="906"/>
                </a:lnTo>
                <a:lnTo>
                  <a:pt x="3321" y="879"/>
                </a:lnTo>
                <a:lnTo>
                  <a:pt x="3327" y="852"/>
                </a:lnTo>
                <a:lnTo>
                  <a:pt x="3331" y="824"/>
                </a:lnTo>
                <a:lnTo>
                  <a:pt x="3332" y="795"/>
                </a:lnTo>
                <a:lnTo>
                  <a:pt x="3332" y="726"/>
                </a:lnTo>
                <a:lnTo>
                  <a:pt x="3331" y="696"/>
                </a:lnTo>
                <a:lnTo>
                  <a:pt x="3327" y="668"/>
                </a:lnTo>
                <a:lnTo>
                  <a:pt x="3321" y="641"/>
                </a:lnTo>
                <a:lnTo>
                  <a:pt x="3313" y="614"/>
                </a:lnTo>
                <a:lnTo>
                  <a:pt x="3303" y="590"/>
                </a:lnTo>
                <a:lnTo>
                  <a:pt x="3289" y="565"/>
                </a:lnTo>
                <a:lnTo>
                  <a:pt x="3274" y="544"/>
                </a:lnTo>
                <a:lnTo>
                  <a:pt x="3258" y="522"/>
                </a:lnTo>
                <a:lnTo>
                  <a:pt x="3239" y="504"/>
                </a:lnTo>
                <a:lnTo>
                  <a:pt x="3220" y="487"/>
                </a:lnTo>
                <a:lnTo>
                  <a:pt x="3198" y="472"/>
                </a:lnTo>
                <a:lnTo>
                  <a:pt x="3175" y="460"/>
                </a:lnTo>
                <a:lnTo>
                  <a:pt x="3151" y="450"/>
                </a:lnTo>
                <a:lnTo>
                  <a:pt x="3127" y="442"/>
                </a:lnTo>
                <a:lnTo>
                  <a:pt x="3100" y="438"/>
                </a:lnTo>
                <a:lnTo>
                  <a:pt x="3073" y="437"/>
                </a:lnTo>
                <a:lnTo>
                  <a:pt x="3046" y="438"/>
                </a:lnTo>
                <a:lnTo>
                  <a:pt x="3020" y="442"/>
                </a:lnTo>
                <a:lnTo>
                  <a:pt x="2996" y="450"/>
                </a:lnTo>
                <a:lnTo>
                  <a:pt x="2971" y="460"/>
                </a:lnTo>
                <a:lnTo>
                  <a:pt x="2948" y="472"/>
                </a:lnTo>
                <a:lnTo>
                  <a:pt x="2927" y="487"/>
                </a:lnTo>
                <a:lnTo>
                  <a:pt x="2908" y="504"/>
                </a:lnTo>
                <a:lnTo>
                  <a:pt x="2889" y="522"/>
                </a:lnTo>
                <a:lnTo>
                  <a:pt x="2873" y="544"/>
                </a:lnTo>
                <a:lnTo>
                  <a:pt x="2858" y="565"/>
                </a:lnTo>
                <a:lnTo>
                  <a:pt x="2844" y="590"/>
                </a:lnTo>
                <a:lnTo>
                  <a:pt x="2833" y="614"/>
                </a:lnTo>
                <a:lnTo>
                  <a:pt x="2825" y="641"/>
                </a:lnTo>
                <a:lnTo>
                  <a:pt x="2818" y="668"/>
                </a:lnTo>
                <a:lnTo>
                  <a:pt x="2816" y="696"/>
                </a:lnTo>
                <a:lnTo>
                  <a:pt x="2814" y="726"/>
                </a:lnTo>
                <a:lnTo>
                  <a:pt x="2814" y="795"/>
                </a:lnTo>
                <a:lnTo>
                  <a:pt x="2816" y="824"/>
                </a:lnTo>
                <a:lnTo>
                  <a:pt x="2818" y="852"/>
                </a:lnTo>
                <a:lnTo>
                  <a:pt x="2825" y="879"/>
                </a:lnTo>
                <a:lnTo>
                  <a:pt x="2833" y="906"/>
                </a:lnTo>
                <a:lnTo>
                  <a:pt x="2844" y="930"/>
                </a:lnTo>
                <a:lnTo>
                  <a:pt x="2858" y="955"/>
                </a:lnTo>
                <a:lnTo>
                  <a:pt x="2873" y="976"/>
                </a:lnTo>
                <a:lnTo>
                  <a:pt x="2889" y="998"/>
                </a:lnTo>
                <a:lnTo>
                  <a:pt x="2908" y="1017"/>
                </a:lnTo>
                <a:lnTo>
                  <a:pt x="2927" y="1033"/>
                </a:lnTo>
                <a:lnTo>
                  <a:pt x="2948" y="1048"/>
                </a:lnTo>
                <a:lnTo>
                  <a:pt x="2971" y="1060"/>
                </a:lnTo>
                <a:lnTo>
                  <a:pt x="2996" y="1070"/>
                </a:lnTo>
                <a:lnTo>
                  <a:pt x="3020" y="1078"/>
                </a:lnTo>
                <a:lnTo>
                  <a:pt x="3046" y="1082"/>
                </a:lnTo>
                <a:lnTo>
                  <a:pt x="3073" y="1083"/>
                </a:lnTo>
                <a:close/>
                <a:moveTo>
                  <a:pt x="2868" y="726"/>
                </a:moveTo>
                <a:lnTo>
                  <a:pt x="2868" y="726"/>
                </a:lnTo>
                <a:lnTo>
                  <a:pt x="2868" y="702"/>
                </a:lnTo>
                <a:lnTo>
                  <a:pt x="2873" y="678"/>
                </a:lnTo>
                <a:lnTo>
                  <a:pt x="2878" y="655"/>
                </a:lnTo>
                <a:lnTo>
                  <a:pt x="2885" y="633"/>
                </a:lnTo>
                <a:lnTo>
                  <a:pt x="2893" y="613"/>
                </a:lnTo>
                <a:lnTo>
                  <a:pt x="2904" y="594"/>
                </a:lnTo>
                <a:lnTo>
                  <a:pt x="2916" y="575"/>
                </a:lnTo>
                <a:lnTo>
                  <a:pt x="2929" y="559"/>
                </a:lnTo>
                <a:lnTo>
                  <a:pt x="2944" y="544"/>
                </a:lnTo>
                <a:lnTo>
                  <a:pt x="2959" y="530"/>
                </a:lnTo>
                <a:lnTo>
                  <a:pt x="2977" y="518"/>
                </a:lnTo>
                <a:lnTo>
                  <a:pt x="2994" y="508"/>
                </a:lnTo>
                <a:lnTo>
                  <a:pt x="3013" y="502"/>
                </a:lnTo>
                <a:lnTo>
                  <a:pt x="3032" y="495"/>
                </a:lnTo>
                <a:lnTo>
                  <a:pt x="3052" y="492"/>
                </a:lnTo>
                <a:lnTo>
                  <a:pt x="3073" y="491"/>
                </a:lnTo>
                <a:lnTo>
                  <a:pt x="3094" y="492"/>
                </a:lnTo>
                <a:lnTo>
                  <a:pt x="3113" y="495"/>
                </a:lnTo>
                <a:lnTo>
                  <a:pt x="3134" y="502"/>
                </a:lnTo>
                <a:lnTo>
                  <a:pt x="3152" y="508"/>
                </a:lnTo>
                <a:lnTo>
                  <a:pt x="3170" y="518"/>
                </a:lnTo>
                <a:lnTo>
                  <a:pt x="3186" y="530"/>
                </a:lnTo>
                <a:lnTo>
                  <a:pt x="3202" y="544"/>
                </a:lnTo>
                <a:lnTo>
                  <a:pt x="3217" y="559"/>
                </a:lnTo>
                <a:lnTo>
                  <a:pt x="3231" y="575"/>
                </a:lnTo>
                <a:lnTo>
                  <a:pt x="3243" y="594"/>
                </a:lnTo>
                <a:lnTo>
                  <a:pt x="3254" y="613"/>
                </a:lnTo>
                <a:lnTo>
                  <a:pt x="3262" y="633"/>
                </a:lnTo>
                <a:lnTo>
                  <a:pt x="3269" y="655"/>
                </a:lnTo>
                <a:lnTo>
                  <a:pt x="3274" y="678"/>
                </a:lnTo>
                <a:lnTo>
                  <a:pt x="3277" y="702"/>
                </a:lnTo>
                <a:lnTo>
                  <a:pt x="3278" y="726"/>
                </a:lnTo>
                <a:lnTo>
                  <a:pt x="3278" y="795"/>
                </a:lnTo>
                <a:lnTo>
                  <a:pt x="3277" y="820"/>
                </a:lnTo>
                <a:lnTo>
                  <a:pt x="3274" y="843"/>
                </a:lnTo>
                <a:lnTo>
                  <a:pt x="3269" y="866"/>
                </a:lnTo>
                <a:lnTo>
                  <a:pt x="3262" y="887"/>
                </a:lnTo>
                <a:lnTo>
                  <a:pt x="3254" y="907"/>
                </a:lnTo>
                <a:lnTo>
                  <a:pt x="3243" y="928"/>
                </a:lnTo>
                <a:lnTo>
                  <a:pt x="3231" y="945"/>
                </a:lnTo>
                <a:lnTo>
                  <a:pt x="3217" y="962"/>
                </a:lnTo>
                <a:lnTo>
                  <a:pt x="3202" y="976"/>
                </a:lnTo>
                <a:lnTo>
                  <a:pt x="3186" y="990"/>
                </a:lnTo>
                <a:lnTo>
                  <a:pt x="3170" y="1002"/>
                </a:lnTo>
                <a:lnTo>
                  <a:pt x="3152" y="1012"/>
                </a:lnTo>
                <a:lnTo>
                  <a:pt x="3134" y="1020"/>
                </a:lnTo>
                <a:lnTo>
                  <a:pt x="3113" y="1025"/>
                </a:lnTo>
                <a:lnTo>
                  <a:pt x="3094" y="1028"/>
                </a:lnTo>
                <a:lnTo>
                  <a:pt x="3073" y="1029"/>
                </a:lnTo>
                <a:lnTo>
                  <a:pt x="3052" y="1028"/>
                </a:lnTo>
                <a:lnTo>
                  <a:pt x="3032" y="1025"/>
                </a:lnTo>
                <a:lnTo>
                  <a:pt x="3013" y="1020"/>
                </a:lnTo>
                <a:lnTo>
                  <a:pt x="2994" y="1012"/>
                </a:lnTo>
                <a:lnTo>
                  <a:pt x="2977" y="1002"/>
                </a:lnTo>
                <a:lnTo>
                  <a:pt x="2959" y="990"/>
                </a:lnTo>
                <a:lnTo>
                  <a:pt x="2944" y="976"/>
                </a:lnTo>
                <a:lnTo>
                  <a:pt x="2929" y="962"/>
                </a:lnTo>
                <a:lnTo>
                  <a:pt x="2916" y="945"/>
                </a:lnTo>
                <a:lnTo>
                  <a:pt x="2904" y="928"/>
                </a:lnTo>
                <a:lnTo>
                  <a:pt x="2893" y="907"/>
                </a:lnTo>
                <a:lnTo>
                  <a:pt x="2885" y="887"/>
                </a:lnTo>
                <a:lnTo>
                  <a:pt x="2878" y="866"/>
                </a:lnTo>
                <a:lnTo>
                  <a:pt x="2873" y="843"/>
                </a:lnTo>
                <a:lnTo>
                  <a:pt x="2868" y="820"/>
                </a:lnTo>
                <a:lnTo>
                  <a:pt x="2868" y="795"/>
                </a:lnTo>
                <a:lnTo>
                  <a:pt x="2868" y="726"/>
                </a:lnTo>
                <a:close/>
                <a:moveTo>
                  <a:pt x="622" y="1083"/>
                </a:moveTo>
                <a:lnTo>
                  <a:pt x="622" y="1083"/>
                </a:lnTo>
                <a:lnTo>
                  <a:pt x="649" y="1082"/>
                </a:lnTo>
                <a:lnTo>
                  <a:pt x="676" y="1078"/>
                </a:lnTo>
                <a:lnTo>
                  <a:pt x="701" y="1070"/>
                </a:lnTo>
                <a:lnTo>
                  <a:pt x="725" y="1060"/>
                </a:lnTo>
                <a:lnTo>
                  <a:pt x="748" y="1048"/>
                </a:lnTo>
                <a:lnTo>
                  <a:pt x="770" y="1033"/>
                </a:lnTo>
                <a:lnTo>
                  <a:pt x="788" y="1017"/>
                </a:lnTo>
                <a:lnTo>
                  <a:pt x="807" y="998"/>
                </a:lnTo>
                <a:lnTo>
                  <a:pt x="824" y="976"/>
                </a:lnTo>
                <a:lnTo>
                  <a:pt x="838" y="955"/>
                </a:lnTo>
                <a:lnTo>
                  <a:pt x="851" y="930"/>
                </a:lnTo>
                <a:lnTo>
                  <a:pt x="861" y="906"/>
                </a:lnTo>
                <a:lnTo>
                  <a:pt x="871" y="879"/>
                </a:lnTo>
                <a:lnTo>
                  <a:pt x="876" y="852"/>
                </a:lnTo>
                <a:lnTo>
                  <a:pt x="880" y="824"/>
                </a:lnTo>
                <a:lnTo>
                  <a:pt x="882" y="795"/>
                </a:lnTo>
                <a:lnTo>
                  <a:pt x="882" y="726"/>
                </a:lnTo>
                <a:lnTo>
                  <a:pt x="880" y="696"/>
                </a:lnTo>
                <a:lnTo>
                  <a:pt x="876" y="668"/>
                </a:lnTo>
                <a:lnTo>
                  <a:pt x="871" y="641"/>
                </a:lnTo>
                <a:lnTo>
                  <a:pt x="861" y="614"/>
                </a:lnTo>
                <a:lnTo>
                  <a:pt x="851" y="590"/>
                </a:lnTo>
                <a:lnTo>
                  <a:pt x="838" y="565"/>
                </a:lnTo>
                <a:lnTo>
                  <a:pt x="824" y="544"/>
                </a:lnTo>
                <a:lnTo>
                  <a:pt x="807" y="522"/>
                </a:lnTo>
                <a:lnTo>
                  <a:pt x="788" y="504"/>
                </a:lnTo>
                <a:lnTo>
                  <a:pt x="770" y="487"/>
                </a:lnTo>
                <a:lnTo>
                  <a:pt x="748" y="472"/>
                </a:lnTo>
                <a:lnTo>
                  <a:pt x="725" y="460"/>
                </a:lnTo>
                <a:lnTo>
                  <a:pt x="701" y="450"/>
                </a:lnTo>
                <a:lnTo>
                  <a:pt x="676" y="442"/>
                </a:lnTo>
                <a:lnTo>
                  <a:pt x="649" y="438"/>
                </a:lnTo>
                <a:lnTo>
                  <a:pt x="622" y="437"/>
                </a:lnTo>
                <a:lnTo>
                  <a:pt x="595" y="438"/>
                </a:lnTo>
                <a:lnTo>
                  <a:pt x="569" y="442"/>
                </a:lnTo>
                <a:lnTo>
                  <a:pt x="544" y="450"/>
                </a:lnTo>
                <a:lnTo>
                  <a:pt x="521" y="460"/>
                </a:lnTo>
                <a:lnTo>
                  <a:pt x="498" y="472"/>
                </a:lnTo>
                <a:lnTo>
                  <a:pt x="476" y="487"/>
                </a:lnTo>
                <a:lnTo>
                  <a:pt x="456" y="504"/>
                </a:lnTo>
                <a:lnTo>
                  <a:pt x="438" y="522"/>
                </a:lnTo>
                <a:lnTo>
                  <a:pt x="422" y="544"/>
                </a:lnTo>
                <a:lnTo>
                  <a:pt x="407" y="565"/>
                </a:lnTo>
                <a:lnTo>
                  <a:pt x="394" y="590"/>
                </a:lnTo>
                <a:lnTo>
                  <a:pt x="383" y="614"/>
                </a:lnTo>
                <a:lnTo>
                  <a:pt x="375" y="641"/>
                </a:lnTo>
                <a:lnTo>
                  <a:pt x="368" y="668"/>
                </a:lnTo>
                <a:lnTo>
                  <a:pt x="364" y="696"/>
                </a:lnTo>
                <a:lnTo>
                  <a:pt x="362" y="726"/>
                </a:lnTo>
                <a:lnTo>
                  <a:pt x="362" y="795"/>
                </a:lnTo>
                <a:lnTo>
                  <a:pt x="364" y="824"/>
                </a:lnTo>
                <a:lnTo>
                  <a:pt x="368" y="852"/>
                </a:lnTo>
                <a:lnTo>
                  <a:pt x="375" y="879"/>
                </a:lnTo>
                <a:lnTo>
                  <a:pt x="383" y="906"/>
                </a:lnTo>
                <a:lnTo>
                  <a:pt x="394" y="930"/>
                </a:lnTo>
                <a:lnTo>
                  <a:pt x="407" y="955"/>
                </a:lnTo>
                <a:lnTo>
                  <a:pt x="422" y="976"/>
                </a:lnTo>
                <a:lnTo>
                  <a:pt x="438" y="998"/>
                </a:lnTo>
                <a:lnTo>
                  <a:pt x="456" y="1017"/>
                </a:lnTo>
                <a:lnTo>
                  <a:pt x="476" y="1033"/>
                </a:lnTo>
                <a:lnTo>
                  <a:pt x="498" y="1048"/>
                </a:lnTo>
                <a:lnTo>
                  <a:pt x="521" y="1060"/>
                </a:lnTo>
                <a:lnTo>
                  <a:pt x="544" y="1070"/>
                </a:lnTo>
                <a:lnTo>
                  <a:pt x="569" y="1078"/>
                </a:lnTo>
                <a:lnTo>
                  <a:pt x="595" y="1082"/>
                </a:lnTo>
                <a:lnTo>
                  <a:pt x="622" y="1083"/>
                </a:lnTo>
                <a:close/>
                <a:moveTo>
                  <a:pt x="417" y="726"/>
                </a:moveTo>
                <a:lnTo>
                  <a:pt x="417" y="726"/>
                </a:lnTo>
                <a:lnTo>
                  <a:pt x="418" y="702"/>
                </a:lnTo>
                <a:lnTo>
                  <a:pt x="422" y="678"/>
                </a:lnTo>
                <a:lnTo>
                  <a:pt x="426" y="655"/>
                </a:lnTo>
                <a:lnTo>
                  <a:pt x="434" y="633"/>
                </a:lnTo>
                <a:lnTo>
                  <a:pt x="442" y="613"/>
                </a:lnTo>
                <a:lnTo>
                  <a:pt x="453" y="594"/>
                </a:lnTo>
                <a:lnTo>
                  <a:pt x="465" y="575"/>
                </a:lnTo>
                <a:lnTo>
                  <a:pt x="479" y="559"/>
                </a:lnTo>
                <a:lnTo>
                  <a:pt x="494" y="544"/>
                </a:lnTo>
                <a:lnTo>
                  <a:pt x="509" y="530"/>
                </a:lnTo>
                <a:lnTo>
                  <a:pt x="526" y="518"/>
                </a:lnTo>
                <a:lnTo>
                  <a:pt x="544" y="508"/>
                </a:lnTo>
                <a:lnTo>
                  <a:pt x="563" y="502"/>
                </a:lnTo>
                <a:lnTo>
                  <a:pt x="582" y="495"/>
                </a:lnTo>
                <a:lnTo>
                  <a:pt x="602" y="492"/>
                </a:lnTo>
                <a:lnTo>
                  <a:pt x="622" y="491"/>
                </a:lnTo>
                <a:lnTo>
                  <a:pt x="642" y="492"/>
                </a:lnTo>
                <a:lnTo>
                  <a:pt x="663" y="495"/>
                </a:lnTo>
                <a:lnTo>
                  <a:pt x="683" y="502"/>
                </a:lnTo>
                <a:lnTo>
                  <a:pt x="701" y="508"/>
                </a:lnTo>
                <a:lnTo>
                  <a:pt x="719" y="518"/>
                </a:lnTo>
                <a:lnTo>
                  <a:pt x="736" y="530"/>
                </a:lnTo>
                <a:lnTo>
                  <a:pt x="752" y="544"/>
                </a:lnTo>
                <a:lnTo>
                  <a:pt x="767" y="559"/>
                </a:lnTo>
                <a:lnTo>
                  <a:pt x="780" y="575"/>
                </a:lnTo>
                <a:lnTo>
                  <a:pt x="793" y="594"/>
                </a:lnTo>
                <a:lnTo>
                  <a:pt x="802" y="613"/>
                </a:lnTo>
                <a:lnTo>
                  <a:pt x="811" y="633"/>
                </a:lnTo>
                <a:lnTo>
                  <a:pt x="818" y="655"/>
                </a:lnTo>
                <a:lnTo>
                  <a:pt x="824" y="678"/>
                </a:lnTo>
                <a:lnTo>
                  <a:pt x="826" y="702"/>
                </a:lnTo>
                <a:lnTo>
                  <a:pt x="828" y="726"/>
                </a:lnTo>
                <a:lnTo>
                  <a:pt x="828" y="795"/>
                </a:lnTo>
                <a:lnTo>
                  <a:pt x="826" y="820"/>
                </a:lnTo>
                <a:lnTo>
                  <a:pt x="824" y="843"/>
                </a:lnTo>
                <a:lnTo>
                  <a:pt x="818" y="866"/>
                </a:lnTo>
                <a:lnTo>
                  <a:pt x="811" y="887"/>
                </a:lnTo>
                <a:lnTo>
                  <a:pt x="802" y="907"/>
                </a:lnTo>
                <a:lnTo>
                  <a:pt x="793" y="928"/>
                </a:lnTo>
                <a:lnTo>
                  <a:pt x="780" y="945"/>
                </a:lnTo>
                <a:lnTo>
                  <a:pt x="767" y="962"/>
                </a:lnTo>
                <a:lnTo>
                  <a:pt x="752" y="976"/>
                </a:lnTo>
                <a:lnTo>
                  <a:pt x="736" y="990"/>
                </a:lnTo>
                <a:lnTo>
                  <a:pt x="719" y="1002"/>
                </a:lnTo>
                <a:lnTo>
                  <a:pt x="701" y="1012"/>
                </a:lnTo>
                <a:lnTo>
                  <a:pt x="683" y="1020"/>
                </a:lnTo>
                <a:lnTo>
                  <a:pt x="663" y="1025"/>
                </a:lnTo>
                <a:lnTo>
                  <a:pt x="642" y="1028"/>
                </a:lnTo>
                <a:lnTo>
                  <a:pt x="622" y="1029"/>
                </a:lnTo>
                <a:lnTo>
                  <a:pt x="602" y="1028"/>
                </a:lnTo>
                <a:lnTo>
                  <a:pt x="582" y="1025"/>
                </a:lnTo>
                <a:lnTo>
                  <a:pt x="563" y="1020"/>
                </a:lnTo>
                <a:lnTo>
                  <a:pt x="544" y="1012"/>
                </a:lnTo>
                <a:lnTo>
                  <a:pt x="526" y="1002"/>
                </a:lnTo>
                <a:lnTo>
                  <a:pt x="509" y="990"/>
                </a:lnTo>
                <a:lnTo>
                  <a:pt x="494" y="976"/>
                </a:lnTo>
                <a:lnTo>
                  <a:pt x="479" y="962"/>
                </a:lnTo>
                <a:lnTo>
                  <a:pt x="465" y="945"/>
                </a:lnTo>
                <a:lnTo>
                  <a:pt x="453" y="928"/>
                </a:lnTo>
                <a:lnTo>
                  <a:pt x="442" y="907"/>
                </a:lnTo>
                <a:lnTo>
                  <a:pt x="434" y="887"/>
                </a:lnTo>
                <a:lnTo>
                  <a:pt x="426" y="866"/>
                </a:lnTo>
                <a:lnTo>
                  <a:pt x="422" y="843"/>
                </a:lnTo>
                <a:lnTo>
                  <a:pt x="418" y="820"/>
                </a:lnTo>
                <a:lnTo>
                  <a:pt x="417" y="795"/>
                </a:lnTo>
                <a:lnTo>
                  <a:pt x="417" y="726"/>
                </a:lnTo>
                <a:close/>
                <a:moveTo>
                  <a:pt x="3519" y="1206"/>
                </a:moveTo>
                <a:lnTo>
                  <a:pt x="2717" y="1145"/>
                </a:lnTo>
                <a:lnTo>
                  <a:pt x="2712" y="1124"/>
                </a:lnTo>
                <a:lnTo>
                  <a:pt x="2706" y="1104"/>
                </a:lnTo>
                <a:lnTo>
                  <a:pt x="2699" y="1085"/>
                </a:lnTo>
                <a:lnTo>
                  <a:pt x="2693" y="1066"/>
                </a:lnTo>
                <a:lnTo>
                  <a:pt x="2683" y="1047"/>
                </a:lnTo>
                <a:lnTo>
                  <a:pt x="2674" y="1029"/>
                </a:lnTo>
                <a:lnTo>
                  <a:pt x="2663" y="1013"/>
                </a:lnTo>
                <a:lnTo>
                  <a:pt x="2651" y="997"/>
                </a:lnTo>
                <a:lnTo>
                  <a:pt x="2637" y="982"/>
                </a:lnTo>
                <a:lnTo>
                  <a:pt x="2624" y="967"/>
                </a:lnTo>
                <a:lnTo>
                  <a:pt x="2609" y="953"/>
                </a:lnTo>
                <a:lnTo>
                  <a:pt x="2594" y="941"/>
                </a:lnTo>
                <a:lnTo>
                  <a:pt x="2576" y="930"/>
                </a:lnTo>
                <a:lnTo>
                  <a:pt x="2559" y="920"/>
                </a:lnTo>
                <a:lnTo>
                  <a:pt x="2541" y="910"/>
                </a:lnTo>
                <a:lnTo>
                  <a:pt x="2522" y="902"/>
                </a:lnTo>
                <a:lnTo>
                  <a:pt x="2075" y="732"/>
                </a:lnTo>
                <a:lnTo>
                  <a:pt x="2052" y="837"/>
                </a:lnTo>
                <a:lnTo>
                  <a:pt x="2066" y="837"/>
                </a:lnTo>
                <a:lnTo>
                  <a:pt x="2469" y="999"/>
                </a:lnTo>
                <a:lnTo>
                  <a:pt x="2486" y="1008"/>
                </a:lnTo>
                <a:lnTo>
                  <a:pt x="2502" y="1014"/>
                </a:lnTo>
                <a:lnTo>
                  <a:pt x="2517" y="1024"/>
                </a:lnTo>
                <a:lnTo>
                  <a:pt x="2530" y="1033"/>
                </a:lnTo>
                <a:lnTo>
                  <a:pt x="2543" y="1043"/>
                </a:lnTo>
                <a:lnTo>
                  <a:pt x="2555" y="1053"/>
                </a:lnTo>
                <a:lnTo>
                  <a:pt x="2564" y="1066"/>
                </a:lnTo>
                <a:lnTo>
                  <a:pt x="2574" y="1076"/>
                </a:lnTo>
                <a:lnTo>
                  <a:pt x="2583" y="1090"/>
                </a:lnTo>
                <a:lnTo>
                  <a:pt x="2590" y="1104"/>
                </a:lnTo>
                <a:lnTo>
                  <a:pt x="2597" y="1117"/>
                </a:lnTo>
                <a:lnTo>
                  <a:pt x="2602" y="1132"/>
                </a:lnTo>
                <a:lnTo>
                  <a:pt x="2606" y="1148"/>
                </a:lnTo>
                <a:lnTo>
                  <a:pt x="2610" y="1164"/>
                </a:lnTo>
                <a:lnTo>
                  <a:pt x="2613" y="1182"/>
                </a:lnTo>
                <a:lnTo>
                  <a:pt x="2614" y="1200"/>
                </a:lnTo>
                <a:lnTo>
                  <a:pt x="2679" y="2625"/>
                </a:lnTo>
                <a:lnTo>
                  <a:pt x="2451" y="2625"/>
                </a:lnTo>
                <a:lnTo>
                  <a:pt x="2438" y="1258"/>
                </a:lnTo>
                <a:lnTo>
                  <a:pt x="2384" y="1259"/>
                </a:lnTo>
                <a:lnTo>
                  <a:pt x="2396" y="2625"/>
                </a:lnTo>
                <a:lnTo>
                  <a:pt x="1296" y="2625"/>
                </a:lnTo>
                <a:lnTo>
                  <a:pt x="1309" y="1259"/>
                </a:lnTo>
                <a:lnTo>
                  <a:pt x="1255" y="1258"/>
                </a:lnTo>
                <a:lnTo>
                  <a:pt x="1242" y="2625"/>
                </a:lnTo>
                <a:lnTo>
                  <a:pt x="964" y="2625"/>
                </a:lnTo>
                <a:lnTo>
                  <a:pt x="1043" y="1200"/>
                </a:lnTo>
                <a:lnTo>
                  <a:pt x="1045" y="1182"/>
                </a:lnTo>
                <a:lnTo>
                  <a:pt x="1047" y="1164"/>
                </a:lnTo>
                <a:lnTo>
                  <a:pt x="1051" y="1148"/>
                </a:lnTo>
                <a:lnTo>
                  <a:pt x="1055" y="1132"/>
                </a:lnTo>
                <a:lnTo>
                  <a:pt x="1060" y="1117"/>
                </a:lnTo>
                <a:lnTo>
                  <a:pt x="1067" y="1104"/>
                </a:lnTo>
                <a:lnTo>
                  <a:pt x="1075" y="1090"/>
                </a:lnTo>
                <a:lnTo>
                  <a:pt x="1083" y="1076"/>
                </a:lnTo>
                <a:lnTo>
                  <a:pt x="1093" y="1064"/>
                </a:lnTo>
                <a:lnTo>
                  <a:pt x="1104" y="1053"/>
                </a:lnTo>
                <a:lnTo>
                  <a:pt x="1114" y="1043"/>
                </a:lnTo>
                <a:lnTo>
                  <a:pt x="1128" y="1033"/>
                </a:lnTo>
                <a:lnTo>
                  <a:pt x="1141" y="1024"/>
                </a:lnTo>
                <a:lnTo>
                  <a:pt x="1155" y="1014"/>
                </a:lnTo>
                <a:lnTo>
                  <a:pt x="1171" y="1008"/>
                </a:lnTo>
                <a:lnTo>
                  <a:pt x="1187" y="999"/>
                </a:lnTo>
                <a:lnTo>
                  <a:pt x="1590" y="837"/>
                </a:lnTo>
                <a:lnTo>
                  <a:pt x="1607" y="837"/>
                </a:lnTo>
                <a:lnTo>
                  <a:pt x="1584" y="730"/>
                </a:lnTo>
                <a:lnTo>
                  <a:pt x="1164" y="886"/>
                </a:lnTo>
                <a:lnTo>
                  <a:pt x="1143" y="894"/>
                </a:lnTo>
                <a:lnTo>
                  <a:pt x="1122" y="903"/>
                </a:lnTo>
                <a:lnTo>
                  <a:pt x="1102" y="914"/>
                </a:lnTo>
                <a:lnTo>
                  <a:pt x="1083" y="926"/>
                </a:lnTo>
                <a:lnTo>
                  <a:pt x="1064" y="940"/>
                </a:lnTo>
                <a:lnTo>
                  <a:pt x="1048" y="953"/>
                </a:lnTo>
                <a:lnTo>
                  <a:pt x="1032" y="970"/>
                </a:lnTo>
                <a:lnTo>
                  <a:pt x="1017" y="986"/>
                </a:lnTo>
                <a:lnTo>
                  <a:pt x="1003" y="1002"/>
                </a:lnTo>
                <a:lnTo>
                  <a:pt x="990" y="1021"/>
                </a:lnTo>
                <a:lnTo>
                  <a:pt x="979" y="1040"/>
                </a:lnTo>
                <a:lnTo>
                  <a:pt x="968" y="1059"/>
                </a:lnTo>
                <a:lnTo>
                  <a:pt x="959" y="1081"/>
                </a:lnTo>
                <a:lnTo>
                  <a:pt x="952" y="1102"/>
                </a:lnTo>
                <a:lnTo>
                  <a:pt x="945" y="1124"/>
                </a:lnTo>
                <a:lnTo>
                  <a:pt x="940" y="1147"/>
                </a:lnTo>
                <a:lnTo>
                  <a:pt x="168" y="1206"/>
                </a:lnTo>
                <a:lnTo>
                  <a:pt x="145" y="1209"/>
                </a:lnTo>
                <a:lnTo>
                  <a:pt x="124" y="1213"/>
                </a:lnTo>
                <a:lnTo>
                  <a:pt x="104" y="1218"/>
                </a:lnTo>
                <a:lnTo>
                  <a:pt x="88" y="1227"/>
                </a:lnTo>
                <a:lnTo>
                  <a:pt x="72" y="1235"/>
                </a:lnTo>
                <a:lnTo>
                  <a:pt x="58" y="1244"/>
                </a:lnTo>
                <a:lnTo>
                  <a:pt x="46" y="1254"/>
                </a:lnTo>
                <a:lnTo>
                  <a:pt x="35" y="1266"/>
                </a:lnTo>
                <a:lnTo>
                  <a:pt x="27" y="1277"/>
                </a:lnTo>
                <a:lnTo>
                  <a:pt x="19" y="1289"/>
                </a:lnTo>
                <a:lnTo>
                  <a:pt x="12" y="1302"/>
                </a:lnTo>
                <a:lnTo>
                  <a:pt x="8" y="1314"/>
                </a:lnTo>
                <a:lnTo>
                  <a:pt x="4" y="1327"/>
                </a:lnTo>
                <a:lnTo>
                  <a:pt x="1" y="1339"/>
                </a:lnTo>
                <a:lnTo>
                  <a:pt x="0" y="1351"/>
                </a:lnTo>
                <a:lnTo>
                  <a:pt x="0" y="1363"/>
                </a:lnTo>
                <a:lnTo>
                  <a:pt x="1" y="2706"/>
                </a:lnTo>
                <a:lnTo>
                  <a:pt x="3" y="2725"/>
                </a:lnTo>
                <a:lnTo>
                  <a:pt x="3" y="2744"/>
                </a:lnTo>
                <a:lnTo>
                  <a:pt x="8" y="2779"/>
                </a:lnTo>
                <a:lnTo>
                  <a:pt x="15" y="2810"/>
                </a:lnTo>
                <a:lnTo>
                  <a:pt x="24" y="2840"/>
                </a:lnTo>
                <a:lnTo>
                  <a:pt x="37" y="2868"/>
                </a:lnTo>
                <a:lnTo>
                  <a:pt x="50" y="2893"/>
                </a:lnTo>
                <a:lnTo>
                  <a:pt x="65" y="2917"/>
                </a:lnTo>
                <a:lnTo>
                  <a:pt x="81" y="2939"/>
                </a:lnTo>
                <a:lnTo>
                  <a:pt x="99" y="2959"/>
                </a:lnTo>
                <a:lnTo>
                  <a:pt x="116" y="2978"/>
                </a:lnTo>
                <a:lnTo>
                  <a:pt x="135" y="2995"/>
                </a:lnTo>
                <a:lnTo>
                  <a:pt x="153" y="3013"/>
                </a:lnTo>
                <a:lnTo>
                  <a:pt x="189" y="3046"/>
                </a:lnTo>
                <a:lnTo>
                  <a:pt x="223" y="3077"/>
                </a:lnTo>
                <a:lnTo>
                  <a:pt x="296" y="4763"/>
                </a:lnTo>
                <a:lnTo>
                  <a:pt x="1274" y="4763"/>
                </a:lnTo>
                <a:lnTo>
                  <a:pt x="1296" y="2679"/>
                </a:lnTo>
                <a:lnTo>
                  <a:pt x="2398" y="2679"/>
                </a:lnTo>
                <a:lnTo>
                  <a:pt x="2418" y="4763"/>
                </a:lnTo>
                <a:lnTo>
                  <a:pt x="3392" y="4763"/>
                </a:lnTo>
                <a:lnTo>
                  <a:pt x="3465" y="3077"/>
                </a:lnTo>
                <a:lnTo>
                  <a:pt x="3499" y="3046"/>
                </a:lnTo>
                <a:lnTo>
                  <a:pt x="3534" y="3013"/>
                </a:lnTo>
                <a:lnTo>
                  <a:pt x="3553" y="2995"/>
                </a:lnTo>
                <a:lnTo>
                  <a:pt x="3572" y="2978"/>
                </a:lnTo>
                <a:lnTo>
                  <a:pt x="3589" y="2959"/>
                </a:lnTo>
                <a:lnTo>
                  <a:pt x="3607" y="2939"/>
                </a:lnTo>
                <a:lnTo>
                  <a:pt x="3623" y="2917"/>
                </a:lnTo>
                <a:lnTo>
                  <a:pt x="3638" y="2893"/>
                </a:lnTo>
                <a:lnTo>
                  <a:pt x="3651" y="2868"/>
                </a:lnTo>
                <a:lnTo>
                  <a:pt x="3664" y="2840"/>
                </a:lnTo>
                <a:lnTo>
                  <a:pt x="3673" y="2810"/>
                </a:lnTo>
                <a:lnTo>
                  <a:pt x="3680" y="2779"/>
                </a:lnTo>
                <a:lnTo>
                  <a:pt x="3684" y="2744"/>
                </a:lnTo>
                <a:lnTo>
                  <a:pt x="3685" y="2725"/>
                </a:lnTo>
                <a:lnTo>
                  <a:pt x="3687" y="2706"/>
                </a:lnTo>
                <a:lnTo>
                  <a:pt x="3688" y="1363"/>
                </a:lnTo>
                <a:lnTo>
                  <a:pt x="3688" y="1351"/>
                </a:lnTo>
                <a:lnTo>
                  <a:pt x="3687" y="1339"/>
                </a:lnTo>
                <a:lnTo>
                  <a:pt x="3684" y="1327"/>
                </a:lnTo>
                <a:lnTo>
                  <a:pt x="3680" y="1314"/>
                </a:lnTo>
                <a:lnTo>
                  <a:pt x="3676" y="1302"/>
                </a:lnTo>
                <a:lnTo>
                  <a:pt x="3669" y="1289"/>
                </a:lnTo>
                <a:lnTo>
                  <a:pt x="3661" y="1277"/>
                </a:lnTo>
                <a:lnTo>
                  <a:pt x="3653" y="1266"/>
                </a:lnTo>
                <a:lnTo>
                  <a:pt x="3642" y="1254"/>
                </a:lnTo>
                <a:lnTo>
                  <a:pt x="3630" y="1244"/>
                </a:lnTo>
                <a:lnTo>
                  <a:pt x="3616" y="1235"/>
                </a:lnTo>
                <a:lnTo>
                  <a:pt x="3600" y="1227"/>
                </a:lnTo>
                <a:lnTo>
                  <a:pt x="3583" y="1218"/>
                </a:lnTo>
                <a:lnTo>
                  <a:pt x="3564" y="1213"/>
                </a:lnTo>
                <a:lnTo>
                  <a:pt x="3543" y="1209"/>
                </a:lnTo>
                <a:lnTo>
                  <a:pt x="3519" y="1206"/>
                </a:lnTo>
                <a:close/>
                <a:moveTo>
                  <a:pt x="625" y="2552"/>
                </a:moveTo>
                <a:lnTo>
                  <a:pt x="463" y="2350"/>
                </a:lnTo>
                <a:lnTo>
                  <a:pt x="579" y="1296"/>
                </a:lnTo>
                <a:lnTo>
                  <a:pt x="660" y="1290"/>
                </a:lnTo>
                <a:lnTo>
                  <a:pt x="776" y="2350"/>
                </a:lnTo>
                <a:lnTo>
                  <a:pt x="625" y="2552"/>
                </a:lnTo>
                <a:close/>
                <a:moveTo>
                  <a:pt x="1237" y="3110"/>
                </a:moveTo>
                <a:lnTo>
                  <a:pt x="978" y="2679"/>
                </a:lnTo>
                <a:lnTo>
                  <a:pt x="1242" y="2679"/>
                </a:lnTo>
                <a:lnTo>
                  <a:pt x="1237" y="3110"/>
                </a:lnTo>
                <a:close/>
                <a:moveTo>
                  <a:pt x="2456" y="3109"/>
                </a:moveTo>
                <a:lnTo>
                  <a:pt x="2452" y="2679"/>
                </a:lnTo>
                <a:lnTo>
                  <a:pt x="2680" y="2679"/>
                </a:lnTo>
                <a:lnTo>
                  <a:pt x="2456" y="3109"/>
                </a:lnTo>
                <a:close/>
                <a:moveTo>
                  <a:pt x="3065" y="2595"/>
                </a:moveTo>
                <a:lnTo>
                  <a:pt x="2902" y="2394"/>
                </a:lnTo>
                <a:lnTo>
                  <a:pt x="3019" y="1290"/>
                </a:lnTo>
                <a:lnTo>
                  <a:pt x="3100" y="1296"/>
                </a:lnTo>
                <a:lnTo>
                  <a:pt x="3216" y="2394"/>
                </a:lnTo>
                <a:lnTo>
                  <a:pt x="3065" y="2595"/>
                </a:lnTo>
                <a:close/>
                <a:moveTo>
                  <a:pt x="1792" y="2951"/>
                </a:moveTo>
                <a:lnTo>
                  <a:pt x="1777" y="4763"/>
                </a:lnTo>
                <a:lnTo>
                  <a:pt x="1861" y="4763"/>
                </a:lnTo>
                <a:lnTo>
                  <a:pt x="1846" y="2951"/>
                </a:lnTo>
                <a:lnTo>
                  <a:pt x="1792" y="2951"/>
                </a:lnTo>
                <a:close/>
                <a:moveTo>
                  <a:pt x="1035" y="2528"/>
                </a:moveTo>
                <a:lnTo>
                  <a:pt x="1035" y="2528"/>
                </a:lnTo>
                <a:lnTo>
                  <a:pt x="1036" y="2534"/>
                </a:lnTo>
                <a:lnTo>
                  <a:pt x="1037" y="2540"/>
                </a:lnTo>
                <a:lnTo>
                  <a:pt x="1040" y="2545"/>
                </a:lnTo>
                <a:lnTo>
                  <a:pt x="1044" y="2551"/>
                </a:lnTo>
                <a:lnTo>
                  <a:pt x="1048" y="2555"/>
                </a:lnTo>
                <a:lnTo>
                  <a:pt x="1054" y="2557"/>
                </a:lnTo>
                <a:lnTo>
                  <a:pt x="1060" y="2559"/>
                </a:lnTo>
                <a:lnTo>
                  <a:pt x="1066" y="2560"/>
                </a:lnTo>
                <a:lnTo>
                  <a:pt x="1072" y="2559"/>
                </a:lnTo>
                <a:lnTo>
                  <a:pt x="1078" y="2557"/>
                </a:lnTo>
                <a:lnTo>
                  <a:pt x="1083" y="2555"/>
                </a:lnTo>
                <a:lnTo>
                  <a:pt x="1089" y="2551"/>
                </a:lnTo>
                <a:lnTo>
                  <a:pt x="1093" y="2545"/>
                </a:lnTo>
                <a:lnTo>
                  <a:pt x="1095" y="2540"/>
                </a:lnTo>
                <a:lnTo>
                  <a:pt x="1097" y="2534"/>
                </a:lnTo>
                <a:lnTo>
                  <a:pt x="1097" y="2528"/>
                </a:lnTo>
                <a:lnTo>
                  <a:pt x="1097" y="2522"/>
                </a:lnTo>
                <a:lnTo>
                  <a:pt x="1095" y="2515"/>
                </a:lnTo>
                <a:lnTo>
                  <a:pt x="1093" y="2511"/>
                </a:lnTo>
                <a:lnTo>
                  <a:pt x="1089" y="2506"/>
                </a:lnTo>
                <a:lnTo>
                  <a:pt x="1083" y="2502"/>
                </a:lnTo>
                <a:lnTo>
                  <a:pt x="1078" y="2499"/>
                </a:lnTo>
                <a:lnTo>
                  <a:pt x="1072" y="2498"/>
                </a:lnTo>
                <a:lnTo>
                  <a:pt x="1066" y="2496"/>
                </a:lnTo>
                <a:lnTo>
                  <a:pt x="1060" y="2498"/>
                </a:lnTo>
                <a:lnTo>
                  <a:pt x="1054" y="2499"/>
                </a:lnTo>
                <a:lnTo>
                  <a:pt x="1048" y="2502"/>
                </a:lnTo>
                <a:lnTo>
                  <a:pt x="1044" y="2506"/>
                </a:lnTo>
                <a:lnTo>
                  <a:pt x="1040" y="2511"/>
                </a:lnTo>
                <a:lnTo>
                  <a:pt x="1037" y="2515"/>
                </a:lnTo>
                <a:lnTo>
                  <a:pt x="1036" y="2522"/>
                </a:lnTo>
                <a:lnTo>
                  <a:pt x="1035" y="2528"/>
                </a:lnTo>
                <a:close/>
                <a:moveTo>
                  <a:pt x="2602" y="2528"/>
                </a:moveTo>
                <a:lnTo>
                  <a:pt x="2602" y="2528"/>
                </a:lnTo>
                <a:lnTo>
                  <a:pt x="2602" y="2522"/>
                </a:lnTo>
                <a:lnTo>
                  <a:pt x="2601" y="2515"/>
                </a:lnTo>
                <a:lnTo>
                  <a:pt x="2598" y="2511"/>
                </a:lnTo>
                <a:lnTo>
                  <a:pt x="2594" y="2506"/>
                </a:lnTo>
                <a:lnTo>
                  <a:pt x="2588" y="2502"/>
                </a:lnTo>
                <a:lnTo>
                  <a:pt x="2583" y="2499"/>
                </a:lnTo>
                <a:lnTo>
                  <a:pt x="2578" y="2498"/>
                </a:lnTo>
                <a:lnTo>
                  <a:pt x="2571" y="2496"/>
                </a:lnTo>
                <a:lnTo>
                  <a:pt x="2566" y="2498"/>
                </a:lnTo>
                <a:lnTo>
                  <a:pt x="2559" y="2499"/>
                </a:lnTo>
                <a:lnTo>
                  <a:pt x="2553" y="2502"/>
                </a:lnTo>
                <a:lnTo>
                  <a:pt x="2549" y="2506"/>
                </a:lnTo>
                <a:lnTo>
                  <a:pt x="2545" y="2511"/>
                </a:lnTo>
                <a:lnTo>
                  <a:pt x="2543" y="2515"/>
                </a:lnTo>
                <a:lnTo>
                  <a:pt x="2541" y="2522"/>
                </a:lnTo>
                <a:lnTo>
                  <a:pt x="2540" y="2528"/>
                </a:lnTo>
                <a:lnTo>
                  <a:pt x="2541" y="2534"/>
                </a:lnTo>
                <a:lnTo>
                  <a:pt x="2543" y="2540"/>
                </a:lnTo>
                <a:lnTo>
                  <a:pt x="2545" y="2545"/>
                </a:lnTo>
                <a:lnTo>
                  <a:pt x="2549" y="2551"/>
                </a:lnTo>
                <a:lnTo>
                  <a:pt x="2553" y="2555"/>
                </a:lnTo>
                <a:lnTo>
                  <a:pt x="2559" y="2557"/>
                </a:lnTo>
                <a:lnTo>
                  <a:pt x="2566" y="2559"/>
                </a:lnTo>
                <a:lnTo>
                  <a:pt x="2571" y="2560"/>
                </a:lnTo>
                <a:lnTo>
                  <a:pt x="2578" y="2559"/>
                </a:lnTo>
                <a:lnTo>
                  <a:pt x="2583" y="2557"/>
                </a:lnTo>
                <a:lnTo>
                  <a:pt x="2588" y="2555"/>
                </a:lnTo>
                <a:lnTo>
                  <a:pt x="2594" y="2551"/>
                </a:lnTo>
                <a:lnTo>
                  <a:pt x="2598" y="2545"/>
                </a:lnTo>
                <a:lnTo>
                  <a:pt x="2601" y="2540"/>
                </a:lnTo>
                <a:lnTo>
                  <a:pt x="2602" y="2534"/>
                </a:lnTo>
                <a:lnTo>
                  <a:pt x="2602" y="2528"/>
                </a:lnTo>
                <a:close/>
                <a:moveTo>
                  <a:pt x="1815" y="2453"/>
                </a:moveTo>
                <a:lnTo>
                  <a:pt x="2003" y="2215"/>
                </a:lnTo>
                <a:lnTo>
                  <a:pt x="1858" y="898"/>
                </a:lnTo>
                <a:lnTo>
                  <a:pt x="1874" y="891"/>
                </a:lnTo>
                <a:lnTo>
                  <a:pt x="1889" y="880"/>
                </a:lnTo>
                <a:lnTo>
                  <a:pt x="1903" y="870"/>
                </a:lnTo>
                <a:lnTo>
                  <a:pt x="1914" y="856"/>
                </a:lnTo>
                <a:lnTo>
                  <a:pt x="1819" y="767"/>
                </a:lnTo>
                <a:lnTo>
                  <a:pt x="1724" y="856"/>
                </a:lnTo>
                <a:lnTo>
                  <a:pt x="1734" y="867"/>
                </a:lnTo>
                <a:lnTo>
                  <a:pt x="1743" y="876"/>
                </a:lnTo>
                <a:lnTo>
                  <a:pt x="1754" y="884"/>
                </a:lnTo>
                <a:lnTo>
                  <a:pt x="1766" y="891"/>
                </a:lnTo>
                <a:lnTo>
                  <a:pt x="1636" y="2215"/>
                </a:lnTo>
                <a:lnTo>
                  <a:pt x="1815" y="2453"/>
                </a:lnTo>
                <a:close/>
              </a:path>
            </a:pathLst>
          </a:custGeom>
          <a:solidFill>
            <a:srgbClr val="C00000"/>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C00000"/>
              </a:solidFill>
              <a:effectLst/>
              <a:uLnTx/>
              <a:uFillTx/>
              <a:latin typeface="Calibri"/>
              <a:ea typeface="+mn-ea"/>
              <a:cs typeface="+mn-cs"/>
            </a:endParaRPr>
          </a:p>
        </p:txBody>
      </p:sp>
      <p:sp>
        <p:nvSpPr>
          <p:cNvPr id="274" name="TextBox 273">
            <a:extLst>
              <a:ext uri="{FF2B5EF4-FFF2-40B4-BE49-F238E27FC236}">
                <a16:creationId xmlns:a16="http://schemas.microsoft.com/office/drawing/2014/main" id="{1BCAE5DC-4A6D-4E4E-A6DA-865179F69B8F}"/>
              </a:ext>
            </a:extLst>
          </p:cNvPr>
          <p:cNvSpPr txBox="1"/>
          <p:nvPr/>
        </p:nvSpPr>
        <p:spPr>
          <a:xfrm>
            <a:off x="5170701" y="5333021"/>
            <a:ext cx="18288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Executive Committee</a:t>
            </a:r>
          </a:p>
        </p:txBody>
      </p:sp>
      <p:pic>
        <p:nvPicPr>
          <p:cNvPr id="275" name="Picture 392">
            <a:extLst>
              <a:ext uri="{FF2B5EF4-FFF2-40B4-BE49-F238E27FC236}">
                <a16:creationId xmlns:a16="http://schemas.microsoft.com/office/drawing/2014/main" id="{28D77879-859D-8946-A044-03AABFC79C9A}"/>
              </a:ext>
            </a:extLst>
          </p:cNvPr>
          <p:cNvPicPr>
            <a:picLocks noChangeAspect="1"/>
          </p:cNvPicPr>
          <p:nvPr/>
        </p:nvPicPr>
        <p:blipFill>
          <a:blip r:embed="rId4"/>
          <a:stretch>
            <a:fillRect/>
          </a:stretch>
        </p:blipFill>
        <p:spPr>
          <a:xfrm>
            <a:off x="9243302" y="4071013"/>
            <a:ext cx="217717" cy="802628"/>
          </a:xfrm>
          <a:prstGeom prst="rect">
            <a:avLst/>
          </a:prstGeom>
        </p:spPr>
      </p:pic>
      <p:pic>
        <p:nvPicPr>
          <p:cNvPr id="276" name="Picture 393">
            <a:extLst>
              <a:ext uri="{FF2B5EF4-FFF2-40B4-BE49-F238E27FC236}">
                <a16:creationId xmlns:a16="http://schemas.microsoft.com/office/drawing/2014/main" id="{18A6E94F-7347-1447-898B-7D94CBDED3DB}"/>
              </a:ext>
            </a:extLst>
          </p:cNvPr>
          <p:cNvPicPr>
            <a:picLocks noChangeAspect="1"/>
          </p:cNvPicPr>
          <p:nvPr/>
        </p:nvPicPr>
        <p:blipFill>
          <a:blip r:embed="rId4"/>
          <a:stretch>
            <a:fillRect/>
          </a:stretch>
        </p:blipFill>
        <p:spPr>
          <a:xfrm>
            <a:off x="9243302" y="3016874"/>
            <a:ext cx="217717" cy="802628"/>
          </a:xfrm>
          <a:prstGeom prst="rect">
            <a:avLst/>
          </a:prstGeom>
        </p:spPr>
      </p:pic>
      <p:pic>
        <p:nvPicPr>
          <p:cNvPr id="277" name="Picture 394">
            <a:extLst>
              <a:ext uri="{FF2B5EF4-FFF2-40B4-BE49-F238E27FC236}">
                <a16:creationId xmlns:a16="http://schemas.microsoft.com/office/drawing/2014/main" id="{7E2CA8BD-2CEA-964D-A6E7-A3C5D5B757F8}"/>
              </a:ext>
            </a:extLst>
          </p:cNvPr>
          <p:cNvPicPr>
            <a:picLocks noChangeAspect="1"/>
          </p:cNvPicPr>
          <p:nvPr/>
        </p:nvPicPr>
        <p:blipFill>
          <a:blip r:embed="rId4"/>
          <a:stretch>
            <a:fillRect/>
          </a:stretch>
        </p:blipFill>
        <p:spPr>
          <a:xfrm>
            <a:off x="9243302" y="1983103"/>
            <a:ext cx="217717" cy="802628"/>
          </a:xfrm>
          <a:prstGeom prst="rect">
            <a:avLst/>
          </a:prstGeom>
        </p:spPr>
      </p:pic>
      <p:sp>
        <p:nvSpPr>
          <p:cNvPr id="278" name="TextBox 277">
            <a:extLst>
              <a:ext uri="{FF2B5EF4-FFF2-40B4-BE49-F238E27FC236}">
                <a16:creationId xmlns:a16="http://schemas.microsoft.com/office/drawing/2014/main" id="{F874039C-E613-4549-84E4-D93B36796FF7}"/>
              </a:ext>
            </a:extLst>
          </p:cNvPr>
          <p:cNvSpPr txBox="1"/>
          <p:nvPr/>
        </p:nvSpPr>
        <p:spPr>
          <a:xfrm>
            <a:off x="8700319" y="1327714"/>
            <a:ext cx="14404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Project to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EYInterstate Light" panose="02000506000000020004" pitchFamily="2" charset="0"/>
                <a:ea typeface="+mn-ea"/>
                <a:cs typeface="+mn-cs"/>
              </a:rPr>
              <a:t>Backlogs</a:t>
            </a:r>
          </a:p>
        </p:txBody>
      </p:sp>
      <p:cxnSp>
        <p:nvCxnSpPr>
          <p:cNvPr id="279" name="Straight Arrow Connector 396">
            <a:extLst>
              <a:ext uri="{FF2B5EF4-FFF2-40B4-BE49-F238E27FC236}">
                <a16:creationId xmlns:a16="http://schemas.microsoft.com/office/drawing/2014/main" id="{E5237AEA-7335-A943-8821-34406D2A02B9}"/>
              </a:ext>
            </a:extLst>
          </p:cNvPr>
          <p:cNvCxnSpPr>
            <a:stCxn id="239" idx="3"/>
          </p:cNvCxnSpPr>
          <p:nvPr/>
        </p:nvCxnSpPr>
        <p:spPr>
          <a:xfrm flipV="1">
            <a:off x="8576066" y="2272796"/>
            <a:ext cx="546679" cy="64178"/>
          </a:xfrm>
          <a:prstGeom prst="straightConnector1">
            <a:avLst/>
          </a:prstGeom>
          <a:noFill/>
          <a:ln w="6350" cap="flat" cmpd="sng" algn="ctr">
            <a:solidFill>
              <a:sysClr val="windowText" lastClr="000000">
                <a:lumMod val="65000"/>
                <a:lumOff val="35000"/>
              </a:sysClr>
            </a:solidFill>
            <a:prstDash val="solid"/>
            <a:miter lim="800000"/>
            <a:tailEnd type="triangle"/>
          </a:ln>
          <a:effectLst/>
        </p:spPr>
      </p:cxnSp>
      <p:cxnSp>
        <p:nvCxnSpPr>
          <p:cNvPr id="280" name="Straight Arrow Connector 397">
            <a:extLst>
              <a:ext uri="{FF2B5EF4-FFF2-40B4-BE49-F238E27FC236}">
                <a16:creationId xmlns:a16="http://schemas.microsoft.com/office/drawing/2014/main" id="{4F9B990A-8EBD-B848-BB5F-247590B8FE1E}"/>
              </a:ext>
            </a:extLst>
          </p:cNvPr>
          <p:cNvCxnSpPr/>
          <p:nvPr/>
        </p:nvCxnSpPr>
        <p:spPr>
          <a:xfrm>
            <a:off x="8557362" y="2533011"/>
            <a:ext cx="565383" cy="589962"/>
          </a:xfrm>
          <a:prstGeom prst="straightConnector1">
            <a:avLst/>
          </a:prstGeom>
          <a:noFill/>
          <a:ln w="6350" cap="flat" cmpd="sng" algn="ctr">
            <a:solidFill>
              <a:sysClr val="windowText" lastClr="000000">
                <a:lumMod val="65000"/>
                <a:lumOff val="35000"/>
              </a:sysClr>
            </a:solidFill>
            <a:prstDash val="solid"/>
            <a:miter lim="800000"/>
            <a:tailEnd type="triangle"/>
          </a:ln>
          <a:effectLst/>
        </p:spPr>
      </p:cxnSp>
      <p:cxnSp>
        <p:nvCxnSpPr>
          <p:cNvPr id="281" name="Straight Arrow Connector 398">
            <a:extLst>
              <a:ext uri="{FF2B5EF4-FFF2-40B4-BE49-F238E27FC236}">
                <a16:creationId xmlns:a16="http://schemas.microsoft.com/office/drawing/2014/main" id="{150FA752-0890-B540-ADC3-CAB5AD7C49CE}"/>
              </a:ext>
            </a:extLst>
          </p:cNvPr>
          <p:cNvCxnSpPr/>
          <p:nvPr/>
        </p:nvCxnSpPr>
        <p:spPr>
          <a:xfrm>
            <a:off x="8571853" y="2758740"/>
            <a:ext cx="588593" cy="1580404"/>
          </a:xfrm>
          <a:prstGeom prst="straightConnector1">
            <a:avLst/>
          </a:prstGeom>
          <a:noFill/>
          <a:ln w="6350" cap="flat" cmpd="sng" algn="ctr">
            <a:solidFill>
              <a:sysClr val="windowText" lastClr="000000">
                <a:lumMod val="65000"/>
                <a:lumOff val="35000"/>
              </a:sysClr>
            </a:solidFill>
            <a:prstDash val="solid"/>
            <a:miter lim="800000"/>
            <a:tailEnd type="triangle"/>
          </a:ln>
          <a:effectLst/>
        </p:spPr>
      </p:cxnSp>
      <p:sp>
        <p:nvSpPr>
          <p:cNvPr id="282" name="TextBox 281">
            <a:extLst>
              <a:ext uri="{FF2B5EF4-FFF2-40B4-BE49-F238E27FC236}">
                <a16:creationId xmlns:a16="http://schemas.microsoft.com/office/drawing/2014/main" id="{F67D1E38-88EA-8042-827B-B9B50986440D}"/>
              </a:ext>
            </a:extLst>
          </p:cNvPr>
          <p:cNvSpPr txBox="1"/>
          <p:nvPr/>
        </p:nvSpPr>
        <p:spPr>
          <a:xfrm>
            <a:off x="9617211" y="2721181"/>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1</a:t>
            </a:r>
          </a:p>
        </p:txBody>
      </p:sp>
      <p:sp>
        <p:nvSpPr>
          <p:cNvPr id="283" name="TextBox 282">
            <a:extLst>
              <a:ext uri="{FF2B5EF4-FFF2-40B4-BE49-F238E27FC236}">
                <a16:creationId xmlns:a16="http://schemas.microsoft.com/office/drawing/2014/main" id="{C6193DC9-8A8D-354C-B4E2-4D3DE16BB6B3}"/>
              </a:ext>
            </a:extLst>
          </p:cNvPr>
          <p:cNvSpPr txBox="1"/>
          <p:nvPr/>
        </p:nvSpPr>
        <p:spPr>
          <a:xfrm>
            <a:off x="10285319" y="2721181"/>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2</a:t>
            </a:r>
          </a:p>
        </p:txBody>
      </p:sp>
      <p:sp>
        <p:nvSpPr>
          <p:cNvPr id="284" name="TextBox 283">
            <a:extLst>
              <a:ext uri="{FF2B5EF4-FFF2-40B4-BE49-F238E27FC236}">
                <a16:creationId xmlns:a16="http://schemas.microsoft.com/office/drawing/2014/main" id="{62752C37-C963-E74B-8800-6A7499639489}"/>
              </a:ext>
            </a:extLst>
          </p:cNvPr>
          <p:cNvSpPr txBox="1"/>
          <p:nvPr/>
        </p:nvSpPr>
        <p:spPr>
          <a:xfrm>
            <a:off x="11086993" y="2721181"/>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3</a:t>
            </a:r>
          </a:p>
        </p:txBody>
      </p:sp>
      <p:sp>
        <p:nvSpPr>
          <p:cNvPr id="285" name="TextBox 284">
            <a:extLst>
              <a:ext uri="{FF2B5EF4-FFF2-40B4-BE49-F238E27FC236}">
                <a16:creationId xmlns:a16="http://schemas.microsoft.com/office/drawing/2014/main" id="{9F018EEC-5E48-1549-8786-7E13D44E5F61}"/>
              </a:ext>
            </a:extLst>
          </p:cNvPr>
          <p:cNvSpPr txBox="1"/>
          <p:nvPr/>
        </p:nvSpPr>
        <p:spPr>
          <a:xfrm>
            <a:off x="9865365" y="4775561"/>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1</a:t>
            </a:r>
          </a:p>
        </p:txBody>
      </p:sp>
      <p:sp>
        <p:nvSpPr>
          <p:cNvPr id="286" name="TextBox 285">
            <a:extLst>
              <a:ext uri="{FF2B5EF4-FFF2-40B4-BE49-F238E27FC236}">
                <a16:creationId xmlns:a16="http://schemas.microsoft.com/office/drawing/2014/main" id="{E5934991-A3FE-9544-842A-1470AFE504B0}"/>
              </a:ext>
            </a:extLst>
          </p:cNvPr>
          <p:cNvSpPr txBox="1"/>
          <p:nvPr/>
        </p:nvSpPr>
        <p:spPr>
          <a:xfrm>
            <a:off x="10271375" y="3751855"/>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2</a:t>
            </a:r>
          </a:p>
        </p:txBody>
      </p:sp>
      <p:sp>
        <p:nvSpPr>
          <p:cNvPr id="287" name="TextBox 286">
            <a:extLst>
              <a:ext uri="{FF2B5EF4-FFF2-40B4-BE49-F238E27FC236}">
                <a16:creationId xmlns:a16="http://schemas.microsoft.com/office/drawing/2014/main" id="{6C7FEC0C-66AB-4546-9C13-A6FA4D05318C}"/>
              </a:ext>
            </a:extLst>
          </p:cNvPr>
          <p:cNvSpPr txBox="1"/>
          <p:nvPr/>
        </p:nvSpPr>
        <p:spPr>
          <a:xfrm>
            <a:off x="11031920" y="3744836"/>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3</a:t>
            </a:r>
          </a:p>
        </p:txBody>
      </p:sp>
      <p:sp>
        <p:nvSpPr>
          <p:cNvPr id="288" name="TextBox 287">
            <a:extLst>
              <a:ext uri="{FF2B5EF4-FFF2-40B4-BE49-F238E27FC236}">
                <a16:creationId xmlns:a16="http://schemas.microsoft.com/office/drawing/2014/main" id="{D95AFF39-10D2-4145-8C43-C06043E1DF05}"/>
              </a:ext>
            </a:extLst>
          </p:cNvPr>
          <p:cNvSpPr txBox="1"/>
          <p:nvPr/>
        </p:nvSpPr>
        <p:spPr>
          <a:xfrm>
            <a:off x="9590647" y="3758565"/>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1</a:t>
            </a:r>
          </a:p>
        </p:txBody>
      </p:sp>
      <p:sp>
        <p:nvSpPr>
          <p:cNvPr id="289" name="TextBox 288">
            <a:extLst>
              <a:ext uri="{FF2B5EF4-FFF2-40B4-BE49-F238E27FC236}">
                <a16:creationId xmlns:a16="http://schemas.microsoft.com/office/drawing/2014/main" id="{F3473BFA-1B7B-1D48-AE03-A69789D0D37F}"/>
              </a:ext>
            </a:extLst>
          </p:cNvPr>
          <p:cNvSpPr txBox="1"/>
          <p:nvPr/>
        </p:nvSpPr>
        <p:spPr>
          <a:xfrm>
            <a:off x="10748563" y="4775561"/>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MVP 2</a:t>
            </a:r>
          </a:p>
        </p:txBody>
      </p:sp>
      <p:sp>
        <p:nvSpPr>
          <p:cNvPr id="290" name="Down Arrow 82">
            <a:extLst>
              <a:ext uri="{FF2B5EF4-FFF2-40B4-BE49-F238E27FC236}">
                <a16:creationId xmlns:a16="http://schemas.microsoft.com/office/drawing/2014/main" id="{8D23A960-65B8-4349-B9F1-D4C53A85BB49}"/>
              </a:ext>
            </a:extLst>
          </p:cNvPr>
          <p:cNvSpPr/>
          <p:nvPr/>
        </p:nvSpPr>
        <p:spPr>
          <a:xfrm rot="16200000">
            <a:off x="10449064" y="2319681"/>
            <a:ext cx="395989" cy="2272198"/>
          </a:xfrm>
          <a:prstGeom prst="downArrow">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91" name="Down Arrow 83">
            <a:extLst>
              <a:ext uri="{FF2B5EF4-FFF2-40B4-BE49-F238E27FC236}">
                <a16:creationId xmlns:a16="http://schemas.microsoft.com/office/drawing/2014/main" id="{635BA77A-06E4-9340-8910-0085FFD74F47}"/>
              </a:ext>
            </a:extLst>
          </p:cNvPr>
          <p:cNvSpPr/>
          <p:nvPr/>
        </p:nvSpPr>
        <p:spPr>
          <a:xfrm rot="16200000">
            <a:off x="10449065" y="3342874"/>
            <a:ext cx="395989" cy="2272196"/>
          </a:xfrm>
          <a:prstGeom prst="downArrow">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292" name="Group 410">
            <a:extLst>
              <a:ext uri="{FF2B5EF4-FFF2-40B4-BE49-F238E27FC236}">
                <a16:creationId xmlns:a16="http://schemas.microsoft.com/office/drawing/2014/main" id="{A4D10D09-C8D7-8F4A-A078-6DEF35931FAD}"/>
              </a:ext>
            </a:extLst>
          </p:cNvPr>
          <p:cNvGrpSpPr/>
          <p:nvPr/>
        </p:nvGrpSpPr>
        <p:grpSpPr>
          <a:xfrm rot="16200000">
            <a:off x="9494103" y="3232245"/>
            <a:ext cx="708166" cy="406584"/>
            <a:chOff x="10681398" y="2285485"/>
            <a:chExt cx="1095270" cy="450711"/>
          </a:xfrm>
        </p:grpSpPr>
        <p:sp>
          <p:nvSpPr>
            <p:cNvPr id="293" name="TextBox 292">
              <a:extLst>
                <a:ext uri="{FF2B5EF4-FFF2-40B4-BE49-F238E27FC236}">
                  <a16:creationId xmlns:a16="http://schemas.microsoft.com/office/drawing/2014/main" id="{D3633CFC-A409-E840-8A2D-D18D6C611414}"/>
                </a:ext>
              </a:extLst>
            </p:cNvPr>
            <p:cNvSpPr txBox="1"/>
            <p:nvPr/>
          </p:nvSpPr>
          <p:spPr>
            <a:xfrm>
              <a:off x="10681398" y="2285485"/>
              <a:ext cx="1095270" cy="238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Sprint 1…a</a:t>
              </a:r>
            </a:p>
          </p:txBody>
        </p:sp>
        <p:grpSp>
          <p:nvGrpSpPr>
            <p:cNvPr id="294" name="Group 425">
              <a:extLst>
                <a:ext uri="{FF2B5EF4-FFF2-40B4-BE49-F238E27FC236}">
                  <a16:creationId xmlns:a16="http://schemas.microsoft.com/office/drawing/2014/main" id="{73622511-71BB-AC45-B93E-FB811920CF0D}"/>
                </a:ext>
              </a:extLst>
            </p:cNvPr>
            <p:cNvGrpSpPr/>
            <p:nvPr/>
          </p:nvGrpSpPr>
          <p:grpSpPr>
            <a:xfrm>
              <a:off x="10812721" y="2502840"/>
              <a:ext cx="832624" cy="233356"/>
              <a:chOff x="12386020" y="2373299"/>
              <a:chExt cx="832624" cy="233356"/>
            </a:xfrm>
          </p:grpSpPr>
          <p:sp>
            <p:nvSpPr>
              <p:cNvPr id="295" name="Rounded Rectangle 101">
                <a:extLst>
                  <a:ext uri="{FF2B5EF4-FFF2-40B4-BE49-F238E27FC236}">
                    <a16:creationId xmlns:a16="http://schemas.microsoft.com/office/drawing/2014/main" id="{0C434E13-FDFA-C04C-9F82-36FC2105FEB7}"/>
                  </a:ext>
                </a:extLst>
              </p:cNvPr>
              <p:cNvSpPr>
                <a:spLocks noChangeAspect="1"/>
              </p:cNvSpPr>
              <p:nvPr/>
            </p:nvSpPr>
            <p:spPr>
              <a:xfrm>
                <a:off x="12386020" y="2373299"/>
                <a:ext cx="832624" cy="109728"/>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96" name="Rounded Rectangle 102">
                <a:extLst>
                  <a:ext uri="{FF2B5EF4-FFF2-40B4-BE49-F238E27FC236}">
                    <a16:creationId xmlns:a16="http://schemas.microsoft.com/office/drawing/2014/main" id="{A54C4A63-593E-C14D-8568-095A4087EB49}"/>
                  </a:ext>
                </a:extLst>
              </p:cNvPr>
              <p:cNvSpPr/>
              <p:nvPr/>
            </p:nvSpPr>
            <p:spPr>
              <a:xfrm>
                <a:off x="12386280" y="2496927"/>
                <a:ext cx="832104" cy="109728"/>
              </a:xfrm>
              <a:prstGeom prst="roundRect">
                <a:avLst/>
              </a:prstGeom>
              <a:solidFill>
                <a:srgbClr val="A2A2A2"/>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grpSp>
        <p:nvGrpSpPr>
          <p:cNvPr id="297" name="Group 411">
            <a:extLst>
              <a:ext uri="{FF2B5EF4-FFF2-40B4-BE49-F238E27FC236}">
                <a16:creationId xmlns:a16="http://schemas.microsoft.com/office/drawing/2014/main" id="{3FAF00A0-95DF-8646-BA17-01A9820F2564}"/>
              </a:ext>
            </a:extLst>
          </p:cNvPr>
          <p:cNvGrpSpPr/>
          <p:nvPr/>
        </p:nvGrpSpPr>
        <p:grpSpPr>
          <a:xfrm rot="16200000">
            <a:off x="10205397" y="3105117"/>
            <a:ext cx="708166" cy="660838"/>
            <a:chOff x="10878242" y="3115932"/>
            <a:chExt cx="1095270" cy="732559"/>
          </a:xfrm>
        </p:grpSpPr>
        <p:sp>
          <p:nvSpPr>
            <p:cNvPr id="298" name="TextBox 297">
              <a:extLst>
                <a:ext uri="{FF2B5EF4-FFF2-40B4-BE49-F238E27FC236}">
                  <a16:creationId xmlns:a16="http://schemas.microsoft.com/office/drawing/2014/main" id="{373EB164-5839-5749-ABCD-1C7AAB85B8D1}"/>
                </a:ext>
              </a:extLst>
            </p:cNvPr>
            <p:cNvSpPr txBox="1"/>
            <p:nvPr/>
          </p:nvSpPr>
          <p:spPr>
            <a:xfrm>
              <a:off x="10878242" y="3115932"/>
              <a:ext cx="1095270" cy="238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Sprint a…b</a:t>
              </a:r>
            </a:p>
          </p:txBody>
        </p:sp>
        <p:grpSp>
          <p:nvGrpSpPr>
            <p:cNvPr id="299" name="Group 419">
              <a:extLst>
                <a:ext uri="{FF2B5EF4-FFF2-40B4-BE49-F238E27FC236}">
                  <a16:creationId xmlns:a16="http://schemas.microsoft.com/office/drawing/2014/main" id="{4D40A5CE-3B6C-9342-8595-7E2FBD0C96B4}"/>
                </a:ext>
              </a:extLst>
            </p:cNvPr>
            <p:cNvGrpSpPr/>
            <p:nvPr/>
          </p:nvGrpSpPr>
          <p:grpSpPr>
            <a:xfrm>
              <a:off x="11009824" y="3359306"/>
              <a:ext cx="832104" cy="489185"/>
              <a:chOff x="10798776" y="3359306"/>
              <a:chExt cx="832104" cy="489185"/>
            </a:xfrm>
          </p:grpSpPr>
          <p:sp>
            <p:nvSpPr>
              <p:cNvPr id="300" name="Rounded Rectangle 95">
                <a:extLst>
                  <a:ext uri="{FF2B5EF4-FFF2-40B4-BE49-F238E27FC236}">
                    <a16:creationId xmlns:a16="http://schemas.microsoft.com/office/drawing/2014/main" id="{DC42FFDC-D247-9F4A-8BF4-685DF8D215CB}"/>
                  </a:ext>
                </a:extLst>
              </p:cNvPr>
              <p:cNvSpPr/>
              <p:nvPr/>
            </p:nvSpPr>
            <p:spPr>
              <a:xfrm>
                <a:off x="10798776" y="3359306"/>
                <a:ext cx="832104" cy="109728"/>
              </a:xfrm>
              <a:prstGeom prst="roundRect">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1" name="Rounded Rectangle 96">
                <a:extLst>
                  <a:ext uri="{FF2B5EF4-FFF2-40B4-BE49-F238E27FC236}">
                    <a16:creationId xmlns:a16="http://schemas.microsoft.com/office/drawing/2014/main" id="{915A83C5-5654-154A-9DEE-AEDFE94DE317}"/>
                  </a:ext>
                </a:extLst>
              </p:cNvPr>
              <p:cNvSpPr/>
              <p:nvPr/>
            </p:nvSpPr>
            <p:spPr>
              <a:xfrm>
                <a:off x="10798776" y="3612278"/>
                <a:ext cx="832104" cy="109728"/>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2" name="Rounded Rectangle 97">
                <a:extLst>
                  <a:ext uri="{FF2B5EF4-FFF2-40B4-BE49-F238E27FC236}">
                    <a16:creationId xmlns:a16="http://schemas.microsoft.com/office/drawing/2014/main" id="{118D82BF-94C4-DD42-A872-05F0B2AE1726}"/>
                  </a:ext>
                </a:extLst>
              </p:cNvPr>
              <p:cNvSpPr/>
              <p:nvPr/>
            </p:nvSpPr>
            <p:spPr>
              <a:xfrm>
                <a:off x="10798776" y="3738763"/>
                <a:ext cx="832104" cy="109728"/>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3" name="Rounded Rectangle 98">
                <a:extLst>
                  <a:ext uri="{FF2B5EF4-FFF2-40B4-BE49-F238E27FC236}">
                    <a16:creationId xmlns:a16="http://schemas.microsoft.com/office/drawing/2014/main" id="{8171E055-5B36-6D4D-BAFB-4CBDDA7B3757}"/>
                  </a:ext>
                </a:extLst>
              </p:cNvPr>
              <p:cNvSpPr/>
              <p:nvPr/>
            </p:nvSpPr>
            <p:spPr>
              <a:xfrm>
                <a:off x="10798776" y="3485792"/>
                <a:ext cx="832104" cy="109728"/>
              </a:xfrm>
              <a:prstGeom prst="roundRect">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grpSp>
        <p:nvGrpSpPr>
          <p:cNvPr id="304" name="Group 412">
            <a:extLst>
              <a:ext uri="{FF2B5EF4-FFF2-40B4-BE49-F238E27FC236}">
                <a16:creationId xmlns:a16="http://schemas.microsoft.com/office/drawing/2014/main" id="{FF313EDF-72AC-3F47-BD69-5342D881B4E4}"/>
              </a:ext>
            </a:extLst>
          </p:cNvPr>
          <p:cNvGrpSpPr/>
          <p:nvPr/>
        </p:nvGrpSpPr>
        <p:grpSpPr>
          <a:xfrm rot="16200000">
            <a:off x="10923349" y="3153672"/>
            <a:ext cx="708165" cy="563732"/>
            <a:chOff x="10649379" y="4148507"/>
            <a:chExt cx="1095269" cy="624914"/>
          </a:xfrm>
        </p:grpSpPr>
        <p:sp>
          <p:nvSpPr>
            <p:cNvPr id="305" name="TextBox 304">
              <a:extLst>
                <a:ext uri="{FF2B5EF4-FFF2-40B4-BE49-F238E27FC236}">
                  <a16:creationId xmlns:a16="http://schemas.microsoft.com/office/drawing/2014/main" id="{F66615F2-7F78-EF4D-B6B4-E971BD8B7B32}"/>
                </a:ext>
              </a:extLst>
            </p:cNvPr>
            <p:cNvSpPr txBox="1"/>
            <p:nvPr/>
          </p:nvSpPr>
          <p:spPr>
            <a:xfrm>
              <a:off x="10649379" y="4148507"/>
              <a:ext cx="1095269" cy="238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Sprint b…c</a:t>
              </a:r>
            </a:p>
          </p:txBody>
        </p:sp>
        <p:grpSp>
          <p:nvGrpSpPr>
            <p:cNvPr id="306" name="Group 414">
              <a:extLst>
                <a:ext uri="{FF2B5EF4-FFF2-40B4-BE49-F238E27FC236}">
                  <a16:creationId xmlns:a16="http://schemas.microsoft.com/office/drawing/2014/main" id="{A1A018E0-20B7-0845-AF48-B35EE170902D}"/>
                </a:ext>
              </a:extLst>
            </p:cNvPr>
            <p:cNvGrpSpPr/>
            <p:nvPr/>
          </p:nvGrpSpPr>
          <p:grpSpPr>
            <a:xfrm>
              <a:off x="10780956" y="4404108"/>
              <a:ext cx="832112" cy="369313"/>
              <a:chOff x="10780378" y="4404108"/>
              <a:chExt cx="832112" cy="369313"/>
            </a:xfrm>
          </p:grpSpPr>
          <p:sp>
            <p:nvSpPr>
              <p:cNvPr id="307" name="Rounded Rectangle 90">
                <a:extLst>
                  <a:ext uri="{FF2B5EF4-FFF2-40B4-BE49-F238E27FC236}">
                    <a16:creationId xmlns:a16="http://schemas.microsoft.com/office/drawing/2014/main" id="{8ABFDA19-2475-6B41-803D-5AF53862F1BE}"/>
                  </a:ext>
                </a:extLst>
              </p:cNvPr>
              <p:cNvSpPr/>
              <p:nvPr/>
            </p:nvSpPr>
            <p:spPr>
              <a:xfrm>
                <a:off x="10780378" y="4404108"/>
                <a:ext cx="832104" cy="109728"/>
              </a:xfrm>
              <a:prstGeom prst="roundRect">
                <a:avLst/>
              </a:prstGeom>
              <a:solidFill>
                <a:sysClr val="window" lastClr="FFFFFF">
                  <a:lumMod val="7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8" name="Rounded Rectangle 91">
                <a:extLst>
                  <a:ext uri="{FF2B5EF4-FFF2-40B4-BE49-F238E27FC236}">
                    <a16:creationId xmlns:a16="http://schemas.microsoft.com/office/drawing/2014/main" id="{0749743C-3521-014D-B14B-8623A155DB1A}"/>
                  </a:ext>
                </a:extLst>
              </p:cNvPr>
              <p:cNvSpPr/>
              <p:nvPr/>
            </p:nvSpPr>
            <p:spPr>
              <a:xfrm>
                <a:off x="10780386" y="4533901"/>
                <a:ext cx="832104" cy="109728"/>
              </a:xfrm>
              <a:prstGeom prst="roundRect">
                <a:avLst/>
              </a:prstGeom>
              <a:solidFill>
                <a:sysClr val="window" lastClr="FFFFFF">
                  <a:lumMod val="7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09" name="Rounded Rectangle 92">
                <a:extLst>
                  <a:ext uri="{FF2B5EF4-FFF2-40B4-BE49-F238E27FC236}">
                    <a16:creationId xmlns:a16="http://schemas.microsoft.com/office/drawing/2014/main" id="{E9270186-B30B-8040-91BE-8A85BB03E540}"/>
                  </a:ext>
                </a:extLst>
              </p:cNvPr>
              <p:cNvSpPr/>
              <p:nvPr/>
            </p:nvSpPr>
            <p:spPr>
              <a:xfrm>
                <a:off x="10780386" y="4663693"/>
                <a:ext cx="832104" cy="109728"/>
              </a:xfrm>
              <a:prstGeom prst="roundRect">
                <a:avLst/>
              </a:prstGeom>
              <a:solidFill>
                <a:srgbClr val="C1C1C1"/>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grpSp>
        <p:nvGrpSpPr>
          <p:cNvPr id="310" name="Group 429">
            <a:extLst>
              <a:ext uri="{FF2B5EF4-FFF2-40B4-BE49-F238E27FC236}">
                <a16:creationId xmlns:a16="http://schemas.microsoft.com/office/drawing/2014/main" id="{722AE9E4-F5BD-824F-BBC3-1B8AB9D1ECA5}"/>
              </a:ext>
            </a:extLst>
          </p:cNvPr>
          <p:cNvGrpSpPr/>
          <p:nvPr/>
        </p:nvGrpSpPr>
        <p:grpSpPr>
          <a:xfrm rot="16200000">
            <a:off x="9782712" y="4240971"/>
            <a:ext cx="708165" cy="406584"/>
            <a:chOff x="10721009" y="2624850"/>
            <a:chExt cx="1095270" cy="450711"/>
          </a:xfrm>
        </p:grpSpPr>
        <p:sp>
          <p:nvSpPr>
            <p:cNvPr id="311" name="TextBox 310">
              <a:extLst>
                <a:ext uri="{FF2B5EF4-FFF2-40B4-BE49-F238E27FC236}">
                  <a16:creationId xmlns:a16="http://schemas.microsoft.com/office/drawing/2014/main" id="{EB0DF6EA-1D81-054C-827B-E638FFFF0381}"/>
                </a:ext>
              </a:extLst>
            </p:cNvPr>
            <p:cNvSpPr txBox="1"/>
            <p:nvPr/>
          </p:nvSpPr>
          <p:spPr>
            <a:xfrm>
              <a:off x="10721009" y="2624850"/>
              <a:ext cx="1095270" cy="238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Sprint 1…l</a:t>
              </a:r>
            </a:p>
          </p:txBody>
        </p:sp>
        <p:grpSp>
          <p:nvGrpSpPr>
            <p:cNvPr id="312" name="Group 438">
              <a:extLst>
                <a:ext uri="{FF2B5EF4-FFF2-40B4-BE49-F238E27FC236}">
                  <a16:creationId xmlns:a16="http://schemas.microsoft.com/office/drawing/2014/main" id="{FB8FF54E-776E-154B-A315-E9FC519DC42C}"/>
                </a:ext>
              </a:extLst>
            </p:cNvPr>
            <p:cNvGrpSpPr/>
            <p:nvPr/>
          </p:nvGrpSpPr>
          <p:grpSpPr>
            <a:xfrm>
              <a:off x="10852332" y="2842205"/>
              <a:ext cx="832624" cy="233356"/>
              <a:chOff x="12425631" y="2712664"/>
              <a:chExt cx="832624" cy="233356"/>
            </a:xfrm>
          </p:grpSpPr>
          <p:sp>
            <p:nvSpPr>
              <p:cNvPr id="313" name="Rounded Rectangle 114">
                <a:extLst>
                  <a:ext uri="{FF2B5EF4-FFF2-40B4-BE49-F238E27FC236}">
                    <a16:creationId xmlns:a16="http://schemas.microsoft.com/office/drawing/2014/main" id="{0CC0565A-B1AC-9E42-B878-F03AD8B4FA05}"/>
                  </a:ext>
                </a:extLst>
              </p:cNvPr>
              <p:cNvSpPr>
                <a:spLocks noChangeAspect="1"/>
              </p:cNvSpPr>
              <p:nvPr/>
            </p:nvSpPr>
            <p:spPr>
              <a:xfrm>
                <a:off x="12425631" y="2712664"/>
                <a:ext cx="832624" cy="109728"/>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14" name="Rounded Rectangle 115">
                <a:extLst>
                  <a:ext uri="{FF2B5EF4-FFF2-40B4-BE49-F238E27FC236}">
                    <a16:creationId xmlns:a16="http://schemas.microsoft.com/office/drawing/2014/main" id="{77D88204-35E6-FF4A-A808-6F9C8337908F}"/>
                  </a:ext>
                </a:extLst>
              </p:cNvPr>
              <p:cNvSpPr/>
              <p:nvPr/>
            </p:nvSpPr>
            <p:spPr>
              <a:xfrm>
                <a:off x="12425891" y="2836292"/>
                <a:ext cx="832104" cy="109728"/>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grpSp>
        <p:nvGrpSpPr>
          <p:cNvPr id="315" name="Group 430">
            <a:extLst>
              <a:ext uri="{FF2B5EF4-FFF2-40B4-BE49-F238E27FC236}">
                <a16:creationId xmlns:a16="http://schemas.microsoft.com/office/drawing/2014/main" id="{72213DD3-1739-1B4C-B7FB-D68F8DAD25CA}"/>
              </a:ext>
            </a:extLst>
          </p:cNvPr>
          <p:cNvGrpSpPr/>
          <p:nvPr/>
        </p:nvGrpSpPr>
        <p:grpSpPr>
          <a:xfrm rot="16200000">
            <a:off x="10640625" y="4125374"/>
            <a:ext cx="708165" cy="660839"/>
            <a:chOff x="10900019" y="3617829"/>
            <a:chExt cx="1095270" cy="732560"/>
          </a:xfrm>
        </p:grpSpPr>
        <p:sp>
          <p:nvSpPr>
            <p:cNvPr id="316" name="TextBox 315">
              <a:extLst>
                <a:ext uri="{FF2B5EF4-FFF2-40B4-BE49-F238E27FC236}">
                  <a16:creationId xmlns:a16="http://schemas.microsoft.com/office/drawing/2014/main" id="{F021D4DB-EACD-394E-B065-9F1F02E59320}"/>
                </a:ext>
              </a:extLst>
            </p:cNvPr>
            <p:cNvSpPr txBox="1"/>
            <p:nvPr/>
          </p:nvSpPr>
          <p:spPr>
            <a:xfrm>
              <a:off x="10900019" y="3617829"/>
              <a:ext cx="1095270" cy="2388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lumMod val="50000"/>
                      <a:lumOff val="50000"/>
                    </a:prstClr>
                  </a:solidFill>
                  <a:effectLst/>
                  <a:uLnTx/>
                  <a:uFillTx/>
                  <a:latin typeface="EYInterstate Light" panose="02000506000000020004" pitchFamily="2" charset="0"/>
                  <a:ea typeface="+mn-ea"/>
                  <a:cs typeface="+mn-cs"/>
                </a:rPr>
                <a:t>Sprint l…m</a:t>
              </a:r>
            </a:p>
          </p:txBody>
        </p:sp>
        <p:grpSp>
          <p:nvGrpSpPr>
            <p:cNvPr id="317" name="Group 432">
              <a:extLst>
                <a:ext uri="{FF2B5EF4-FFF2-40B4-BE49-F238E27FC236}">
                  <a16:creationId xmlns:a16="http://schemas.microsoft.com/office/drawing/2014/main" id="{015A190A-29C3-E146-9FAD-29F6E5B2C443}"/>
                </a:ext>
              </a:extLst>
            </p:cNvPr>
            <p:cNvGrpSpPr/>
            <p:nvPr/>
          </p:nvGrpSpPr>
          <p:grpSpPr>
            <a:xfrm>
              <a:off x="11031602" y="3861203"/>
              <a:ext cx="832104" cy="489186"/>
              <a:chOff x="10820554" y="3861203"/>
              <a:chExt cx="832104" cy="489186"/>
            </a:xfrm>
          </p:grpSpPr>
          <p:sp>
            <p:nvSpPr>
              <p:cNvPr id="318" name="Rounded Rectangle 108">
                <a:extLst>
                  <a:ext uri="{FF2B5EF4-FFF2-40B4-BE49-F238E27FC236}">
                    <a16:creationId xmlns:a16="http://schemas.microsoft.com/office/drawing/2014/main" id="{A234FEC8-CB26-1B4C-A0C8-DC1B0923DDDF}"/>
                  </a:ext>
                </a:extLst>
              </p:cNvPr>
              <p:cNvSpPr/>
              <p:nvPr/>
            </p:nvSpPr>
            <p:spPr>
              <a:xfrm>
                <a:off x="10820554" y="3861203"/>
                <a:ext cx="832104" cy="109728"/>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19" name="Rounded Rectangle 109">
                <a:extLst>
                  <a:ext uri="{FF2B5EF4-FFF2-40B4-BE49-F238E27FC236}">
                    <a16:creationId xmlns:a16="http://schemas.microsoft.com/office/drawing/2014/main" id="{B183ABC2-C627-4C40-AB11-27C502C93962}"/>
                  </a:ext>
                </a:extLst>
              </p:cNvPr>
              <p:cNvSpPr/>
              <p:nvPr/>
            </p:nvSpPr>
            <p:spPr>
              <a:xfrm>
                <a:off x="10820554" y="4114175"/>
                <a:ext cx="832104" cy="109728"/>
              </a:xfrm>
              <a:prstGeom prst="roundRect">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20" name="Rounded Rectangle 110">
                <a:extLst>
                  <a:ext uri="{FF2B5EF4-FFF2-40B4-BE49-F238E27FC236}">
                    <a16:creationId xmlns:a16="http://schemas.microsoft.com/office/drawing/2014/main" id="{FDAF5B9D-DA28-FE41-BA2A-B85F3705CCF9}"/>
                  </a:ext>
                </a:extLst>
              </p:cNvPr>
              <p:cNvSpPr/>
              <p:nvPr/>
            </p:nvSpPr>
            <p:spPr>
              <a:xfrm>
                <a:off x="10820554" y="4240661"/>
                <a:ext cx="832104" cy="109728"/>
              </a:xfrm>
              <a:prstGeom prst="roundRect">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21" name="Rounded Rectangle 111">
                <a:extLst>
                  <a:ext uri="{FF2B5EF4-FFF2-40B4-BE49-F238E27FC236}">
                    <a16:creationId xmlns:a16="http://schemas.microsoft.com/office/drawing/2014/main" id="{1201D14C-8D30-9A41-B9CE-7C0BEE37D639}"/>
                  </a:ext>
                </a:extLst>
              </p:cNvPr>
              <p:cNvSpPr/>
              <p:nvPr/>
            </p:nvSpPr>
            <p:spPr>
              <a:xfrm>
                <a:off x="10820554" y="3987689"/>
                <a:ext cx="832104" cy="109728"/>
              </a:xfrm>
              <a:prstGeom prst="roundRect">
                <a:avLst/>
              </a:prstGeom>
              <a:solidFill>
                <a:srgbClr val="FFC00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sp>
        <p:nvSpPr>
          <p:cNvPr id="322" name="TextBox 321">
            <a:extLst>
              <a:ext uri="{FF2B5EF4-FFF2-40B4-BE49-F238E27FC236}">
                <a16:creationId xmlns:a16="http://schemas.microsoft.com/office/drawing/2014/main" id="{3A2CB247-0EA5-8F4A-B279-2E7B68223B2D}"/>
              </a:ext>
            </a:extLst>
          </p:cNvPr>
          <p:cNvSpPr txBox="1"/>
          <p:nvPr/>
        </p:nvSpPr>
        <p:spPr>
          <a:xfrm>
            <a:off x="8933280" y="2742879"/>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Product A</a:t>
            </a:r>
          </a:p>
        </p:txBody>
      </p:sp>
      <p:sp>
        <p:nvSpPr>
          <p:cNvPr id="323" name="TextBox 322">
            <a:extLst>
              <a:ext uri="{FF2B5EF4-FFF2-40B4-BE49-F238E27FC236}">
                <a16:creationId xmlns:a16="http://schemas.microsoft.com/office/drawing/2014/main" id="{7FB7862F-F99F-FB49-9EFC-93DB75444417}"/>
              </a:ext>
            </a:extLst>
          </p:cNvPr>
          <p:cNvSpPr txBox="1"/>
          <p:nvPr/>
        </p:nvSpPr>
        <p:spPr>
          <a:xfrm>
            <a:off x="8964050" y="3749215"/>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Product B</a:t>
            </a:r>
          </a:p>
        </p:txBody>
      </p:sp>
      <p:sp>
        <p:nvSpPr>
          <p:cNvPr id="324" name="TextBox 323">
            <a:extLst>
              <a:ext uri="{FF2B5EF4-FFF2-40B4-BE49-F238E27FC236}">
                <a16:creationId xmlns:a16="http://schemas.microsoft.com/office/drawing/2014/main" id="{B99270C6-5AA2-1848-B0BD-63963699A6AA}"/>
              </a:ext>
            </a:extLst>
          </p:cNvPr>
          <p:cNvSpPr txBox="1"/>
          <p:nvPr/>
        </p:nvSpPr>
        <p:spPr>
          <a:xfrm>
            <a:off x="8925030" y="4823779"/>
            <a:ext cx="73920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Product </a:t>
            </a:r>
            <a:r>
              <a:rPr lang="en-US" sz="800" dirty="0">
                <a:solidFill>
                  <a:srgbClr val="646464"/>
                </a:solidFill>
                <a:latin typeface="EYInterstate Light" panose="02000506000000020004" pitchFamily="2" charset="0"/>
              </a:rPr>
              <a:t>C</a:t>
            </a:r>
            <a:endParaRPr kumimoji="0" lang="en-US" sz="8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cxnSp>
        <p:nvCxnSpPr>
          <p:cNvPr id="325" name="Curved Connector 10">
            <a:extLst>
              <a:ext uri="{FF2B5EF4-FFF2-40B4-BE49-F238E27FC236}">
                <a16:creationId xmlns:a16="http://schemas.microsoft.com/office/drawing/2014/main" id="{020E8372-2673-1845-83CE-AE8E5A2CEBF3}"/>
              </a:ext>
            </a:extLst>
          </p:cNvPr>
          <p:cNvCxnSpPr>
            <a:cxnSpLocks/>
            <a:endCxn id="330" idx="1"/>
          </p:cNvCxnSpPr>
          <p:nvPr/>
        </p:nvCxnSpPr>
        <p:spPr>
          <a:xfrm>
            <a:off x="2475353" y="3624399"/>
            <a:ext cx="1283063" cy="1258300"/>
          </a:xfrm>
          <a:prstGeom prst="curvedConnector3">
            <a:avLst>
              <a:gd name="adj1" fmla="val 2244"/>
            </a:avLst>
          </a:prstGeom>
          <a:noFill/>
          <a:ln w="6350" cap="flat" cmpd="sng" algn="ctr">
            <a:solidFill>
              <a:sysClr val="windowText" lastClr="000000">
                <a:lumMod val="65000"/>
                <a:lumOff val="35000"/>
              </a:sysClr>
            </a:solidFill>
            <a:prstDash val="solid"/>
            <a:miter lim="800000"/>
            <a:tailEnd type="triangle"/>
          </a:ln>
          <a:effectLst/>
        </p:spPr>
      </p:cxnSp>
      <p:sp>
        <p:nvSpPr>
          <p:cNvPr id="330" name="TextBox 329">
            <a:extLst>
              <a:ext uri="{FF2B5EF4-FFF2-40B4-BE49-F238E27FC236}">
                <a16:creationId xmlns:a16="http://schemas.microsoft.com/office/drawing/2014/main" id="{A691F42F-2803-8A42-B25B-1478D8910D73}"/>
              </a:ext>
            </a:extLst>
          </p:cNvPr>
          <p:cNvSpPr txBox="1"/>
          <p:nvPr/>
        </p:nvSpPr>
        <p:spPr>
          <a:xfrm>
            <a:off x="3758416" y="4751894"/>
            <a:ext cx="370723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Risks</a:t>
            </a:r>
          </a:p>
        </p:txBody>
      </p:sp>
      <p:sp>
        <p:nvSpPr>
          <p:cNvPr id="333" name="TextBox 332">
            <a:extLst>
              <a:ext uri="{FF2B5EF4-FFF2-40B4-BE49-F238E27FC236}">
                <a16:creationId xmlns:a16="http://schemas.microsoft.com/office/drawing/2014/main" id="{D9402621-C857-CE45-83B7-2200771D50EA}"/>
              </a:ext>
            </a:extLst>
          </p:cNvPr>
          <p:cNvSpPr txBox="1"/>
          <p:nvPr/>
        </p:nvSpPr>
        <p:spPr>
          <a:xfrm rot="20946754">
            <a:off x="2374900" y="2244725"/>
            <a:ext cx="665766" cy="215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rPr>
              <a:t>Populates</a:t>
            </a:r>
          </a:p>
        </p:txBody>
      </p:sp>
    </p:spTree>
    <p:extLst>
      <p:ext uri="{BB962C8B-B14F-4D97-AF65-F5344CB8AC3E}">
        <p14:creationId xmlns:p14="http://schemas.microsoft.com/office/powerpoint/2010/main" val="4269024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Strategic Projects</a:t>
            </a:r>
            <a:endParaRPr lang="ru-AZ"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525410" y="1490658"/>
            <a:ext cx="1351403" cy="12133"/>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525410" y="1292368"/>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49856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Duration</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327484"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a:ea typeface="+mn-ea"/>
              <a:cs typeface="+mn-cs"/>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302286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cxnSp>
        <p:nvCxnSpPr>
          <p:cNvPr id="135" name="Straight Connector 297">
            <a:extLst>
              <a:ext uri="{FF2B5EF4-FFF2-40B4-BE49-F238E27FC236}">
                <a16:creationId xmlns:a16="http://schemas.microsoft.com/office/drawing/2014/main" id="{DC948F62-FE2B-FA4E-AE07-ED4C2A7103FF}"/>
              </a:ext>
            </a:extLst>
          </p:cNvPr>
          <p:cNvCxnSpPr>
            <a:cxnSpLocks/>
          </p:cNvCxnSpPr>
          <p:nvPr/>
        </p:nvCxnSpPr>
        <p:spPr>
          <a:xfrm>
            <a:off x="368345" y="3788290"/>
            <a:ext cx="11489680" cy="0"/>
          </a:xfrm>
          <a:prstGeom prst="line">
            <a:avLst/>
          </a:prstGeom>
          <a:noFill/>
          <a:ln w="9525" cap="flat" cmpd="sng" algn="ctr">
            <a:solidFill>
              <a:srgbClr val="808080"/>
            </a:solidFill>
            <a:prstDash val="sysDot"/>
          </a:ln>
          <a:effectLst/>
        </p:spPr>
      </p:cxnSp>
      <p:cxnSp>
        <p:nvCxnSpPr>
          <p:cNvPr id="136" name="Straight Connector 297">
            <a:extLst>
              <a:ext uri="{FF2B5EF4-FFF2-40B4-BE49-F238E27FC236}">
                <a16:creationId xmlns:a16="http://schemas.microsoft.com/office/drawing/2014/main" id="{7E2A64D8-EB45-4241-8DB2-D793D895A405}"/>
              </a:ext>
            </a:extLst>
          </p:cNvPr>
          <p:cNvCxnSpPr>
            <a:cxnSpLocks/>
          </p:cNvCxnSpPr>
          <p:nvPr/>
        </p:nvCxnSpPr>
        <p:spPr>
          <a:xfrm>
            <a:off x="388467" y="4371385"/>
            <a:ext cx="11489680" cy="0"/>
          </a:xfrm>
          <a:prstGeom prst="line">
            <a:avLst/>
          </a:prstGeom>
          <a:noFill/>
          <a:ln w="9525" cap="flat" cmpd="sng" algn="ctr">
            <a:solidFill>
              <a:srgbClr val="808080"/>
            </a:solidFill>
            <a:prstDash val="sysDot"/>
          </a:ln>
          <a:effectLst/>
        </p:spPr>
      </p:cxnSp>
      <p:cxnSp>
        <p:nvCxnSpPr>
          <p:cNvPr id="137" name="Straight Connector 297">
            <a:extLst>
              <a:ext uri="{FF2B5EF4-FFF2-40B4-BE49-F238E27FC236}">
                <a16:creationId xmlns:a16="http://schemas.microsoft.com/office/drawing/2014/main" id="{D61E2D48-4124-3744-A292-44036336F06B}"/>
              </a:ext>
            </a:extLst>
          </p:cNvPr>
          <p:cNvCxnSpPr>
            <a:cxnSpLocks/>
          </p:cNvCxnSpPr>
          <p:nvPr/>
        </p:nvCxnSpPr>
        <p:spPr>
          <a:xfrm>
            <a:off x="368345" y="4980985"/>
            <a:ext cx="11489680" cy="0"/>
          </a:xfrm>
          <a:prstGeom prst="line">
            <a:avLst/>
          </a:prstGeom>
          <a:noFill/>
          <a:ln w="9525" cap="flat" cmpd="sng" algn="ctr">
            <a:solidFill>
              <a:srgbClr val="808080"/>
            </a:solidFill>
            <a:prstDash val="sysDot"/>
          </a:ln>
          <a:effectLst/>
        </p:spPr>
      </p:cxnSp>
      <p:cxnSp>
        <p:nvCxnSpPr>
          <p:cNvPr id="138" name="Straight Connector 297">
            <a:extLst>
              <a:ext uri="{FF2B5EF4-FFF2-40B4-BE49-F238E27FC236}">
                <a16:creationId xmlns:a16="http://schemas.microsoft.com/office/drawing/2014/main" id="{002FD416-2DB7-954B-AFFA-3275FBD28F08}"/>
              </a:ext>
            </a:extLst>
          </p:cNvPr>
          <p:cNvCxnSpPr>
            <a:cxnSpLocks/>
          </p:cNvCxnSpPr>
          <p:nvPr/>
        </p:nvCxnSpPr>
        <p:spPr>
          <a:xfrm>
            <a:off x="351160" y="5590585"/>
            <a:ext cx="11489680" cy="0"/>
          </a:xfrm>
          <a:prstGeom prst="line">
            <a:avLst/>
          </a:prstGeom>
          <a:noFill/>
          <a:ln w="9525" cap="flat" cmpd="sng" algn="ctr">
            <a:solidFill>
              <a:srgbClr val="808080"/>
            </a:solidFill>
            <a:prstDash val="sysDot"/>
          </a:ln>
          <a:effectLst/>
        </p:spPr>
      </p:cxnSp>
      <p:cxnSp>
        <p:nvCxnSpPr>
          <p:cNvPr id="139" name="Straight Connector 297">
            <a:extLst>
              <a:ext uri="{FF2B5EF4-FFF2-40B4-BE49-F238E27FC236}">
                <a16:creationId xmlns:a16="http://schemas.microsoft.com/office/drawing/2014/main" id="{5A8A02A8-1D0B-004D-B73F-884063B0C947}"/>
              </a:ext>
            </a:extLst>
          </p:cNvPr>
          <p:cNvCxnSpPr>
            <a:cxnSpLocks/>
          </p:cNvCxnSpPr>
          <p:nvPr/>
        </p:nvCxnSpPr>
        <p:spPr>
          <a:xfrm>
            <a:off x="351160" y="6200185"/>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a typeface="+mn-ea"/>
              <a:cs typeface="+mn-cs"/>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Delay/Roadblock/ </a:t>
            </a:r>
          </a:p>
          <a:p>
            <a:pPr defTabSz="699027">
              <a:buClr>
                <a:srgbClr val="002960"/>
              </a:buClr>
              <a:defRPr/>
            </a:pPr>
            <a:r>
              <a:rPr lang="en-US" sz="714" dirty="0">
                <a:solidFill>
                  <a:srgbClr val="000000"/>
                </a:solidFill>
                <a:latin typeface="Arial"/>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2"/>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3"/>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4"/>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5"/>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6"/>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7"/>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18"/>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19"/>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0"/>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1"/>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flipH="1">
            <a:off x="7829465" y="526118"/>
            <a:ext cx="219819" cy="219818"/>
          </a:xfrm>
          <a:prstGeom prst="rect">
            <a:avLst/>
          </a:prstGeom>
        </p:spPr>
      </p:pic>
      <p:sp>
        <p:nvSpPr>
          <p:cNvPr id="13" name="Овал 12">
            <a:extLst>
              <a:ext uri="{FF2B5EF4-FFF2-40B4-BE49-F238E27FC236}">
                <a16:creationId xmlns:a16="http://schemas.microsoft.com/office/drawing/2014/main" id="{08ACB6D6-6A75-C745-997F-14D7220F93C7}"/>
              </a:ext>
            </a:extLst>
          </p:cNvPr>
          <p:cNvSpPr/>
          <p:nvPr/>
        </p:nvSpPr>
        <p:spPr>
          <a:xfrm flipH="1">
            <a:off x="8096066" y="1643387"/>
            <a:ext cx="239132" cy="239132"/>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194" name="Овал 193">
            <a:extLst>
              <a:ext uri="{FF2B5EF4-FFF2-40B4-BE49-F238E27FC236}">
                <a16:creationId xmlns:a16="http://schemas.microsoft.com/office/drawing/2014/main" id="{B9D5A251-A028-894A-B773-26E187102071}"/>
              </a:ext>
            </a:extLst>
          </p:cNvPr>
          <p:cNvSpPr/>
          <p:nvPr/>
        </p:nvSpPr>
        <p:spPr>
          <a:xfrm flipH="1">
            <a:off x="8096066" y="2189779"/>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195" name="Овал 194">
            <a:extLst>
              <a:ext uri="{FF2B5EF4-FFF2-40B4-BE49-F238E27FC236}">
                <a16:creationId xmlns:a16="http://schemas.microsoft.com/office/drawing/2014/main" id="{B4273E6A-B8A4-8541-909A-33F998B9A462}"/>
              </a:ext>
            </a:extLst>
          </p:cNvPr>
          <p:cNvSpPr/>
          <p:nvPr/>
        </p:nvSpPr>
        <p:spPr>
          <a:xfrm flipH="1">
            <a:off x="8096066" y="2754324"/>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196" name="Овал 195">
            <a:extLst>
              <a:ext uri="{FF2B5EF4-FFF2-40B4-BE49-F238E27FC236}">
                <a16:creationId xmlns:a16="http://schemas.microsoft.com/office/drawing/2014/main" id="{C3C91B57-C80D-0E40-92F5-D783B3491597}"/>
              </a:ext>
            </a:extLst>
          </p:cNvPr>
          <p:cNvSpPr/>
          <p:nvPr/>
        </p:nvSpPr>
        <p:spPr>
          <a:xfrm flipH="1">
            <a:off x="8096066" y="3339131"/>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197" name="Овал 196">
            <a:extLst>
              <a:ext uri="{FF2B5EF4-FFF2-40B4-BE49-F238E27FC236}">
                <a16:creationId xmlns:a16="http://schemas.microsoft.com/office/drawing/2014/main" id="{54F40876-03C4-7745-A058-547D56F21CDD}"/>
              </a:ext>
            </a:extLst>
          </p:cNvPr>
          <p:cNvSpPr/>
          <p:nvPr/>
        </p:nvSpPr>
        <p:spPr>
          <a:xfrm flipH="1">
            <a:off x="8096066" y="3936369"/>
            <a:ext cx="239132" cy="239132"/>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532356" y="145068"/>
            <a:ext cx="268467" cy="268467"/>
          </a:xfrm>
          <a:prstGeom prst="rect">
            <a:avLst/>
          </a:prstGeom>
        </p:spPr>
      </p:pic>
      <p:pic>
        <p:nvPicPr>
          <p:cNvPr id="57" name="Рисунок 56" descr="Изображение выглядит как объект, часы, поезд&#10;&#10;Автоматически созданное описание">
            <a:extLst>
              <a:ext uri="{FF2B5EF4-FFF2-40B4-BE49-F238E27FC236}">
                <a16:creationId xmlns:a16="http://schemas.microsoft.com/office/drawing/2014/main" id="{2332C7F7-F560-FE45-BC5D-144ED05DE908}"/>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rot="19806741">
            <a:off x="9892883" y="5262385"/>
            <a:ext cx="1996948" cy="676691"/>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1355037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38917"/>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marL="0" marR="0" lvl="0" indent="0" algn="l" defTabSz="1242752" rtl="0" eaLnBrk="1" fontAlgn="base" latinLnBrk="0" hangingPunct="1">
              <a:lnSpc>
                <a:spcPct val="100000"/>
              </a:lnSpc>
              <a:spcBef>
                <a:spcPct val="0"/>
              </a:spcBef>
              <a:spcAft>
                <a:spcPct val="0"/>
              </a:spcAft>
              <a:buClrTx/>
              <a:buSzTx/>
              <a:buFontTx/>
              <a:buNone/>
              <a:tabLst/>
              <a:defRPr/>
            </a:pPr>
            <a: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Mobile Banking v2.0</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Passport: Overview</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9" name="Rectangle 203">
            <a:extLst>
              <a:ext uri="{FF2B5EF4-FFF2-40B4-BE49-F238E27FC236}">
                <a16:creationId xmlns:a16="http://schemas.microsoft.com/office/drawing/2014/main" id="{D762524E-D27E-874B-8194-764AAD8442BB}"/>
              </a:ext>
            </a:extLst>
          </p:cNvPr>
          <p:cNvSpPr>
            <a:spLocks noChangeArrowheads="1"/>
          </p:cNvSpPr>
          <p:nvPr/>
        </p:nvSpPr>
        <p:spPr bwMode="auto">
          <a:xfrm>
            <a:off x="371475" y="2194772"/>
            <a:ext cx="7621440" cy="1132621"/>
          </a:xfrm>
          <a:prstGeom prst="rect">
            <a:avLst/>
          </a:prstGeom>
          <a:solidFill>
            <a:srgbClr val="FFFFFF">
              <a:lumMod val="95000"/>
            </a:srgbClr>
          </a:solidFill>
          <a:ln w="19050" cap="flat" cmpd="sng" algn="ctr">
            <a:noFill/>
            <a:prstDash val="solid"/>
          </a:ln>
          <a:effectLst/>
        </p:spPr>
        <p:txBody>
          <a:bodyPr lIns="93271" tIns="46635" rIns="93271" bIns="46635" rtlCol="0" anchor="ctr">
            <a:noAutofit/>
          </a:bodyPr>
          <a:lstStyle/>
          <a:p>
            <a:pPr lvl="0" fontAlgn="base">
              <a:spcBef>
                <a:spcPct val="0"/>
              </a:spcBef>
              <a:spcAft>
                <a:spcPct val="0"/>
              </a:spcAft>
            </a:pPr>
            <a:endParaRPr lang="en-US" sz="1200" dirty="0">
              <a:latin typeface="Arial" panose="020B0604020202020204" pitchFamily="34" charset="0"/>
              <a:cs typeface="Arial" panose="020B0604020202020204" pitchFamily="34" charset="0"/>
            </a:endParaRPr>
          </a:p>
          <a:p>
            <a:pPr lvl="0" fontAlgn="base">
              <a:spcBef>
                <a:spcPct val="0"/>
              </a:spcBef>
              <a:spcAft>
                <a:spcPct val="0"/>
              </a:spcAft>
            </a:pPr>
            <a:endParaRPr lang="en-US" sz="1200" dirty="0">
              <a:latin typeface="Arial" panose="020B0604020202020204" pitchFamily="34" charset="0"/>
              <a:cs typeface="Arial" panose="020B0604020202020204" pitchFamily="34" charset="0"/>
            </a:endParaRPr>
          </a:p>
          <a:p>
            <a:pPr lvl="0" fontAlgn="base">
              <a:spcBef>
                <a:spcPct val="0"/>
              </a:spcBef>
              <a:spcAft>
                <a:spcPct val="0"/>
              </a:spcAft>
            </a:pPr>
            <a:r>
              <a:rPr lang="en-US" sz="1200" dirty="0">
                <a:latin typeface="Arial" panose="020B0604020202020204" pitchFamily="34" charset="0"/>
                <a:cs typeface="Arial" panose="020B0604020202020204" pitchFamily="34" charset="0"/>
              </a:rPr>
              <a:t>Lorem ipsum dolor sit </a:t>
            </a:r>
            <a:r>
              <a:rPr lang="en-US" sz="1200" dirty="0" err="1">
                <a:latin typeface="Arial" panose="020B0604020202020204" pitchFamily="34" charset="0"/>
                <a:cs typeface="Arial" panose="020B0604020202020204" pitchFamily="34" charset="0"/>
              </a:rPr>
              <a:t>ame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onsectetur</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adipisci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elit</a:t>
            </a:r>
            <a:r>
              <a:rPr lang="en-US" sz="1200" dirty="0">
                <a:latin typeface="Arial" panose="020B0604020202020204" pitchFamily="34" charset="0"/>
                <a:cs typeface="Arial" panose="020B0604020202020204" pitchFamily="34" charset="0"/>
              </a:rPr>
              <a:t>. Donec sit </a:t>
            </a:r>
            <a:r>
              <a:rPr lang="en-US" sz="1200" dirty="0" err="1">
                <a:latin typeface="Arial" panose="020B0604020202020204" pitchFamily="34" charset="0"/>
                <a:cs typeface="Arial" panose="020B0604020202020204" pitchFamily="34" charset="0"/>
              </a:rPr>
              <a:t>ame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isl</a:t>
            </a:r>
            <a:r>
              <a:rPr lang="en-US" sz="1200" dirty="0">
                <a:latin typeface="Arial" panose="020B0604020202020204" pitchFamily="34" charset="0"/>
                <a:cs typeface="Arial" panose="020B0604020202020204" pitchFamily="34" charset="0"/>
              </a:rPr>
              <a:t> vel </a:t>
            </a:r>
            <a:r>
              <a:rPr lang="en-US" sz="1200" dirty="0" err="1">
                <a:latin typeface="Arial" panose="020B0604020202020204" pitchFamily="34" charset="0"/>
                <a:cs typeface="Arial" panose="020B0604020202020204" pitchFamily="34" charset="0"/>
              </a:rPr>
              <a:t>turpis</a:t>
            </a:r>
            <a:r>
              <a:rPr lang="en-US" sz="1200" dirty="0">
                <a:latin typeface="Arial" panose="020B0604020202020204" pitchFamily="34" charset="0"/>
                <a:cs typeface="Arial" panose="020B0604020202020204" pitchFamily="34" charset="0"/>
              </a:rPr>
              <a:t> pharetra </a:t>
            </a:r>
            <a:r>
              <a:rPr lang="en-US" sz="1200" dirty="0" err="1">
                <a:latin typeface="Arial" panose="020B0604020202020204" pitchFamily="34" charset="0"/>
                <a:cs typeface="Arial" panose="020B0604020202020204" pitchFamily="34" charset="0"/>
              </a:rPr>
              <a:t>interdum</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Quisque</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lli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isl</a:t>
            </a:r>
            <a:r>
              <a:rPr lang="en-US" sz="1200" dirty="0">
                <a:latin typeface="Arial" panose="020B0604020202020204" pitchFamily="34" charset="0"/>
                <a:cs typeface="Arial" panose="020B0604020202020204" pitchFamily="34" charset="0"/>
              </a:rPr>
              <a:t> non </a:t>
            </a:r>
            <a:r>
              <a:rPr lang="en-US" sz="1200" dirty="0" err="1">
                <a:latin typeface="Arial" panose="020B0604020202020204" pitchFamily="34" charset="0"/>
                <a:cs typeface="Arial" panose="020B0604020202020204" pitchFamily="34" charset="0"/>
              </a:rPr>
              <a:t>eli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uctu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ut</a:t>
            </a:r>
            <a:r>
              <a:rPr lang="en-US" sz="1200" dirty="0">
                <a:latin typeface="Arial" panose="020B0604020202020204" pitchFamily="34" charset="0"/>
                <a:cs typeface="Arial" panose="020B0604020202020204" pitchFamily="34" charset="0"/>
              </a:rPr>
              <a:t> maximus mi </a:t>
            </a:r>
            <a:r>
              <a:rPr lang="en-US" sz="1200" dirty="0" err="1">
                <a:latin typeface="Arial" panose="020B0604020202020204" pitchFamily="34" charset="0"/>
                <a:cs typeface="Arial" panose="020B0604020202020204" pitchFamily="34" charset="0"/>
              </a:rPr>
              <a:t>hendrerit</a:t>
            </a:r>
            <a:r>
              <a:rPr lang="en-US" sz="1200" dirty="0">
                <a:latin typeface="Arial" panose="020B0604020202020204" pitchFamily="34" charset="0"/>
                <a:cs typeface="Arial" panose="020B0604020202020204" pitchFamily="34" charset="0"/>
              </a:rPr>
              <a:t>. Ut </a:t>
            </a:r>
            <a:r>
              <a:rPr lang="en-US" sz="1200" dirty="0" err="1">
                <a:latin typeface="Arial" panose="020B0604020202020204" pitchFamily="34" charset="0"/>
                <a:cs typeface="Arial" panose="020B0604020202020204" pitchFamily="34" charset="0"/>
              </a:rPr>
              <a:t>luctu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es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iverr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enenati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facilisi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ib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arc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interdum</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etus</a:t>
            </a:r>
            <a:r>
              <a:rPr lang="en-US" sz="1200" dirty="0">
                <a:latin typeface="Arial" panose="020B0604020202020204" pitchFamily="34" charset="0"/>
                <a:cs typeface="Arial" panose="020B0604020202020204" pitchFamily="34" charset="0"/>
              </a:rPr>
              <a:t>, in vestibulum </a:t>
            </a:r>
            <a:r>
              <a:rPr lang="en-US" sz="1200" dirty="0" err="1">
                <a:latin typeface="Arial" panose="020B0604020202020204" pitchFamily="34" charset="0"/>
                <a:cs typeface="Arial" panose="020B0604020202020204" pitchFamily="34" charset="0"/>
              </a:rPr>
              <a:t>metu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ellu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apibu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purus</a:t>
            </a:r>
            <a:r>
              <a:rPr lang="en-US" sz="1200" dirty="0">
                <a:latin typeface="Arial" panose="020B0604020202020204" pitchFamily="34" charset="0"/>
                <a:cs typeface="Arial" panose="020B0604020202020204" pitchFamily="34" charset="0"/>
              </a:rPr>
              <a:t>. Nunc sed </a:t>
            </a:r>
            <a:r>
              <a:rPr lang="en-US" sz="1200" dirty="0" err="1">
                <a:latin typeface="Arial" panose="020B0604020202020204" pitchFamily="34" charset="0"/>
                <a:cs typeface="Arial" panose="020B0604020202020204" pitchFamily="34" charset="0"/>
              </a:rPr>
              <a:t>congue</a:t>
            </a:r>
            <a:r>
              <a:rPr lang="en-US" sz="1200" dirty="0">
                <a:latin typeface="Arial" panose="020B0604020202020204" pitchFamily="34" charset="0"/>
                <a:cs typeface="Arial" panose="020B0604020202020204" pitchFamily="34" charset="0"/>
              </a:rPr>
              <a:t> libero.</a:t>
            </a: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 name="Rectangle 112">
            <a:extLst>
              <a:ext uri="{FF2B5EF4-FFF2-40B4-BE49-F238E27FC236}">
                <a16:creationId xmlns:a16="http://schemas.microsoft.com/office/drawing/2014/main" id="{D5282E37-C8E9-1642-A9FC-2FF4BC08DFCB}"/>
              </a:ext>
            </a:extLst>
          </p:cNvPr>
          <p:cNvSpPr>
            <a:spLocks noChangeArrowheads="1"/>
          </p:cNvSpPr>
          <p:nvPr/>
        </p:nvSpPr>
        <p:spPr bwMode="auto">
          <a:xfrm>
            <a:off x="371475" y="2194773"/>
            <a:ext cx="7612908"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definition</a:t>
            </a:r>
          </a:p>
        </p:txBody>
      </p:sp>
      <p:sp>
        <p:nvSpPr>
          <p:cNvPr id="19" name="Rectangle 203">
            <a:extLst>
              <a:ext uri="{FF2B5EF4-FFF2-40B4-BE49-F238E27FC236}">
                <a16:creationId xmlns:a16="http://schemas.microsoft.com/office/drawing/2014/main" id="{CD59E88F-8606-FC45-BD18-1E7C57B9A29E}"/>
              </a:ext>
            </a:extLst>
          </p:cNvPr>
          <p:cNvSpPr>
            <a:spLocks noChangeArrowheads="1"/>
          </p:cNvSpPr>
          <p:nvPr/>
        </p:nvSpPr>
        <p:spPr bwMode="auto">
          <a:xfrm>
            <a:off x="371475" y="5314700"/>
            <a:ext cx="3922733" cy="1192191"/>
          </a:xfrm>
          <a:prstGeom prst="rect">
            <a:avLst/>
          </a:prstGeom>
          <a:solidFill>
            <a:srgbClr val="FFFFFF">
              <a:lumMod val="95000"/>
            </a:srgbClr>
          </a:solidFill>
          <a:ln w="19050" cap="flat" cmpd="sng" algn="ctr">
            <a:noFill/>
            <a:prstDash val="solid"/>
          </a:ln>
          <a:effectLst/>
        </p:spPr>
        <p:txBody>
          <a:bodyPr lIns="93271" tIns="46635" rIns="93271" bIns="46635" rtlCol="0" anchor="ctr">
            <a:noAutofit/>
          </a:bodyP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Transfer and payment data </a:t>
            </a: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Cards data</a:t>
            </a: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Finance data</a:t>
            </a:r>
          </a:p>
          <a:p>
            <a:pPr marL="171450" lvl="0" indent="-171450" fontAlgn="base">
              <a:spcBef>
                <a:spcPct val="0"/>
              </a:spcBef>
              <a:spcAft>
                <a:spcPct val="0"/>
              </a:spcAft>
              <a:buFont typeface="Arial" panose="020B0604020202020204" pitchFamily="34" charset="0"/>
              <a:buChar char="•"/>
              <a:defRPr/>
            </a:pPr>
            <a:r>
              <a:rPr lang="en-US" sz="1200" kern="0" dirty="0">
                <a:solidFill>
                  <a:srgbClr val="000000"/>
                </a:solidFill>
                <a:latin typeface="Arial"/>
                <a:sym typeface="+mn-lt"/>
              </a:rPr>
              <a:t>Risk data</a:t>
            </a:r>
          </a:p>
        </p:txBody>
      </p:sp>
      <p:sp>
        <p:nvSpPr>
          <p:cNvPr id="20" name="Rectangle 203">
            <a:extLst>
              <a:ext uri="{FF2B5EF4-FFF2-40B4-BE49-F238E27FC236}">
                <a16:creationId xmlns:a16="http://schemas.microsoft.com/office/drawing/2014/main" id="{402CA010-7C3C-8341-9341-5117E06F473D}"/>
              </a:ext>
            </a:extLst>
          </p:cNvPr>
          <p:cNvSpPr>
            <a:spLocks noChangeArrowheads="1"/>
          </p:cNvSpPr>
          <p:nvPr/>
        </p:nvSpPr>
        <p:spPr bwMode="auto">
          <a:xfrm>
            <a:off x="4428438" y="5260562"/>
            <a:ext cx="3564478" cy="125315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sym typeface="+mn-lt"/>
            </a:endParaRPr>
          </a:p>
          <a:p>
            <a:pPr marL="171450" marR="0" lvl="0" indent="-1714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Transfer and payment </a:t>
            </a:r>
          </a:p>
        </p:txBody>
      </p:sp>
      <p:sp>
        <p:nvSpPr>
          <p:cNvPr id="21" name="Rectangle 112">
            <a:extLst>
              <a:ext uri="{FF2B5EF4-FFF2-40B4-BE49-F238E27FC236}">
                <a16:creationId xmlns:a16="http://schemas.microsoft.com/office/drawing/2014/main" id="{E00A6D9A-0E28-DB49-B23E-8BC25FA00E89}"/>
              </a:ext>
            </a:extLst>
          </p:cNvPr>
          <p:cNvSpPr>
            <a:spLocks noChangeArrowheads="1"/>
          </p:cNvSpPr>
          <p:nvPr/>
        </p:nvSpPr>
        <p:spPr bwMode="auto">
          <a:xfrm>
            <a:off x="4428438" y="5187271"/>
            <a:ext cx="3564478"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ut of Scope</a:t>
            </a:r>
          </a:p>
        </p:txBody>
      </p:sp>
      <p:sp>
        <p:nvSpPr>
          <p:cNvPr id="22" name="Rectangle 203">
            <a:extLst>
              <a:ext uri="{FF2B5EF4-FFF2-40B4-BE49-F238E27FC236}">
                <a16:creationId xmlns:a16="http://schemas.microsoft.com/office/drawing/2014/main" id="{8CC3A670-84A7-9C44-BE43-7965F23FCBBD}"/>
              </a:ext>
            </a:extLst>
          </p:cNvPr>
          <p:cNvSpPr>
            <a:spLocks noChangeArrowheads="1"/>
          </p:cNvSpPr>
          <p:nvPr/>
        </p:nvSpPr>
        <p:spPr bwMode="auto">
          <a:xfrm>
            <a:off x="387123" y="3581917"/>
            <a:ext cx="3907085" cy="1431779"/>
          </a:xfrm>
          <a:prstGeom prst="rect">
            <a:avLst/>
          </a:prstGeom>
          <a:solidFill>
            <a:srgbClr val="FFFFFF">
              <a:lumMod val="95000"/>
            </a:srgbClr>
          </a:solidFill>
          <a:ln w="19050" cap="flat" cmpd="sng" algn="ctr">
            <a:noFill/>
            <a:prstDash val="solid"/>
          </a:ln>
          <a:effectLst/>
        </p:spPr>
        <p:txBody>
          <a:bodyPr lIns="93271" tIns="46635" rIns="93271" bIns="46635"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sym typeface="+mn-lt"/>
            </a:endParaRPr>
          </a:p>
          <a:p>
            <a:pPr marL="285750" marR="0" lvl="0" indent="-2857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IT</a:t>
            </a:r>
            <a:endParaRPr kumimoji="0" lang="az-Latn-AZ" sz="1200" b="0" i="0" u="none" strike="noStrike" kern="0" cap="none" spc="0" normalizeH="0" baseline="0" noProof="0" dirty="0">
              <a:ln>
                <a:noFill/>
              </a:ln>
              <a:solidFill>
                <a:srgbClr val="000000"/>
              </a:solidFill>
              <a:effectLst/>
              <a:uLnTx/>
              <a:uFillTx/>
              <a:latin typeface="Arial"/>
              <a:ea typeface="+mn-ea"/>
              <a:cs typeface="+mn-cs"/>
              <a:sym typeface="+mn-lt"/>
            </a:endParaRPr>
          </a:p>
          <a:p>
            <a:pPr marL="285750" marR="0" lvl="0" indent="-2857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Finance</a:t>
            </a:r>
            <a:endParaRPr kumimoji="0" lang="az-Latn-AZ" sz="1200" b="0" i="0" u="none" strike="noStrike" kern="0" cap="none" spc="0" normalizeH="0" baseline="0" noProof="0" dirty="0">
              <a:ln>
                <a:noFill/>
              </a:ln>
              <a:solidFill>
                <a:srgbClr val="000000"/>
              </a:solidFill>
              <a:effectLst/>
              <a:uLnTx/>
              <a:uFillTx/>
              <a:latin typeface="Arial"/>
              <a:ea typeface="+mn-ea"/>
              <a:cs typeface="+mn-cs"/>
              <a:sym typeface="+mn-lt"/>
            </a:endParaRPr>
          </a:p>
          <a:p>
            <a:pPr marL="285750" marR="0" lvl="0" indent="-2857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HR</a:t>
            </a:r>
          </a:p>
          <a:p>
            <a:pPr marL="285750" marR="0" lvl="0" indent="-2857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Risk</a:t>
            </a:r>
          </a:p>
          <a:p>
            <a:pPr marL="285750" marR="0" lvl="0" indent="-285750"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sym typeface="+mn-lt"/>
              </a:rPr>
              <a:t>External Vendor</a:t>
            </a:r>
            <a:endParaRPr kumimoji="0" lang="az-Latn-AZ" sz="12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3" name="Rectangle 112">
            <a:extLst>
              <a:ext uri="{FF2B5EF4-FFF2-40B4-BE49-F238E27FC236}">
                <a16:creationId xmlns:a16="http://schemas.microsoft.com/office/drawing/2014/main" id="{994F1C6D-1A65-4148-A8C2-58A61B1FFA3C}"/>
              </a:ext>
            </a:extLst>
          </p:cNvPr>
          <p:cNvSpPr>
            <a:spLocks noChangeArrowheads="1"/>
          </p:cNvSpPr>
          <p:nvPr/>
        </p:nvSpPr>
        <p:spPr bwMode="auto">
          <a:xfrm>
            <a:off x="387123" y="3472733"/>
            <a:ext cx="3907085"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business stakeholders</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4438926" y="3484476"/>
            <a:ext cx="3543384" cy="154096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4438926" y="3484476"/>
            <a:ext cx="3543384"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siness Value </a:t>
            </a:r>
            <a:r>
              <a:rPr lang="ru-RU" sz="1300" b="1" dirty="0">
                <a:solidFill>
                  <a:srgbClr val="FFFFFF"/>
                </a:solidFill>
                <a:latin typeface="Arial"/>
                <a:sym typeface="+mn-lt"/>
              </a:rPr>
              <a:t>/ </a:t>
            </a:r>
            <a:r>
              <a:rPr lang="az-Latn-AZ" sz="1300" b="1" dirty="0">
                <a:solidFill>
                  <a:srgbClr val="FFFFFF"/>
                </a:solidFill>
                <a:latin typeface="Arial"/>
                <a:sym typeface="+mn-lt"/>
              </a:rPr>
              <a:t>Success</a:t>
            </a:r>
            <a:r>
              <a:rPr lang="ru-RU" sz="1300" b="1" dirty="0">
                <a:solidFill>
                  <a:srgbClr val="FFFFFF"/>
                </a:solidFill>
                <a:latin typeface="Arial"/>
                <a:sym typeface="+mn-lt"/>
              </a:rPr>
              <a:t> </a:t>
            </a:r>
            <a:r>
              <a:rPr lang="az-Latn-AZ" sz="1300" b="1" dirty="0">
                <a:solidFill>
                  <a:srgbClr val="FFFFFF"/>
                </a:solidFill>
                <a:latin typeface="Arial"/>
                <a:sym typeface="+mn-lt"/>
              </a:rPr>
              <a:t>Factors</a:t>
            </a:r>
            <a:endParaRPr lang="en-US" sz="1300" b="1" dirty="0">
              <a:solidFill>
                <a:srgbClr val="FFFFFF"/>
              </a:solidFill>
              <a:latin typeface="Arial"/>
              <a:sym typeface="+mn-lt"/>
            </a:endParaRPr>
          </a:p>
        </p:txBody>
      </p:sp>
      <p:grpSp>
        <p:nvGrpSpPr>
          <p:cNvPr id="36" name="Группа 35">
            <a:extLst>
              <a:ext uri="{FF2B5EF4-FFF2-40B4-BE49-F238E27FC236}">
                <a16:creationId xmlns:a16="http://schemas.microsoft.com/office/drawing/2014/main" id="{0A7603BB-BE42-EB49-AC99-05930E7CCC93}"/>
              </a:ext>
            </a:extLst>
          </p:cNvPr>
          <p:cNvGrpSpPr/>
          <p:nvPr/>
        </p:nvGrpSpPr>
        <p:grpSpPr>
          <a:xfrm>
            <a:off x="371475" y="1676674"/>
            <a:ext cx="7590778" cy="367495"/>
            <a:chOff x="161989" y="1438537"/>
            <a:chExt cx="7590778" cy="367495"/>
          </a:xfrm>
        </p:grpSpPr>
        <p:sp>
          <p:nvSpPr>
            <p:cNvPr id="11" name="Rectangle 112">
              <a:extLst>
                <a:ext uri="{FF2B5EF4-FFF2-40B4-BE49-F238E27FC236}">
                  <a16:creationId xmlns:a16="http://schemas.microsoft.com/office/drawing/2014/main" id="{46595984-55BB-384B-B3CF-5FBF813DC528}"/>
                </a:ext>
              </a:extLst>
            </p:cNvPr>
            <p:cNvSpPr>
              <a:spLocks noChangeArrowheads="1"/>
            </p:cNvSpPr>
            <p:nvPr/>
          </p:nvSpPr>
          <p:spPr bwMode="auto">
            <a:xfrm>
              <a:off x="161989" y="1439422"/>
              <a:ext cx="1766242"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Type of project</a:t>
              </a:r>
            </a:p>
          </p:txBody>
        </p:sp>
        <p:sp>
          <p:nvSpPr>
            <p:cNvPr id="12" name="Rectangle 112">
              <a:extLst>
                <a:ext uri="{FF2B5EF4-FFF2-40B4-BE49-F238E27FC236}">
                  <a16:creationId xmlns:a16="http://schemas.microsoft.com/office/drawing/2014/main" id="{60928E43-C60D-EC41-8A95-BEC6756C6182}"/>
                </a:ext>
              </a:extLst>
            </p:cNvPr>
            <p:cNvSpPr>
              <a:spLocks noChangeArrowheads="1"/>
            </p:cNvSpPr>
            <p:nvPr/>
          </p:nvSpPr>
          <p:spPr bwMode="auto">
            <a:xfrm>
              <a:off x="1929329" y="1439422"/>
              <a:ext cx="2034432" cy="366610"/>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Technology</a:t>
              </a:r>
            </a:p>
          </p:txBody>
        </p:sp>
        <p:sp>
          <p:nvSpPr>
            <p:cNvPr id="13" name="Rectangle 112">
              <a:extLst>
                <a:ext uri="{FF2B5EF4-FFF2-40B4-BE49-F238E27FC236}">
                  <a16:creationId xmlns:a16="http://schemas.microsoft.com/office/drawing/2014/main" id="{3AA111B7-9204-3546-A9E8-FA83D37BC413}"/>
                </a:ext>
              </a:extLst>
            </p:cNvPr>
            <p:cNvSpPr>
              <a:spLocks noChangeArrowheads="1"/>
            </p:cNvSpPr>
            <p:nvPr/>
          </p:nvSpPr>
          <p:spPr bwMode="auto">
            <a:xfrm>
              <a:off x="2919546" y="1496727"/>
              <a:ext cx="252000" cy="252000"/>
            </a:xfrm>
            <a:prstGeom prst="rect">
              <a:avLst/>
            </a:prstGeom>
            <a:solidFill>
              <a:srgbClr val="FFFFFF"/>
            </a:solidFill>
            <a:ln w="19050" cap="rnd">
              <a:solidFill>
                <a:srgbClr val="FFFFFF">
                  <a:lumMod val="95000"/>
                </a:srgbClr>
              </a:solidFill>
              <a:miter lim="800000"/>
              <a:headEnd/>
              <a:tailEnd/>
            </a:ln>
          </p:spPr>
          <p:txBody>
            <a:bodyPr lIns="85286" tIns="42642" rIns="85286" bIns="42642"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Arial"/>
                  <a:sym typeface="Wingdings" panose="05000000000000000000" pitchFamily="2" charset="2"/>
                </a:rPr>
                <a:t></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26" name="Rectangle 112">
              <a:extLst>
                <a:ext uri="{FF2B5EF4-FFF2-40B4-BE49-F238E27FC236}">
                  <a16:creationId xmlns:a16="http://schemas.microsoft.com/office/drawing/2014/main" id="{A16FF5E2-E04B-9740-AA77-AC9ECD4F9978}"/>
                </a:ext>
              </a:extLst>
            </p:cNvPr>
            <p:cNvSpPr>
              <a:spLocks noChangeArrowheads="1"/>
            </p:cNvSpPr>
            <p:nvPr/>
          </p:nvSpPr>
          <p:spPr bwMode="auto">
            <a:xfrm>
              <a:off x="3243835" y="1439422"/>
              <a:ext cx="2085862" cy="366610"/>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Commercial</a:t>
              </a:r>
            </a:p>
          </p:txBody>
        </p:sp>
        <p:sp>
          <p:nvSpPr>
            <p:cNvPr id="27" name="Rectangle 112">
              <a:extLst>
                <a:ext uri="{FF2B5EF4-FFF2-40B4-BE49-F238E27FC236}">
                  <a16:creationId xmlns:a16="http://schemas.microsoft.com/office/drawing/2014/main" id="{C6E6689D-B84F-564A-B702-A26545003C7F}"/>
                </a:ext>
              </a:extLst>
            </p:cNvPr>
            <p:cNvSpPr>
              <a:spLocks noChangeArrowheads="1"/>
            </p:cNvSpPr>
            <p:nvPr/>
          </p:nvSpPr>
          <p:spPr bwMode="auto">
            <a:xfrm>
              <a:off x="4361150" y="1478326"/>
              <a:ext cx="252000" cy="252000"/>
            </a:xfrm>
            <a:prstGeom prst="rect">
              <a:avLst/>
            </a:prstGeom>
            <a:solidFill>
              <a:srgbClr val="FFFFFF"/>
            </a:solidFill>
            <a:ln w="19050" cap="rnd">
              <a:solidFill>
                <a:srgbClr val="FFFFFF">
                  <a:lumMod val="95000"/>
                </a:srgbClr>
              </a:solidFill>
              <a:miter lim="800000"/>
              <a:headEnd/>
              <a:tailEnd/>
            </a:ln>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28" name="Rectangle 112">
              <a:extLst>
                <a:ext uri="{FF2B5EF4-FFF2-40B4-BE49-F238E27FC236}">
                  <a16:creationId xmlns:a16="http://schemas.microsoft.com/office/drawing/2014/main" id="{756310E3-C74C-5C41-8594-A741C607BDBD}"/>
                </a:ext>
              </a:extLst>
            </p:cNvPr>
            <p:cNvSpPr>
              <a:spLocks noChangeArrowheads="1"/>
            </p:cNvSpPr>
            <p:nvPr/>
          </p:nvSpPr>
          <p:spPr bwMode="auto">
            <a:xfrm>
              <a:off x="4717634" y="1439422"/>
              <a:ext cx="2085862" cy="366610"/>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Supportive</a:t>
              </a:r>
            </a:p>
          </p:txBody>
        </p:sp>
        <p:sp>
          <p:nvSpPr>
            <p:cNvPr id="29" name="Rectangle 112">
              <a:extLst>
                <a:ext uri="{FF2B5EF4-FFF2-40B4-BE49-F238E27FC236}">
                  <a16:creationId xmlns:a16="http://schemas.microsoft.com/office/drawing/2014/main" id="{E6CD1FBD-BD93-DA43-A6B2-B7AAC2DF65AB}"/>
                </a:ext>
              </a:extLst>
            </p:cNvPr>
            <p:cNvSpPr>
              <a:spLocks noChangeArrowheads="1"/>
            </p:cNvSpPr>
            <p:nvPr/>
          </p:nvSpPr>
          <p:spPr bwMode="auto">
            <a:xfrm>
              <a:off x="5677996" y="1496727"/>
              <a:ext cx="252000" cy="252000"/>
            </a:xfrm>
            <a:prstGeom prst="rect">
              <a:avLst/>
            </a:prstGeom>
            <a:solidFill>
              <a:srgbClr val="FFFFFF"/>
            </a:solidFill>
            <a:ln w="19050" cap="rnd">
              <a:solidFill>
                <a:srgbClr val="FFFFFF">
                  <a:lumMod val="95000"/>
                </a:srgbClr>
              </a:solidFill>
              <a:miter lim="800000"/>
              <a:headEnd/>
              <a:tailEnd/>
            </a:ln>
          </p:spPr>
          <p:txBody>
            <a:bodyPr lIns="85286" tIns="42642" rIns="85286" bIns="42642"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30" name="Rectangle 112">
              <a:extLst>
                <a:ext uri="{FF2B5EF4-FFF2-40B4-BE49-F238E27FC236}">
                  <a16:creationId xmlns:a16="http://schemas.microsoft.com/office/drawing/2014/main" id="{E29CC9A4-DBFD-424F-8E47-FDBA9C100B47}"/>
                </a:ext>
              </a:extLst>
            </p:cNvPr>
            <p:cNvSpPr>
              <a:spLocks noChangeArrowheads="1"/>
            </p:cNvSpPr>
            <p:nvPr/>
          </p:nvSpPr>
          <p:spPr bwMode="auto">
            <a:xfrm>
              <a:off x="5986525" y="1438537"/>
              <a:ext cx="1766242" cy="366610"/>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Other</a:t>
              </a:r>
            </a:p>
          </p:txBody>
        </p:sp>
        <p:sp>
          <p:nvSpPr>
            <p:cNvPr id="31" name="Rectangle 112">
              <a:extLst>
                <a:ext uri="{FF2B5EF4-FFF2-40B4-BE49-F238E27FC236}">
                  <a16:creationId xmlns:a16="http://schemas.microsoft.com/office/drawing/2014/main" id="{A3562B67-48EA-EC4D-9762-D32763A337A0}"/>
                </a:ext>
              </a:extLst>
            </p:cNvPr>
            <p:cNvSpPr>
              <a:spLocks noChangeArrowheads="1"/>
            </p:cNvSpPr>
            <p:nvPr/>
          </p:nvSpPr>
          <p:spPr bwMode="auto">
            <a:xfrm>
              <a:off x="6608024" y="1507901"/>
              <a:ext cx="252000" cy="252000"/>
            </a:xfrm>
            <a:prstGeom prst="rect">
              <a:avLst/>
            </a:prstGeom>
            <a:solidFill>
              <a:srgbClr val="FFFFFF"/>
            </a:solidFill>
            <a:ln w="19050" cap="rnd">
              <a:solidFill>
                <a:srgbClr val="FFFFFF">
                  <a:lumMod val="95000"/>
                </a:srgbClr>
              </a:solidFill>
              <a:miter lim="800000"/>
              <a:headEnd/>
              <a:tailEnd/>
            </a:ln>
          </p:spPr>
          <p:txBody>
            <a:bodyPr lIns="85286" tIns="42642" rIns="85286" bIns="42642"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sym typeface="+mn-lt"/>
              </a:endParaRPr>
            </a:p>
          </p:txBody>
        </p:sp>
      </p:grpSp>
      <p:sp>
        <p:nvSpPr>
          <p:cNvPr id="32" name="Rectangle 112">
            <a:extLst>
              <a:ext uri="{FF2B5EF4-FFF2-40B4-BE49-F238E27FC236}">
                <a16:creationId xmlns:a16="http://schemas.microsoft.com/office/drawing/2014/main" id="{6B2DA41B-20C6-1740-B125-D0500532AC2F}"/>
              </a:ext>
            </a:extLst>
          </p:cNvPr>
          <p:cNvSpPr>
            <a:spLocks noChangeArrowheads="1"/>
          </p:cNvSpPr>
          <p:nvPr/>
        </p:nvSpPr>
        <p:spPr bwMode="auto">
          <a:xfrm>
            <a:off x="371475" y="5180441"/>
            <a:ext cx="392273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 Scope</a:t>
            </a:r>
          </a:p>
        </p:txBody>
      </p:sp>
      <p:sp>
        <p:nvSpPr>
          <p:cNvPr id="15" name="Rectangle 116">
            <a:extLst>
              <a:ext uri="{FF2B5EF4-FFF2-40B4-BE49-F238E27FC236}">
                <a16:creationId xmlns:a16="http://schemas.microsoft.com/office/drawing/2014/main" id="{F6CFC7F9-0766-474D-8C49-53D26278F09A}"/>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6" name="Rectangle 116">
            <a:extLst>
              <a:ext uri="{FF2B5EF4-FFF2-40B4-BE49-F238E27FC236}">
                <a16:creationId xmlns:a16="http://schemas.microsoft.com/office/drawing/2014/main" id="{3ABBF582-17BD-8B49-9124-A79273C3584E}"/>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Sattar </a:t>
            </a:r>
            <a:r>
              <a:rPr kumimoji="0" lang="en-US" sz="1300" b="0" i="0" u="none" strike="noStrike" kern="0" cap="none" spc="0" normalizeH="0" baseline="0" noProof="0" dirty="0" err="1">
                <a:ln>
                  <a:noFill/>
                </a:ln>
                <a:solidFill>
                  <a:srgbClr val="000000"/>
                </a:solidFill>
                <a:effectLst/>
                <a:uLnTx/>
                <a:uFillTx/>
                <a:latin typeface="Arial"/>
                <a:sym typeface="+mn-lt"/>
              </a:rPr>
              <a:t>Kazim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7" name="Rectangle 116">
            <a:extLst>
              <a:ext uri="{FF2B5EF4-FFF2-40B4-BE49-F238E27FC236}">
                <a16:creationId xmlns:a16="http://schemas.microsoft.com/office/drawing/2014/main" id="{20F8B678-BF21-9E42-BD1C-DAFE04926DF0}"/>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18" name="Rectangle 116">
            <a:extLst>
              <a:ext uri="{FF2B5EF4-FFF2-40B4-BE49-F238E27FC236}">
                <a16:creationId xmlns:a16="http://schemas.microsoft.com/office/drawing/2014/main" id="{6A5BE007-92D9-FD4A-9FA5-D04A5CAEEEB6}"/>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33" name="Rectangle 116">
            <a:extLst>
              <a:ext uri="{FF2B5EF4-FFF2-40B4-BE49-F238E27FC236}">
                <a16:creationId xmlns:a16="http://schemas.microsoft.com/office/drawing/2014/main" id="{E3198D02-4F48-194A-8119-C1D33BD06897}"/>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20 Jan 2021</a:t>
            </a:r>
          </a:p>
        </p:txBody>
      </p:sp>
      <p:sp>
        <p:nvSpPr>
          <p:cNvPr id="34" name="Rectangle 116">
            <a:extLst>
              <a:ext uri="{FF2B5EF4-FFF2-40B4-BE49-F238E27FC236}">
                <a16:creationId xmlns:a16="http://schemas.microsoft.com/office/drawing/2014/main" id="{42140BCC-63E5-E746-B7E7-DBF5203A7CAF}"/>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41" name="Rectangle 203">
            <a:extLst>
              <a:ext uri="{FF2B5EF4-FFF2-40B4-BE49-F238E27FC236}">
                <a16:creationId xmlns:a16="http://schemas.microsoft.com/office/drawing/2014/main" id="{D1940F19-0F0D-B140-845F-24D50A8AD3DB}"/>
              </a:ext>
            </a:extLst>
          </p:cNvPr>
          <p:cNvSpPr>
            <a:spLocks noChangeArrowheads="1"/>
          </p:cNvSpPr>
          <p:nvPr/>
        </p:nvSpPr>
        <p:spPr bwMode="auto">
          <a:xfrm>
            <a:off x="8218769" y="4398603"/>
            <a:ext cx="3601756" cy="2105954"/>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42" name="Rectangle 112">
            <a:extLst>
              <a:ext uri="{FF2B5EF4-FFF2-40B4-BE49-F238E27FC236}">
                <a16:creationId xmlns:a16="http://schemas.microsoft.com/office/drawing/2014/main" id="{E58FAB7B-FD84-4D44-ACC9-63265F6D20EA}"/>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55" name="Straight Connector 297">
            <a:extLst>
              <a:ext uri="{FF2B5EF4-FFF2-40B4-BE49-F238E27FC236}">
                <a16:creationId xmlns:a16="http://schemas.microsoft.com/office/drawing/2014/main" id="{6AC5FB45-A6C0-CA49-915D-157453F5A7E0}"/>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60" name="Straight Connector 297">
            <a:extLst>
              <a:ext uri="{FF2B5EF4-FFF2-40B4-BE49-F238E27FC236}">
                <a16:creationId xmlns:a16="http://schemas.microsoft.com/office/drawing/2014/main" id="{298CDE5C-3A69-2D4E-9B7F-BB501D9D09D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62" name="Straight Connector 297">
            <a:extLst>
              <a:ext uri="{FF2B5EF4-FFF2-40B4-BE49-F238E27FC236}">
                <a16:creationId xmlns:a16="http://schemas.microsoft.com/office/drawing/2014/main" id="{E02D7E17-96E4-054F-94D3-ADF5C4C7823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64" name="Straight Connector 297">
            <a:extLst>
              <a:ext uri="{FF2B5EF4-FFF2-40B4-BE49-F238E27FC236}">
                <a16:creationId xmlns:a16="http://schemas.microsoft.com/office/drawing/2014/main" id="{2DC74A7D-1682-0849-985E-54CD1CC63877}"/>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65" name="TextBox 64">
            <a:extLst>
              <a:ext uri="{FF2B5EF4-FFF2-40B4-BE49-F238E27FC236}">
                <a16:creationId xmlns:a16="http://schemas.microsoft.com/office/drawing/2014/main" id="{A9B8D68B-B7B5-F54F-ADF8-D017BDCA64C2}"/>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A206A885-D9C6-9045-BE5D-F67210534846}"/>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1928E04B-B910-B345-8EBC-CAD83584631B}"/>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04374844-F28F-2540-8CF2-FCF94A234FC3}"/>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40C6FED3-A51A-4748-98D9-40F94A0DD200}"/>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6328829B-A7CC-A848-9366-3A292F25536E}"/>
              </a:ext>
            </a:extLst>
          </p:cNvPr>
          <p:cNvSpPr txBox="1"/>
          <p:nvPr/>
        </p:nvSpPr>
        <p:spPr>
          <a:xfrm>
            <a:off x="11139676" y="453821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4B98D6DA-4140-304E-B326-52DC78050375}"/>
              </a:ext>
            </a:extLst>
          </p:cNvPr>
          <p:cNvSpPr txBox="1"/>
          <p:nvPr/>
        </p:nvSpPr>
        <p:spPr>
          <a:xfrm>
            <a:off x="11139676" y="4906976"/>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E633EE14-4DFD-A84E-BB8C-3E537CBDDC50}"/>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09F8EBAC-16AE-0D46-9AAA-EE33FED03E57}"/>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B7DCABA4-445B-2546-845E-1E725304B8A1}"/>
              </a:ext>
            </a:extLst>
          </p:cNvPr>
          <p:cNvSpPr txBox="1"/>
          <p:nvPr/>
        </p:nvSpPr>
        <p:spPr>
          <a:xfrm>
            <a:off x="11139676" y="6057238"/>
            <a:ext cx="636713"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80 MH</a:t>
            </a:r>
            <a:endParaRPr lang="ru-AZ" sz="1200" b="1" dirty="0">
              <a:latin typeface="Arial" panose="020B0604020202020204" pitchFamily="34" charset="0"/>
              <a:cs typeface="Arial" panose="020B0604020202020204" pitchFamily="34" charset="0"/>
            </a:endParaRPr>
          </a:p>
        </p:txBody>
      </p:sp>
      <p:sp>
        <p:nvSpPr>
          <p:cNvPr id="76" name="Rectangle 116">
            <a:extLst>
              <a:ext uri="{FF2B5EF4-FFF2-40B4-BE49-F238E27FC236}">
                <a16:creationId xmlns:a16="http://schemas.microsoft.com/office/drawing/2014/main" id="{A5E285EA-5398-0946-8E42-0ECBA10EAFE7}"/>
              </a:ext>
            </a:extLst>
          </p:cNvPr>
          <p:cNvSpPr>
            <a:spLocks noChangeArrowheads="1"/>
          </p:cNvSpPr>
          <p:nvPr/>
        </p:nvSpPr>
        <p:spPr bwMode="auto">
          <a:xfrm>
            <a:off x="8221040" y="1042123"/>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20 Jan 2020</a:t>
            </a:r>
          </a:p>
        </p:txBody>
      </p:sp>
      <p:sp>
        <p:nvSpPr>
          <p:cNvPr id="77" name="Rectangle 116">
            <a:extLst>
              <a:ext uri="{FF2B5EF4-FFF2-40B4-BE49-F238E27FC236}">
                <a16:creationId xmlns:a16="http://schemas.microsoft.com/office/drawing/2014/main" id="{EC919658-B75D-084F-BE2D-3A7CDA361AD4}"/>
              </a:ext>
            </a:extLst>
          </p:cNvPr>
          <p:cNvSpPr>
            <a:spLocks noChangeArrowheads="1"/>
          </p:cNvSpPr>
          <p:nvPr/>
        </p:nvSpPr>
        <p:spPr bwMode="auto">
          <a:xfrm>
            <a:off x="7042674" y="1035556"/>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118" name="Rectangle 203">
            <a:extLst>
              <a:ext uri="{FF2B5EF4-FFF2-40B4-BE49-F238E27FC236}">
                <a16:creationId xmlns:a16="http://schemas.microsoft.com/office/drawing/2014/main" id="{F314FCDB-97EB-E242-B534-AE7B57AE053A}"/>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119" name="Rectangle 112">
            <a:extLst>
              <a:ext uri="{FF2B5EF4-FFF2-40B4-BE49-F238E27FC236}">
                <a16:creationId xmlns:a16="http://schemas.microsoft.com/office/drawing/2014/main" id="{824BA694-CAEA-144F-96A2-5143390573FF}"/>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grpSp>
        <p:nvGrpSpPr>
          <p:cNvPr id="120" name="Группа 119">
            <a:extLst>
              <a:ext uri="{FF2B5EF4-FFF2-40B4-BE49-F238E27FC236}">
                <a16:creationId xmlns:a16="http://schemas.microsoft.com/office/drawing/2014/main" id="{3225CF0D-41A5-CC4E-A60B-D3B346A2D102}"/>
              </a:ext>
            </a:extLst>
          </p:cNvPr>
          <p:cNvGrpSpPr/>
          <p:nvPr/>
        </p:nvGrpSpPr>
        <p:grpSpPr>
          <a:xfrm>
            <a:off x="8218769" y="1675713"/>
            <a:ext cx="1561357" cy="2299625"/>
            <a:chOff x="8218769" y="1675713"/>
            <a:chExt cx="1561357" cy="2299625"/>
          </a:xfrm>
        </p:grpSpPr>
        <p:sp>
          <p:nvSpPr>
            <p:cNvPr id="121" name="Rectangle 203">
              <a:extLst>
                <a:ext uri="{FF2B5EF4-FFF2-40B4-BE49-F238E27FC236}">
                  <a16:creationId xmlns:a16="http://schemas.microsoft.com/office/drawing/2014/main" id="{54918BAD-9229-9643-AFFC-1FD524FECBEF}"/>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122" name="Rectangle 112">
              <a:extLst>
                <a:ext uri="{FF2B5EF4-FFF2-40B4-BE49-F238E27FC236}">
                  <a16:creationId xmlns:a16="http://schemas.microsoft.com/office/drawing/2014/main" id="{F5C87B06-F1E6-4348-B3B4-80C32AE11CB3}"/>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123" name="Straight Connector 297">
              <a:extLst>
                <a:ext uri="{FF2B5EF4-FFF2-40B4-BE49-F238E27FC236}">
                  <a16:creationId xmlns:a16="http://schemas.microsoft.com/office/drawing/2014/main" id="{BD3F49F1-D6F8-4245-A812-0310B228C91C}"/>
                </a:ext>
              </a:extLst>
            </p:cNvPr>
            <p:cNvCxnSpPr>
              <a:cxnSpLocks/>
            </p:cNvCxnSpPr>
            <p:nvPr/>
          </p:nvCxnSpPr>
          <p:spPr>
            <a:xfrm>
              <a:off x="8329088" y="2638044"/>
              <a:ext cx="1332693" cy="0"/>
            </a:xfrm>
            <a:prstGeom prst="line">
              <a:avLst/>
            </a:prstGeom>
            <a:noFill/>
            <a:ln w="9525" cap="flat" cmpd="sng" algn="ctr">
              <a:solidFill>
                <a:srgbClr val="808080"/>
              </a:solidFill>
              <a:prstDash val="sysDot"/>
            </a:ln>
            <a:effectLst/>
          </p:spPr>
        </p:cxnSp>
        <p:sp>
          <p:nvSpPr>
            <p:cNvPr id="124" name="TextBox 123">
              <a:extLst>
                <a:ext uri="{FF2B5EF4-FFF2-40B4-BE49-F238E27FC236}">
                  <a16:creationId xmlns:a16="http://schemas.microsoft.com/office/drawing/2014/main" id="{897BF50D-1587-FE40-A057-9A04591FA661}"/>
                </a:ext>
              </a:extLst>
            </p:cNvPr>
            <p:cNvSpPr txBox="1"/>
            <p:nvPr/>
          </p:nvSpPr>
          <p:spPr>
            <a:xfrm>
              <a:off x="8247191" y="2131121"/>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125" name="TextBox 124">
              <a:extLst>
                <a:ext uri="{FF2B5EF4-FFF2-40B4-BE49-F238E27FC236}">
                  <a16:creationId xmlns:a16="http://schemas.microsoft.com/office/drawing/2014/main" id="{F5D58B9E-0CAC-D448-8E04-2E591DF2817B}"/>
                </a:ext>
              </a:extLst>
            </p:cNvPr>
            <p:cNvSpPr txBox="1"/>
            <p:nvPr/>
          </p:nvSpPr>
          <p:spPr>
            <a:xfrm>
              <a:off x="8247191" y="2698099"/>
              <a:ext cx="1048685" cy="400110"/>
            </a:xfrm>
            <a:prstGeom prst="rect">
              <a:avLst/>
            </a:prstGeom>
            <a:noFill/>
          </p:spPr>
          <p:txBody>
            <a:bodyPr wrap="none" rtlCol="0">
              <a:spAutoFit/>
            </a:bodyPr>
            <a:lstStyle/>
            <a:p>
              <a:r>
                <a:rPr lang="en-US" sz="1000" b="1" dirty="0">
                  <a:latin typeface="Arial" panose="020B0604020202020204" pitchFamily="34" charset="0"/>
                  <a:cs typeface="Arial" panose="020B0604020202020204" pitchFamily="34" charset="0"/>
                </a:rPr>
                <a:t>CAPEX</a:t>
              </a:r>
            </a:p>
            <a:p>
              <a:r>
                <a:rPr lang="en-US" sz="1000" b="1" dirty="0">
                  <a:latin typeface="Arial" panose="020B0604020202020204" pitchFamily="34" charset="0"/>
                  <a:cs typeface="Arial" panose="020B0604020202020204" pitchFamily="34" charset="0"/>
                </a:rPr>
                <a:t>1,800,000 AZN</a:t>
              </a:r>
            </a:p>
          </p:txBody>
        </p:sp>
        <p:sp>
          <p:nvSpPr>
            <p:cNvPr id="126" name="TextBox 125">
              <a:extLst>
                <a:ext uri="{FF2B5EF4-FFF2-40B4-BE49-F238E27FC236}">
                  <a16:creationId xmlns:a16="http://schemas.microsoft.com/office/drawing/2014/main" id="{3BBB9EA4-AB8D-FD41-8A96-F764D734AACC}"/>
                </a:ext>
              </a:extLst>
            </p:cNvPr>
            <p:cNvSpPr txBox="1"/>
            <p:nvPr/>
          </p:nvSpPr>
          <p:spPr>
            <a:xfrm>
              <a:off x="8236589" y="3088726"/>
              <a:ext cx="934871" cy="400110"/>
            </a:xfrm>
            <a:prstGeom prst="rect">
              <a:avLst/>
            </a:prstGeom>
            <a:noFill/>
          </p:spPr>
          <p:txBody>
            <a:bodyPr wrap="none" rtlCol="0">
              <a:spAutoFit/>
            </a:bodyPr>
            <a:lstStyle/>
            <a:p>
              <a:r>
                <a:rPr lang="en-US" sz="1000" b="1" dirty="0">
                  <a:latin typeface="Arial" panose="020B0604020202020204" pitchFamily="34" charset="0"/>
                  <a:cs typeface="Arial" panose="020B0604020202020204" pitchFamily="34" charset="0"/>
                </a:rPr>
                <a:t>OPEX</a:t>
              </a:r>
            </a:p>
            <a:p>
              <a:r>
                <a:rPr lang="en-US" sz="1000" b="1" dirty="0">
                  <a:latin typeface="Arial" panose="020B0604020202020204" pitchFamily="34" charset="0"/>
                  <a:cs typeface="Arial" panose="020B0604020202020204" pitchFamily="34" charset="0"/>
                </a:rPr>
                <a:t>200,000 AZN</a:t>
              </a:r>
            </a:p>
          </p:txBody>
        </p:sp>
      </p:grpSp>
      <p:cxnSp>
        <p:nvCxnSpPr>
          <p:cNvPr id="129" name="Straight Connector 297">
            <a:extLst>
              <a:ext uri="{FF2B5EF4-FFF2-40B4-BE49-F238E27FC236}">
                <a16:creationId xmlns:a16="http://schemas.microsoft.com/office/drawing/2014/main" id="{FD186665-6261-A142-BDC9-D7BA3C7DFE64}"/>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30" name="Straight Connector 297">
            <a:extLst>
              <a:ext uri="{FF2B5EF4-FFF2-40B4-BE49-F238E27FC236}">
                <a16:creationId xmlns:a16="http://schemas.microsoft.com/office/drawing/2014/main" id="{289957B6-D825-294E-ABCF-3E130A7306A8}"/>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31" name="Straight Connector 297">
            <a:extLst>
              <a:ext uri="{FF2B5EF4-FFF2-40B4-BE49-F238E27FC236}">
                <a16:creationId xmlns:a16="http://schemas.microsoft.com/office/drawing/2014/main" id="{DF3F7653-4E25-AB40-B451-BD2A2CD9AA08}"/>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32" name="Straight Connector 297">
            <a:extLst>
              <a:ext uri="{FF2B5EF4-FFF2-40B4-BE49-F238E27FC236}">
                <a16:creationId xmlns:a16="http://schemas.microsoft.com/office/drawing/2014/main" id="{95FEAF71-662C-5F42-8385-EB11C29749C3}"/>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9A27084F-090B-DB4D-8DAB-4739822DD30A}"/>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EF44A8B1-614F-1948-B759-C779834F9953}"/>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35" name="TextBox 134">
            <a:extLst>
              <a:ext uri="{FF2B5EF4-FFF2-40B4-BE49-F238E27FC236}">
                <a16:creationId xmlns:a16="http://schemas.microsoft.com/office/drawing/2014/main" id="{F54F3E30-9A83-D74F-A56D-6E15D3AA226E}"/>
              </a:ext>
            </a:extLst>
          </p:cNvPr>
          <p:cNvSpPr txBox="1"/>
          <p:nvPr/>
        </p:nvSpPr>
        <p:spPr>
          <a:xfrm>
            <a:off x="9910901" y="208098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3397C918-656E-AF46-AAA5-43C96D78AF66}"/>
              </a:ext>
            </a:extLst>
          </p:cNvPr>
          <p:cNvSpPr txBox="1"/>
          <p:nvPr/>
        </p:nvSpPr>
        <p:spPr>
          <a:xfrm>
            <a:off x="9910901" y="238688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4009A952-6DB1-DE48-92CF-883FB6C157A5}"/>
              </a:ext>
            </a:extLst>
          </p:cNvPr>
          <p:cNvSpPr txBox="1"/>
          <p:nvPr/>
        </p:nvSpPr>
        <p:spPr>
          <a:xfrm>
            <a:off x="9910901" y="267995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6F382AA6-B2B5-1C4A-A9D5-F49B1004E157}"/>
              </a:ext>
            </a:extLst>
          </p:cNvPr>
          <p:cNvSpPr txBox="1"/>
          <p:nvPr/>
        </p:nvSpPr>
        <p:spPr>
          <a:xfrm>
            <a:off x="9905793" y="298211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5AA4C6F3-7432-3348-A841-2B479F37D249}"/>
              </a:ext>
            </a:extLst>
          </p:cNvPr>
          <p:cNvSpPr txBox="1"/>
          <p:nvPr/>
        </p:nvSpPr>
        <p:spPr>
          <a:xfrm>
            <a:off x="9910901" y="330511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40" name="TextBox 139">
            <a:extLst>
              <a:ext uri="{FF2B5EF4-FFF2-40B4-BE49-F238E27FC236}">
                <a16:creationId xmlns:a16="http://schemas.microsoft.com/office/drawing/2014/main" id="{405AA561-ECFE-7D43-8469-012DAD9B7792}"/>
              </a:ext>
            </a:extLst>
          </p:cNvPr>
          <p:cNvSpPr txBox="1"/>
          <p:nvPr/>
        </p:nvSpPr>
        <p:spPr>
          <a:xfrm>
            <a:off x="9910901" y="362456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pic>
        <p:nvPicPr>
          <p:cNvPr id="69" name="Рисунок 68" descr="Изображение выглядит как объект, часы, поезд&#10;&#10;Автоматически созданное описание">
            <a:extLst>
              <a:ext uri="{FF2B5EF4-FFF2-40B4-BE49-F238E27FC236}">
                <a16:creationId xmlns:a16="http://schemas.microsoft.com/office/drawing/2014/main" id="{C9854E4F-3768-9748-85E1-1CDD17B668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9806741">
            <a:off x="9892883" y="5262385"/>
            <a:ext cx="1996948" cy="676691"/>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571828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marL="0" marR="0" lvl="0" indent="0" algn="l" defTabSz="1242752" rtl="0" eaLnBrk="1" fontAlgn="base" latinLnBrk="0" hangingPunct="1">
              <a:lnSpc>
                <a:spcPct val="100000"/>
              </a:lnSpc>
              <a:spcBef>
                <a:spcPct val="0"/>
              </a:spcBef>
              <a:spcAft>
                <a:spcPct val="0"/>
              </a:spcAft>
              <a:buClrTx/>
              <a:buSzTx/>
              <a:buFontTx/>
              <a:buNone/>
              <a:tabLst/>
              <a:defRPr/>
            </a:pPr>
            <a: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Mobile Banking v2.0</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Passport: Timeline</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cxnSp>
        <p:nvCxnSpPr>
          <p:cNvPr id="56" name="Straight Connector 77">
            <a:extLst>
              <a:ext uri="{FF2B5EF4-FFF2-40B4-BE49-F238E27FC236}">
                <a16:creationId xmlns:a16="http://schemas.microsoft.com/office/drawing/2014/main" id="{299A3362-39DE-904E-8131-438B4D4E9940}"/>
              </a:ext>
            </a:extLst>
          </p:cNvPr>
          <p:cNvCxnSpPr/>
          <p:nvPr/>
        </p:nvCxnSpPr>
        <p:spPr>
          <a:xfrm>
            <a:off x="7224258"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78">
            <a:extLst>
              <a:ext uri="{FF2B5EF4-FFF2-40B4-BE49-F238E27FC236}">
                <a16:creationId xmlns:a16="http://schemas.microsoft.com/office/drawing/2014/main" id="{6BB9FEDB-AA4D-A941-BD7A-67E36BAB4839}"/>
              </a:ext>
            </a:extLst>
          </p:cNvPr>
          <p:cNvCxnSpPr/>
          <p:nvPr/>
        </p:nvCxnSpPr>
        <p:spPr>
          <a:xfrm>
            <a:off x="7494123"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79">
            <a:extLst>
              <a:ext uri="{FF2B5EF4-FFF2-40B4-BE49-F238E27FC236}">
                <a16:creationId xmlns:a16="http://schemas.microsoft.com/office/drawing/2014/main" id="{6CB402B7-68E4-8A45-BA66-4FF4BB73F080}"/>
              </a:ext>
            </a:extLst>
          </p:cNvPr>
          <p:cNvCxnSpPr/>
          <p:nvPr/>
        </p:nvCxnSpPr>
        <p:spPr>
          <a:xfrm>
            <a:off x="7763988"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80">
            <a:extLst>
              <a:ext uri="{FF2B5EF4-FFF2-40B4-BE49-F238E27FC236}">
                <a16:creationId xmlns:a16="http://schemas.microsoft.com/office/drawing/2014/main" id="{61A208DB-6531-054F-8AD9-50251C9E770C}"/>
              </a:ext>
            </a:extLst>
          </p:cNvPr>
          <p:cNvCxnSpPr/>
          <p:nvPr/>
        </p:nvCxnSpPr>
        <p:spPr>
          <a:xfrm>
            <a:off x="8004074" y="1247346"/>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 name="Straight Connector 81">
            <a:extLst>
              <a:ext uri="{FF2B5EF4-FFF2-40B4-BE49-F238E27FC236}">
                <a16:creationId xmlns:a16="http://schemas.microsoft.com/office/drawing/2014/main" id="{51CC6E3D-69DE-3C41-9020-EAC7328835BB}"/>
              </a:ext>
            </a:extLst>
          </p:cNvPr>
          <p:cNvCxnSpPr/>
          <p:nvPr/>
        </p:nvCxnSpPr>
        <p:spPr>
          <a:xfrm>
            <a:off x="8313492"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 name="Straight Connector 82">
            <a:extLst>
              <a:ext uri="{FF2B5EF4-FFF2-40B4-BE49-F238E27FC236}">
                <a16:creationId xmlns:a16="http://schemas.microsoft.com/office/drawing/2014/main" id="{2DDBF741-C5B7-594D-AADE-FED286167B94}"/>
              </a:ext>
            </a:extLst>
          </p:cNvPr>
          <p:cNvCxnSpPr/>
          <p:nvPr/>
        </p:nvCxnSpPr>
        <p:spPr>
          <a:xfrm>
            <a:off x="8573582"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Connector 83">
            <a:extLst>
              <a:ext uri="{FF2B5EF4-FFF2-40B4-BE49-F238E27FC236}">
                <a16:creationId xmlns:a16="http://schemas.microsoft.com/office/drawing/2014/main" id="{DDACCC0D-E0BE-A046-9B84-D9AC9D3F933C}"/>
              </a:ext>
            </a:extLst>
          </p:cNvPr>
          <p:cNvCxnSpPr/>
          <p:nvPr/>
        </p:nvCxnSpPr>
        <p:spPr>
          <a:xfrm>
            <a:off x="8843447"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 name="Straight Connector 84">
            <a:extLst>
              <a:ext uri="{FF2B5EF4-FFF2-40B4-BE49-F238E27FC236}">
                <a16:creationId xmlns:a16="http://schemas.microsoft.com/office/drawing/2014/main" id="{8F2B518F-577E-5446-9E57-592A4EDA93AB}"/>
              </a:ext>
            </a:extLst>
          </p:cNvPr>
          <p:cNvCxnSpPr/>
          <p:nvPr/>
        </p:nvCxnSpPr>
        <p:spPr>
          <a:xfrm>
            <a:off x="9113312"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85">
            <a:extLst>
              <a:ext uri="{FF2B5EF4-FFF2-40B4-BE49-F238E27FC236}">
                <a16:creationId xmlns:a16="http://schemas.microsoft.com/office/drawing/2014/main" id="{EDA190D3-E174-5E4B-A393-BED54FCE3BE4}"/>
              </a:ext>
            </a:extLst>
          </p:cNvPr>
          <p:cNvCxnSpPr/>
          <p:nvPr/>
        </p:nvCxnSpPr>
        <p:spPr>
          <a:xfrm>
            <a:off x="9383176"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86">
            <a:extLst>
              <a:ext uri="{FF2B5EF4-FFF2-40B4-BE49-F238E27FC236}">
                <a16:creationId xmlns:a16="http://schemas.microsoft.com/office/drawing/2014/main" id="{09B24DA1-AD71-B545-88E1-6437C6A13BD1}"/>
              </a:ext>
            </a:extLst>
          </p:cNvPr>
          <p:cNvCxnSpPr/>
          <p:nvPr/>
        </p:nvCxnSpPr>
        <p:spPr>
          <a:xfrm>
            <a:off x="9653041"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87">
            <a:extLst>
              <a:ext uri="{FF2B5EF4-FFF2-40B4-BE49-F238E27FC236}">
                <a16:creationId xmlns:a16="http://schemas.microsoft.com/office/drawing/2014/main" id="{060A706C-621B-A04C-A091-89B1D2FC4C82}"/>
              </a:ext>
            </a:extLst>
          </p:cNvPr>
          <p:cNvCxnSpPr/>
          <p:nvPr/>
        </p:nvCxnSpPr>
        <p:spPr>
          <a:xfrm>
            <a:off x="9922906"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88">
            <a:extLst>
              <a:ext uri="{FF2B5EF4-FFF2-40B4-BE49-F238E27FC236}">
                <a16:creationId xmlns:a16="http://schemas.microsoft.com/office/drawing/2014/main" id="{9DC2576B-3768-0E42-B092-4C4275621754}"/>
              </a:ext>
            </a:extLst>
          </p:cNvPr>
          <p:cNvCxnSpPr/>
          <p:nvPr/>
        </p:nvCxnSpPr>
        <p:spPr>
          <a:xfrm>
            <a:off x="10192771"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Straight Connector 89">
            <a:extLst>
              <a:ext uri="{FF2B5EF4-FFF2-40B4-BE49-F238E27FC236}">
                <a16:creationId xmlns:a16="http://schemas.microsoft.com/office/drawing/2014/main" id="{E1940384-EAED-9442-8734-A89A1500C0D8}"/>
              </a:ext>
            </a:extLst>
          </p:cNvPr>
          <p:cNvCxnSpPr/>
          <p:nvPr/>
        </p:nvCxnSpPr>
        <p:spPr>
          <a:xfrm>
            <a:off x="10462636"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2" name="Straight Connector 90">
            <a:extLst>
              <a:ext uri="{FF2B5EF4-FFF2-40B4-BE49-F238E27FC236}">
                <a16:creationId xmlns:a16="http://schemas.microsoft.com/office/drawing/2014/main" id="{D04BD0D4-5849-164E-BC53-83C69934884E}"/>
              </a:ext>
            </a:extLst>
          </p:cNvPr>
          <p:cNvCxnSpPr/>
          <p:nvPr/>
        </p:nvCxnSpPr>
        <p:spPr>
          <a:xfrm>
            <a:off x="10732500"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3" name="Straight Connector 91">
            <a:extLst>
              <a:ext uri="{FF2B5EF4-FFF2-40B4-BE49-F238E27FC236}">
                <a16:creationId xmlns:a16="http://schemas.microsoft.com/office/drawing/2014/main" id="{35A28BC4-F4BD-044A-86A1-E425DB3F8D1F}"/>
              </a:ext>
            </a:extLst>
          </p:cNvPr>
          <p:cNvCxnSpPr/>
          <p:nvPr/>
        </p:nvCxnSpPr>
        <p:spPr>
          <a:xfrm>
            <a:off x="11002365"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4" name="Straight Connector 92">
            <a:extLst>
              <a:ext uri="{FF2B5EF4-FFF2-40B4-BE49-F238E27FC236}">
                <a16:creationId xmlns:a16="http://schemas.microsoft.com/office/drawing/2014/main" id="{72937638-C8CE-2247-A31B-94FD84D65377}"/>
              </a:ext>
            </a:extLst>
          </p:cNvPr>
          <p:cNvCxnSpPr/>
          <p:nvPr/>
        </p:nvCxnSpPr>
        <p:spPr>
          <a:xfrm>
            <a:off x="11272230"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5" name="Straight Connector 93">
            <a:extLst>
              <a:ext uri="{FF2B5EF4-FFF2-40B4-BE49-F238E27FC236}">
                <a16:creationId xmlns:a16="http://schemas.microsoft.com/office/drawing/2014/main" id="{ABA13A91-C31D-AF44-8DB7-839C659D5970}"/>
              </a:ext>
            </a:extLst>
          </p:cNvPr>
          <p:cNvCxnSpPr/>
          <p:nvPr/>
        </p:nvCxnSpPr>
        <p:spPr>
          <a:xfrm>
            <a:off x="11542095"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6" name="Straight Connector 94">
            <a:extLst>
              <a:ext uri="{FF2B5EF4-FFF2-40B4-BE49-F238E27FC236}">
                <a16:creationId xmlns:a16="http://schemas.microsoft.com/office/drawing/2014/main" id="{0DAAF4F0-F02A-BC4C-9FED-52A4FB810229}"/>
              </a:ext>
            </a:extLst>
          </p:cNvPr>
          <p:cNvCxnSpPr/>
          <p:nvPr/>
        </p:nvCxnSpPr>
        <p:spPr>
          <a:xfrm>
            <a:off x="11811959"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7" name="Straight Connector 95">
            <a:extLst>
              <a:ext uri="{FF2B5EF4-FFF2-40B4-BE49-F238E27FC236}">
                <a16:creationId xmlns:a16="http://schemas.microsoft.com/office/drawing/2014/main" id="{5542FD73-E4D1-9F41-A9C5-8B7FD82721FB}"/>
              </a:ext>
            </a:extLst>
          </p:cNvPr>
          <p:cNvCxnSpPr/>
          <p:nvPr/>
        </p:nvCxnSpPr>
        <p:spPr>
          <a:xfrm>
            <a:off x="12081823" y="1254561"/>
            <a:ext cx="0" cy="53226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8" name="Group 317">
            <a:extLst>
              <a:ext uri="{FF2B5EF4-FFF2-40B4-BE49-F238E27FC236}">
                <a16:creationId xmlns:a16="http://schemas.microsoft.com/office/drawing/2014/main" id="{BCC62544-CBF5-0743-9F88-163290FCAF09}"/>
              </a:ext>
            </a:extLst>
          </p:cNvPr>
          <p:cNvGrpSpPr/>
          <p:nvPr/>
        </p:nvGrpSpPr>
        <p:grpSpPr>
          <a:xfrm>
            <a:off x="7235307" y="757394"/>
            <a:ext cx="4819687" cy="473417"/>
            <a:chOff x="7040958" y="664057"/>
            <a:chExt cx="4819687" cy="473417"/>
          </a:xfrm>
        </p:grpSpPr>
        <p:sp>
          <p:nvSpPr>
            <p:cNvPr id="89" name="Rectangle 10">
              <a:extLst>
                <a:ext uri="{FF2B5EF4-FFF2-40B4-BE49-F238E27FC236}">
                  <a16:creationId xmlns:a16="http://schemas.microsoft.com/office/drawing/2014/main" id="{3A22CE75-02DE-7A48-9F23-FC6903DF7A82}"/>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90" name="Straight Connector 15">
              <a:extLst>
                <a:ext uri="{FF2B5EF4-FFF2-40B4-BE49-F238E27FC236}">
                  <a16:creationId xmlns:a16="http://schemas.microsoft.com/office/drawing/2014/main" id="{6C2604D2-AF98-6448-AD18-2064D7DC04FA}"/>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1" name="Rectangle 10">
              <a:extLst>
                <a:ext uri="{FF2B5EF4-FFF2-40B4-BE49-F238E27FC236}">
                  <a16:creationId xmlns:a16="http://schemas.microsoft.com/office/drawing/2014/main" id="{9FB3B320-0566-BA4C-8CEB-BEF70734798E}"/>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92" name="Straight Connector 21">
              <a:extLst>
                <a:ext uri="{FF2B5EF4-FFF2-40B4-BE49-F238E27FC236}">
                  <a16:creationId xmlns:a16="http://schemas.microsoft.com/office/drawing/2014/main" id="{BA4A6A9B-91E2-A24D-8906-AF57F749790C}"/>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3" name="Rectangle 10">
              <a:extLst>
                <a:ext uri="{FF2B5EF4-FFF2-40B4-BE49-F238E27FC236}">
                  <a16:creationId xmlns:a16="http://schemas.microsoft.com/office/drawing/2014/main" id="{EAA29C48-594D-A445-8EB6-E2FEC41F39DD}"/>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94" name="Straight Connector 24">
              <a:extLst>
                <a:ext uri="{FF2B5EF4-FFF2-40B4-BE49-F238E27FC236}">
                  <a16:creationId xmlns:a16="http://schemas.microsoft.com/office/drawing/2014/main" id="{6E127466-1A30-554C-A14F-FACBC8BA8BBA}"/>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5" name="Rectangle 10">
              <a:extLst>
                <a:ext uri="{FF2B5EF4-FFF2-40B4-BE49-F238E27FC236}">
                  <a16:creationId xmlns:a16="http://schemas.microsoft.com/office/drawing/2014/main" id="{F877104D-3478-5246-AA5E-8C7940707B47}"/>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96" name="Straight Connector 27">
              <a:extLst>
                <a:ext uri="{FF2B5EF4-FFF2-40B4-BE49-F238E27FC236}">
                  <a16:creationId xmlns:a16="http://schemas.microsoft.com/office/drawing/2014/main" id="{0C9C1D14-BFAD-AE41-BBF8-108B2B9CD7EC}"/>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7" name="Rectangle 10">
              <a:extLst>
                <a:ext uri="{FF2B5EF4-FFF2-40B4-BE49-F238E27FC236}">
                  <a16:creationId xmlns:a16="http://schemas.microsoft.com/office/drawing/2014/main" id="{0CB2AA46-39C2-F845-AE0C-3D6B9D5EA357}"/>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98" name="Straight Connector 30">
              <a:extLst>
                <a:ext uri="{FF2B5EF4-FFF2-40B4-BE49-F238E27FC236}">
                  <a16:creationId xmlns:a16="http://schemas.microsoft.com/office/drawing/2014/main" id="{0DE3AD49-7FBB-BE4C-9F00-728734E3CF3B}"/>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9" name="Rectangle 10">
              <a:extLst>
                <a:ext uri="{FF2B5EF4-FFF2-40B4-BE49-F238E27FC236}">
                  <a16:creationId xmlns:a16="http://schemas.microsoft.com/office/drawing/2014/main" id="{76B3A971-BA0F-FA4D-8739-BB7471C57244}"/>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100" name="Straight Connector 18">
              <a:extLst>
                <a:ext uri="{FF2B5EF4-FFF2-40B4-BE49-F238E27FC236}">
                  <a16:creationId xmlns:a16="http://schemas.microsoft.com/office/drawing/2014/main" id="{2F3C649A-5FC2-294B-8399-B54423C012E2}"/>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1" name="Rectangle 10">
              <a:extLst>
                <a:ext uri="{FF2B5EF4-FFF2-40B4-BE49-F238E27FC236}">
                  <a16:creationId xmlns:a16="http://schemas.microsoft.com/office/drawing/2014/main" id="{1B68830C-1761-9749-B57E-01AE6E63C29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102" name="Straight Connector 33">
              <a:extLst>
                <a:ext uri="{FF2B5EF4-FFF2-40B4-BE49-F238E27FC236}">
                  <a16:creationId xmlns:a16="http://schemas.microsoft.com/office/drawing/2014/main" id="{02EE409E-0AE0-9845-AAB1-FD9152CF38FF}"/>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3" name="Rectangle 10">
              <a:extLst>
                <a:ext uri="{FF2B5EF4-FFF2-40B4-BE49-F238E27FC236}">
                  <a16:creationId xmlns:a16="http://schemas.microsoft.com/office/drawing/2014/main" id="{0A07EB86-8065-6343-A3BD-BA3A813C8429}"/>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104" name="Straight Connector 39">
              <a:extLst>
                <a:ext uri="{FF2B5EF4-FFF2-40B4-BE49-F238E27FC236}">
                  <a16:creationId xmlns:a16="http://schemas.microsoft.com/office/drawing/2014/main" id="{F5ABAC74-BC0F-C840-86B8-306E974A0D27}"/>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5" name="Rectangle 10">
              <a:extLst>
                <a:ext uri="{FF2B5EF4-FFF2-40B4-BE49-F238E27FC236}">
                  <a16:creationId xmlns:a16="http://schemas.microsoft.com/office/drawing/2014/main" id="{B29BF1E4-416D-8E48-83B1-A6CEBA01CFD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106" name="Straight Connector 42">
              <a:extLst>
                <a:ext uri="{FF2B5EF4-FFF2-40B4-BE49-F238E27FC236}">
                  <a16:creationId xmlns:a16="http://schemas.microsoft.com/office/drawing/2014/main" id="{F2641CAF-20D9-404E-AD3A-B41FFEDC9AF2}"/>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7" name="Rectangle 10">
              <a:extLst>
                <a:ext uri="{FF2B5EF4-FFF2-40B4-BE49-F238E27FC236}">
                  <a16:creationId xmlns:a16="http://schemas.microsoft.com/office/drawing/2014/main" id="{B6BC1FCD-B553-4F49-BCB0-207AB36461B7}"/>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08" name="Straight Connector 45">
              <a:extLst>
                <a:ext uri="{FF2B5EF4-FFF2-40B4-BE49-F238E27FC236}">
                  <a16:creationId xmlns:a16="http://schemas.microsoft.com/office/drawing/2014/main" id="{47ECB6BE-BFCA-264B-AE8F-C21B39C22D24}"/>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9" name="Rectangle 10">
              <a:extLst>
                <a:ext uri="{FF2B5EF4-FFF2-40B4-BE49-F238E27FC236}">
                  <a16:creationId xmlns:a16="http://schemas.microsoft.com/office/drawing/2014/main" id="{0F213095-169F-2F46-BB70-16AAE696A750}"/>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10" name="Straight Connector 48">
              <a:extLst>
                <a:ext uri="{FF2B5EF4-FFF2-40B4-BE49-F238E27FC236}">
                  <a16:creationId xmlns:a16="http://schemas.microsoft.com/office/drawing/2014/main" id="{6CC02AC0-27AA-DA41-93DF-98215F54DCCE}"/>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1" name="Rectangle 10">
              <a:extLst>
                <a:ext uri="{FF2B5EF4-FFF2-40B4-BE49-F238E27FC236}">
                  <a16:creationId xmlns:a16="http://schemas.microsoft.com/office/drawing/2014/main" id="{B4497C28-E177-F64B-AA0B-1C5A5CAE0132}"/>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112" name="Straight Connector 51">
              <a:extLst>
                <a:ext uri="{FF2B5EF4-FFF2-40B4-BE49-F238E27FC236}">
                  <a16:creationId xmlns:a16="http://schemas.microsoft.com/office/drawing/2014/main" id="{0DC567CA-6224-9142-A7D1-7F84936BE58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3" name="Rectangle 10">
              <a:extLst>
                <a:ext uri="{FF2B5EF4-FFF2-40B4-BE49-F238E27FC236}">
                  <a16:creationId xmlns:a16="http://schemas.microsoft.com/office/drawing/2014/main" id="{A64201C1-38E3-014E-AB3E-23D516CC9DE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114" name="Straight Connector 54">
              <a:extLst>
                <a:ext uri="{FF2B5EF4-FFF2-40B4-BE49-F238E27FC236}">
                  <a16:creationId xmlns:a16="http://schemas.microsoft.com/office/drawing/2014/main" id="{BA63F5EF-7D35-B148-A4DA-276DDF6B5D4B}"/>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5" name="Rectangle 10">
              <a:extLst>
                <a:ext uri="{FF2B5EF4-FFF2-40B4-BE49-F238E27FC236}">
                  <a16:creationId xmlns:a16="http://schemas.microsoft.com/office/drawing/2014/main" id="{B3A2BB2C-6B04-784E-8DA3-CED196DBF7F2}"/>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116" name="Straight Connector 57">
              <a:extLst>
                <a:ext uri="{FF2B5EF4-FFF2-40B4-BE49-F238E27FC236}">
                  <a16:creationId xmlns:a16="http://schemas.microsoft.com/office/drawing/2014/main" id="{6595D7EC-CA7A-934F-99A6-0DD96845C1B0}"/>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7" name="Rectangle 10">
              <a:extLst>
                <a:ext uri="{FF2B5EF4-FFF2-40B4-BE49-F238E27FC236}">
                  <a16:creationId xmlns:a16="http://schemas.microsoft.com/office/drawing/2014/main" id="{0403833E-B738-1840-A5B1-E7C8E41F2835}"/>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118" name="Straight Connector 60">
              <a:extLst>
                <a:ext uri="{FF2B5EF4-FFF2-40B4-BE49-F238E27FC236}">
                  <a16:creationId xmlns:a16="http://schemas.microsoft.com/office/drawing/2014/main" id="{927B2E54-D9B3-6348-B938-E439A1037522}"/>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Rectangle 10">
              <a:extLst>
                <a:ext uri="{FF2B5EF4-FFF2-40B4-BE49-F238E27FC236}">
                  <a16:creationId xmlns:a16="http://schemas.microsoft.com/office/drawing/2014/main" id="{C5AFEE7C-4A21-6540-9F84-9CD1071F3C48}"/>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120" name="Straight Connector 63">
              <a:extLst>
                <a:ext uri="{FF2B5EF4-FFF2-40B4-BE49-F238E27FC236}">
                  <a16:creationId xmlns:a16="http://schemas.microsoft.com/office/drawing/2014/main" id="{804C271C-38F2-4A41-8D74-0B9E7C8C85E3}"/>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1" name="Rectangle 10">
              <a:extLst>
                <a:ext uri="{FF2B5EF4-FFF2-40B4-BE49-F238E27FC236}">
                  <a16:creationId xmlns:a16="http://schemas.microsoft.com/office/drawing/2014/main" id="{51251DF9-367B-4145-AF98-5C4B5C5B75DA}"/>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122" name="Straight Connector 66">
              <a:extLst>
                <a:ext uri="{FF2B5EF4-FFF2-40B4-BE49-F238E27FC236}">
                  <a16:creationId xmlns:a16="http://schemas.microsoft.com/office/drawing/2014/main" id="{AAB8DE9A-0AFD-8E42-A25F-2D144FA41767}"/>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3" name="Rectangle 10">
              <a:extLst>
                <a:ext uri="{FF2B5EF4-FFF2-40B4-BE49-F238E27FC236}">
                  <a16:creationId xmlns:a16="http://schemas.microsoft.com/office/drawing/2014/main" id="{2B66005E-CC98-6B48-94EE-D334F6A2F53A}"/>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124" name="Straight Connector 36">
              <a:extLst>
                <a:ext uri="{FF2B5EF4-FFF2-40B4-BE49-F238E27FC236}">
                  <a16:creationId xmlns:a16="http://schemas.microsoft.com/office/drawing/2014/main" id="{2468993C-ACD0-4548-95E3-F3C0D9B4F285}"/>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5" name="Rectangle 10">
              <a:extLst>
                <a:ext uri="{FF2B5EF4-FFF2-40B4-BE49-F238E27FC236}">
                  <a16:creationId xmlns:a16="http://schemas.microsoft.com/office/drawing/2014/main" id="{E7CD963D-E79B-5244-A278-2F74E9D1D4C4}"/>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126" name="Straight Connector 74">
              <a:extLst>
                <a:ext uri="{FF2B5EF4-FFF2-40B4-BE49-F238E27FC236}">
                  <a16:creationId xmlns:a16="http://schemas.microsoft.com/office/drawing/2014/main" id="{FB7EFBC5-361E-F444-9E49-407DC5A8395A}"/>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7" name="Rectangle 10">
              <a:extLst>
                <a:ext uri="{FF2B5EF4-FFF2-40B4-BE49-F238E27FC236}">
                  <a16:creationId xmlns:a16="http://schemas.microsoft.com/office/drawing/2014/main" id="{E201D8FB-442B-654E-AB3D-59C432BE6840}"/>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128" name="Straight Connector 69">
              <a:extLst>
                <a:ext uri="{FF2B5EF4-FFF2-40B4-BE49-F238E27FC236}">
                  <a16:creationId xmlns:a16="http://schemas.microsoft.com/office/drawing/2014/main" id="{5DD5346C-8282-4A42-BA6D-6B176D8FF123}"/>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29" name="Rectangle 10">
            <a:extLst>
              <a:ext uri="{FF2B5EF4-FFF2-40B4-BE49-F238E27FC236}">
                <a16:creationId xmlns:a16="http://schemas.microsoft.com/office/drawing/2014/main" id="{49CAB304-8032-A547-8C64-15C005BA3C6B}"/>
              </a:ext>
            </a:extLst>
          </p:cNvPr>
          <p:cNvSpPr txBox="1">
            <a:spLocks/>
          </p:cNvSpPr>
          <p:nvPr/>
        </p:nvSpPr>
        <p:spPr>
          <a:xfrm>
            <a:off x="356337" y="996526"/>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130" name="TextBox 129">
            <a:extLst>
              <a:ext uri="{FF2B5EF4-FFF2-40B4-BE49-F238E27FC236}">
                <a16:creationId xmlns:a16="http://schemas.microsoft.com/office/drawing/2014/main" id="{7B23E197-D183-4A4E-9B3F-1F5DCD0A80CA}"/>
              </a:ext>
            </a:extLst>
          </p:cNvPr>
          <p:cNvSpPr txBox="1">
            <a:spLocks/>
          </p:cNvSpPr>
          <p:nvPr/>
        </p:nvSpPr>
        <p:spPr>
          <a:xfrm>
            <a:off x="356337" y="1308738"/>
            <a:ext cx="1236389" cy="2291997"/>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131" name="Rectangle 10">
            <a:extLst>
              <a:ext uri="{FF2B5EF4-FFF2-40B4-BE49-F238E27FC236}">
                <a16:creationId xmlns:a16="http://schemas.microsoft.com/office/drawing/2014/main" id="{F37D5EAF-F908-444B-8588-2201FD474A9B}"/>
              </a:ext>
            </a:extLst>
          </p:cNvPr>
          <p:cNvSpPr txBox="1">
            <a:spLocks/>
          </p:cNvSpPr>
          <p:nvPr/>
        </p:nvSpPr>
        <p:spPr>
          <a:xfrm>
            <a:off x="1685489" y="996526"/>
            <a:ext cx="54401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Key Activities</a:t>
            </a:r>
          </a:p>
        </p:txBody>
      </p:sp>
      <p:cxnSp>
        <p:nvCxnSpPr>
          <p:cNvPr id="132" name="Straight Connector 9">
            <a:extLst>
              <a:ext uri="{FF2B5EF4-FFF2-40B4-BE49-F238E27FC236}">
                <a16:creationId xmlns:a16="http://schemas.microsoft.com/office/drawing/2014/main" id="{93EB76A8-1214-DA4D-8CBE-9D993B809D57}"/>
              </a:ext>
            </a:extLst>
          </p:cNvPr>
          <p:cNvCxnSpPr>
            <a:cxnSpLocks/>
          </p:cNvCxnSpPr>
          <p:nvPr/>
        </p:nvCxnSpPr>
        <p:spPr>
          <a:xfrm flipH="1">
            <a:off x="1685489" y="1230811"/>
            <a:ext cx="544011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CAF2C668-45E2-B547-9F34-DD36B046BD4B}"/>
              </a:ext>
            </a:extLst>
          </p:cNvPr>
          <p:cNvSpPr txBox="1">
            <a:spLocks/>
          </p:cNvSpPr>
          <p:nvPr/>
        </p:nvSpPr>
        <p:spPr>
          <a:xfrm>
            <a:off x="356337" y="3757513"/>
            <a:ext cx="1236389" cy="959888"/>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velopment</a:t>
            </a:r>
          </a:p>
        </p:txBody>
      </p:sp>
      <p:sp>
        <p:nvSpPr>
          <p:cNvPr id="134" name="TextBox 133">
            <a:extLst>
              <a:ext uri="{FF2B5EF4-FFF2-40B4-BE49-F238E27FC236}">
                <a16:creationId xmlns:a16="http://schemas.microsoft.com/office/drawing/2014/main" id="{CF78139D-D3AE-CA44-B320-33ECC8902FB8}"/>
              </a:ext>
            </a:extLst>
          </p:cNvPr>
          <p:cNvSpPr txBox="1">
            <a:spLocks/>
          </p:cNvSpPr>
          <p:nvPr/>
        </p:nvSpPr>
        <p:spPr>
          <a:xfrm>
            <a:off x="356337" y="4874179"/>
            <a:ext cx="1236389" cy="1704339"/>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Testing</a:t>
            </a:r>
          </a:p>
        </p:txBody>
      </p:sp>
      <p:sp>
        <p:nvSpPr>
          <p:cNvPr id="135" name="TextBox 134">
            <a:extLst>
              <a:ext uri="{FF2B5EF4-FFF2-40B4-BE49-F238E27FC236}">
                <a16:creationId xmlns:a16="http://schemas.microsoft.com/office/drawing/2014/main" id="{D57BE34C-6005-C04C-951B-69FC54B7654B}"/>
              </a:ext>
            </a:extLst>
          </p:cNvPr>
          <p:cNvSpPr txBox="1">
            <a:spLocks/>
          </p:cNvSpPr>
          <p:nvPr/>
        </p:nvSpPr>
        <p:spPr>
          <a:xfrm>
            <a:off x="1685489" y="1680960"/>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a:t>
            </a:r>
          </a:p>
        </p:txBody>
      </p:sp>
      <p:sp>
        <p:nvSpPr>
          <p:cNvPr id="136" name="TextBox 135">
            <a:extLst>
              <a:ext uri="{FF2B5EF4-FFF2-40B4-BE49-F238E27FC236}">
                <a16:creationId xmlns:a16="http://schemas.microsoft.com/office/drawing/2014/main" id="{B2E1B644-834B-2343-B704-40B258651726}"/>
              </a:ext>
            </a:extLst>
          </p:cNvPr>
          <p:cNvSpPr txBox="1">
            <a:spLocks/>
          </p:cNvSpPr>
          <p:nvPr/>
        </p:nvSpPr>
        <p:spPr>
          <a:xfrm>
            <a:off x="1685489" y="2425404"/>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137" name="TextBox 136">
            <a:extLst>
              <a:ext uri="{FF2B5EF4-FFF2-40B4-BE49-F238E27FC236}">
                <a16:creationId xmlns:a16="http://schemas.microsoft.com/office/drawing/2014/main" id="{74D2B08A-6B3E-6345-A213-E3EFF09B041E}"/>
              </a:ext>
            </a:extLst>
          </p:cNvPr>
          <p:cNvSpPr txBox="1">
            <a:spLocks/>
          </p:cNvSpPr>
          <p:nvPr/>
        </p:nvSpPr>
        <p:spPr>
          <a:xfrm>
            <a:off x="1685489" y="2797626"/>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5</a:t>
            </a:r>
          </a:p>
        </p:txBody>
      </p:sp>
      <p:sp>
        <p:nvSpPr>
          <p:cNvPr id="138" name="TextBox 137">
            <a:extLst>
              <a:ext uri="{FF2B5EF4-FFF2-40B4-BE49-F238E27FC236}">
                <a16:creationId xmlns:a16="http://schemas.microsoft.com/office/drawing/2014/main" id="{BACB3F39-3ED6-7C4C-97B8-2A23EDC39905}"/>
              </a:ext>
            </a:extLst>
          </p:cNvPr>
          <p:cNvSpPr txBox="1">
            <a:spLocks/>
          </p:cNvSpPr>
          <p:nvPr/>
        </p:nvSpPr>
        <p:spPr>
          <a:xfrm>
            <a:off x="1685489" y="1308738"/>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a:t>
            </a:r>
          </a:p>
        </p:txBody>
      </p:sp>
      <p:sp>
        <p:nvSpPr>
          <p:cNvPr id="139" name="TextBox 138">
            <a:extLst>
              <a:ext uri="{FF2B5EF4-FFF2-40B4-BE49-F238E27FC236}">
                <a16:creationId xmlns:a16="http://schemas.microsoft.com/office/drawing/2014/main" id="{E29FDEF0-1BAA-5544-9B3C-E3B731411ADE}"/>
              </a:ext>
            </a:extLst>
          </p:cNvPr>
          <p:cNvSpPr txBox="1">
            <a:spLocks/>
          </p:cNvSpPr>
          <p:nvPr/>
        </p:nvSpPr>
        <p:spPr>
          <a:xfrm>
            <a:off x="1685489" y="3385291"/>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6</a:t>
            </a:r>
          </a:p>
        </p:txBody>
      </p:sp>
      <p:cxnSp>
        <p:nvCxnSpPr>
          <p:cNvPr id="140" name="Straight Connector 262">
            <a:extLst>
              <a:ext uri="{FF2B5EF4-FFF2-40B4-BE49-F238E27FC236}">
                <a16:creationId xmlns:a16="http://schemas.microsoft.com/office/drawing/2014/main" id="{573CD211-4ED2-774F-BD63-93C735E95BF6}"/>
              </a:ext>
            </a:extLst>
          </p:cNvPr>
          <p:cNvCxnSpPr>
            <a:cxnSpLocks/>
          </p:cNvCxnSpPr>
          <p:nvPr/>
        </p:nvCxnSpPr>
        <p:spPr>
          <a:xfrm>
            <a:off x="356337" y="4795790"/>
            <a:ext cx="1170416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1" name="Straight Connector 247">
            <a:extLst>
              <a:ext uri="{FF2B5EF4-FFF2-40B4-BE49-F238E27FC236}">
                <a16:creationId xmlns:a16="http://schemas.microsoft.com/office/drawing/2014/main" id="{B03BCE53-E605-0F4E-A8A7-E0C2CEFE7ADE}"/>
              </a:ext>
            </a:extLst>
          </p:cNvPr>
          <p:cNvCxnSpPr>
            <a:cxnSpLocks/>
          </p:cNvCxnSpPr>
          <p:nvPr/>
        </p:nvCxnSpPr>
        <p:spPr>
          <a:xfrm>
            <a:off x="356337" y="3679124"/>
            <a:ext cx="1170416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30CA895D-9633-FF41-B606-DF01F8A297C6}"/>
              </a:ext>
            </a:extLst>
          </p:cNvPr>
          <p:cNvSpPr txBox="1">
            <a:spLocks/>
          </p:cNvSpPr>
          <p:nvPr/>
        </p:nvSpPr>
        <p:spPr>
          <a:xfrm>
            <a:off x="1685489" y="4129735"/>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8</a:t>
            </a:r>
          </a:p>
        </p:txBody>
      </p:sp>
      <p:sp>
        <p:nvSpPr>
          <p:cNvPr id="143" name="TextBox 142">
            <a:extLst>
              <a:ext uri="{FF2B5EF4-FFF2-40B4-BE49-F238E27FC236}">
                <a16:creationId xmlns:a16="http://schemas.microsoft.com/office/drawing/2014/main" id="{77BDD0DE-4FF5-5742-BF7F-6EE6730455F5}"/>
              </a:ext>
            </a:extLst>
          </p:cNvPr>
          <p:cNvSpPr txBox="1">
            <a:spLocks/>
          </p:cNvSpPr>
          <p:nvPr/>
        </p:nvSpPr>
        <p:spPr>
          <a:xfrm>
            <a:off x="1685489" y="3757513"/>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7</a:t>
            </a:r>
          </a:p>
        </p:txBody>
      </p:sp>
      <p:sp>
        <p:nvSpPr>
          <p:cNvPr id="144" name="TextBox 143">
            <a:extLst>
              <a:ext uri="{FF2B5EF4-FFF2-40B4-BE49-F238E27FC236}">
                <a16:creationId xmlns:a16="http://schemas.microsoft.com/office/drawing/2014/main" id="{4335E3EA-7B05-5044-908C-20133204A61A}"/>
              </a:ext>
            </a:extLst>
          </p:cNvPr>
          <p:cNvSpPr txBox="1">
            <a:spLocks/>
          </p:cNvSpPr>
          <p:nvPr/>
        </p:nvSpPr>
        <p:spPr>
          <a:xfrm>
            <a:off x="1685489" y="4501957"/>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9</a:t>
            </a:r>
          </a:p>
        </p:txBody>
      </p:sp>
      <p:sp>
        <p:nvSpPr>
          <p:cNvPr id="145" name="TextBox 144">
            <a:extLst>
              <a:ext uri="{FF2B5EF4-FFF2-40B4-BE49-F238E27FC236}">
                <a16:creationId xmlns:a16="http://schemas.microsoft.com/office/drawing/2014/main" id="{8C3217C5-6012-AF49-9BFB-43D90953EEC1}"/>
              </a:ext>
            </a:extLst>
          </p:cNvPr>
          <p:cNvSpPr txBox="1">
            <a:spLocks/>
          </p:cNvSpPr>
          <p:nvPr/>
        </p:nvSpPr>
        <p:spPr>
          <a:xfrm>
            <a:off x="1685489" y="5618623"/>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146" name="TextBox 145">
            <a:extLst>
              <a:ext uri="{FF2B5EF4-FFF2-40B4-BE49-F238E27FC236}">
                <a16:creationId xmlns:a16="http://schemas.microsoft.com/office/drawing/2014/main" id="{D9CFB6F0-0B07-3A44-AD90-5BD701578CB2}"/>
              </a:ext>
            </a:extLst>
          </p:cNvPr>
          <p:cNvSpPr txBox="1">
            <a:spLocks/>
          </p:cNvSpPr>
          <p:nvPr/>
        </p:nvSpPr>
        <p:spPr>
          <a:xfrm>
            <a:off x="1685489" y="5246401"/>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1</a:t>
            </a:r>
          </a:p>
        </p:txBody>
      </p:sp>
      <p:sp>
        <p:nvSpPr>
          <p:cNvPr id="147" name="TextBox 146">
            <a:extLst>
              <a:ext uri="{FF2B5EF4-FFF2-40B4-BE49-F238E27FC236}">
                <a16:creationId xmlns:a16="http://schemas.microsoft.com/office/drawing/2014/main" id="{2893B043-1284-F241-AA0A-BDBDFA14C355}"/>
              </a:ext>
            </a:extLst>
          </p:cNvPr>
          <p:cNvSpPr txBox="1">
            <a:spLocks/>
          </p:cNvSpPr>
          <p:nvPr/>
        </p:nvSpPr>
        <p:spPr>
          <a:xfrm>
            <a:off x="1685489" y="5990845"/>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3</a:t>
            </a:r>
          </a:p>
        </p:txBody>
      </p:sp>
      <p:sp>
        <p:nvSpPr>
          <p:cNvPr id="148" name="TextBox 147">
            <a:extLst>
              <a:ext uri="{FF2B5EF4-FFF2-40B4-BE49-F238E27FC236}">
                <a16:creationId xmlns:a16="http://schemas.microsoft.com/office/drawing/2014/main" id="{0C35F542-7DEC-834F-8487-A5B85E3C65D8}"/>
              </a:ext>
            </a:extLst>
          </p:cNvPr>
          <p:cNvSpPr txBox="1">
            <a:spLocks/>
          </p:cNvSpPr>
          <p:nvPr/>
        </p:nvSpPr>
        <p:spPr>
          <a:xfrm>
            <a:off x="1685489" y="4874179"/>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0</a:t>
            </a:r>
          </a:p>
        </p:txBody>
      </p:sp>
      <p:sp>
        <p:nvSpPr>
          <p:cNvPr id="149" name="TextBox 148">
            <a:extLst>
              <a:ext uri="{FF2B5EF4-FFF2-40B4-BE49-F238E27FC236}">
                <a16:creationId xmlns:a16="http://schemas.microsoft.com/office/drawing/2014/main" id="{BB134190-CD9E-4B45-B187-A366898513BB}"/>
              </a:ext>
            </a:extLst>
          </p:cNvPr>
          <p:cNvSpPr txBox="1">
            <a:spLocks/>
          </p:cNvSpPr>
          <p:nvPr/>
        </p:nvSpPr>
        <p:spPr>
          <a:xfrm>
            <a:off x="1685489" y="6363074"/>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4</a:t>
            </a:r>
          </a:p>
        </p:txBody>
      </p:sp>
      <p:cxnSp>
        <p:nvCxnSpPr>
          <p:cNvPr id="150" name="Straight Connector 154">
            <a:extLst>
              <a:ext uri="{FF2B5EF4-FFF2-40B4-BE49-F238E27FC236}">
                <a16:creationId xmlns:a16="http://schemas.microsoft.com/office/drawing/2014/main" id="{3A74B795-BD94-8543-BDBA-E8D0AE1E44CA}"/>
              </a:ext>
            </a:extLst>
          </p:cNvPr>
          <p:cNvCxnSpPr>
            <a:cxnSpLocks/>
          </p:cNvCxnSpPr>
          <p:nvPr/>
        </p:nvCxnSpPr>
        <p:spPr>
          <a:xfrm>
            <a:off x="1688437" y="1602571"/>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1" name="Straight Connector 224">
            <a:extLst>
              <a:ext uri="{FF2B5EF4-FFF2-40B4-BE49-F238E27FC236}">
                <a16:creationId xmlns:a16="http://schemas.microsoft.com/office/drawing/2014/main" id="{E85D71E6-BBBC-4A45-9D22-A4C9FE6D71C2}"/>
              </a:ext>
            </a:extLst>
          </p:cNvPr>
          <p:cNvCxnSpPr>
            <a:cxnSpLocks/>
          </p:cNvCxnSpPr>
          <p:nvPr/>
        </p:nvCxnSpPr>
        <p:spPr>
          <a:xfrm>
            <a:off x="1682926" y="2347015"/>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2" name="Straight Connector 225">
            <a:extLst>
              <a:ext uri="{FF2B5EF4-FFF2-40B4-BE49-F238E27FC236}">
                <a16:creationId xmlns:a16="http://schemas.microsoft.com/office/drawing/2014/main" id="{422B33E1-5998-E844-A932-C526E708E148}"/>
              </a:ext>
            </a:extLst>
          </p:cNvPr>
          <p:cNvCxnSpPr>
            <a:cxnSpLocks/>
          </p:cNvCxnSpPr>
          <p:nvPr/>
        </p:nvCxnSpPr>
        <p:spPr>
          <a:xfrm>
            <a:off x="1688437" y="2719237"/>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3" name="Straight Connector 232">
            <a:extLst>
              <a:ext uri="{FF2B5EF4-FFF2-40B4-BE49-F238E27FC236}">
                <a16:creationId xmlns:a16="http://schemas.microsoft.com/office/drawing/2014/main" id="{ED1BEC99-BA79-0640-85FD-D76E4B68D120}"/>
              </a:ext>
            </a:extLst>
          </p:cNvPr>
          <p:cNvCxnSpPr>
            <a:cxnSpLocks/>
          </p:cNvCxnSpPr>
          <p:nvPr/>
        </p:nvCxnSpPr>
        <p:spPr>
          <a:xfrm>
            <a:off x="1688437" y="3306902"/>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4" name="Straight Connector 248">
            <a:extLst>
              <a:ext uri="{FF2B5EF4-FFF2-40B4-BE49-F238E27FC236}">
                <a16:creationId xmlns:a16="http://schemas.microsoft.com/office/drawing/2014/main" id="{E52CFE73-B43C-064D-9DED-B24C213504B6}"/>
              </a:ext>
            </a:extLst>
          </p:cNvPr>
          <p:cNvCxnSpPr>
            <a:cxnSpLocks/>
          </p:cNvCxnSpPr>
          <p:nvPr/>
        </p:nvCxnSpPr>
        <p:spPr>
          <a:xfrm>
            <a:off x="1688437" y="4051346"/>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5" name="Straight Connector 261">
            <a:extLst>
              <a:ext uri="{FF2B5EF4-FFF2-40B4-BE49-F238E27FC236}">
                <a16:creationId xmlns:a16="http://schemas.microsoft.com/office/drawing/2014/main" id="{7F4F983C-B6DE-2A41-BDE3-86A754EBEF6A}"/>
              </a:ext>
            </a:extLst>
          </p:cNvPr>
          <p:cNvCxnSpPr>
            <a:cxnSpLocks/>
          </p:cNvCxnSpPr>
          <p:nvPr/>
        </p:nvCxnSpPr>
        <p:spPr>
          <a:xfrm>
            <a:off x="1682926" y="4430309"/>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6" name="Straight Connector 313">
            <a:extLst>
              <a:ext uri="{FF2B5EF4-FFF2-40B4-BE49-F238E27FC236}">
                <a16:creationId xmlns:a16="http://schemas.microsoft.com/office/drawing/2014/main" id="{934F56A1-F762-ED43-8FF5-2195208F0397}"/>
              </a:ext>
            </a:extLst>
          </p:cNvPr>
          <p:cNvCxnSpPr>
            <a:cxnSpLocks/>
          </p:cNvCxnSpPr>
          <p:nvPr/>
        </p:nvCxnSpPr>
        <p:spPr>
          <a:xfrm>
            <a:off x="1688437" y="5168012"/>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7" name="Straight Connector 314">
            <a:extLst>
              <a:ext uri="{FF2B5EF4-FFF2-40B4-BE49-F238E27FC236}">
                <a16:creationId xmlns:a16="http://schemas.microsoft.com/office/drawing/2014/main" id="{C2E765B0-9309-274E-9EF0-24A62E10C4DC}"/>
              </a:ext>
            </a:extLst>
          </p:cNvPr>
          <p:cNvCxnSpPr>
            <a:cxnSpLocks/>
          </p:cNvCxnSpPr>
          <p:nvPr/>
        </p:nvCxnSpPr>
        <p:spPr>
          <a:xfrm>
            <a:off x="1688437" y="5540234"/>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8" name="Straight Connector 315">
            <a:extLst>
              <a:ext uri="{FF2B5EF4-FFF2-40B4-BE49-F238E27FC236}">
                <a16:creationId xmlns:a16="http://schemas.microsoft.com/office/drawing/2014/main" id="{358A5498-EE07-8D4E-98B0-AAE7AA301D89}"/>
              </a:ext>
            </a:extLst>
          </p:cNvPr>
          <p:cNvCxnSpPr>
            <a:cxnSpLocks/>
          </p:cNvCxnSpPr>
          <p:nvPr/>
        </p:nvCxnSpPr>
        <p:spPr>
          <a:xfrm>
            <a:off x="1688437" y="5912456"/>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9" name="Straight Connector 316">
            <a:extLst>
              <a:ext uri="{FF2B5EF4-FFF2-40B4-BE49-F238E27FC236}">
                <a16:creationId xmlns:a16="http://schemas.microsoft.com/office/drawing/2014/main" id="{663506EB-4F5A-9D47-BBFA-89FD4320F873}"/>
              </a:ext>
            </a:extLst>
          </p:cNvPr>
          <p:cNvCxnSpPr>
            <a:cxnSpLocks/>
          </p:cNvCxnSpPr>
          <p:nvPr/>
        </p:nvCxnSpPr>
        <p:spPr>
          <a:xfrm>
            <a:off x="1688437" y="6284678"/>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9FE08109-BFDF-3B4A-ACC1-349C6DF07434}"/>
              </a:ext>
            </a:extLst>
          </p:cNvPr>
          <p:cNvSpPr txBox="1">
            <a:spLocks/>
          </p:cNvSpPr>
          <p:nvPr/>
        </p:nvSpPr>
        <p:spPr>
          <a:xfrm>
            <a:off x="1685489" y="2053182"/>
            <a:ext cx="5440110" cy="215444"/>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3</a:t>
            </a:r>
          </a:p>
        </p:txBody>
      </p:sp>
      <p:cxnSp>
        <p:nvCxnSpPr>
          <p:cNvPr id="161" name="Straight Connector 141">
            <a:extLst>
              <a:ext uri="{FF2B5EF4-FFF2-40B4-BE49-F238E27FC236}">
                <a16:creationId xmlns:a16="http://schemas.microsoft.com/office/drawing/2014/main" id="{B52A329F-6EF0-5743-B636-6780B9F48E36}"/>
              </a:ext>
            </a:extLst>
          </p:cNvPr>
          <p:cNvCxnSpPr>
            <a:cxnSpLocks/>
          </p:cNvCxnSpPr>
          <p:nvPr/>
        </p:nvCxnSpPr>
        <p:spPr>
          <a:xfrm>
            <a:off x="1685489" y="1974793"/>
            <a:ext cx="10372068" cy="0"/>
          </a:xfrm>
          <a:prstGeom prst="line">
            <a:avLst/>
          </a:prstGeom>
          <a:ln>
            <a:solidFill>
              <a:schemeClr val="bg1">
                <a:lumMod val="50000"/>
              </a:schemeClr>
            </a:solidFill>
            <a:prstDash val="sysDot"/>
            <a:headEnd type="none" w="med" len="med"/>
            <a:tailEnd type="none" w="med"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62" name="Rectangle 99">
            <a:extLst>
              <a:ext uri="{FF2B5EF4-FFF2-40B4-BE49-F238E27FC236}">
                <a16:creationId xmlns:a16="http://schemas.microsoft.com/office/drawing/2014/main" id="{3477937D-0011-0B4D-8B9B-27C324435832}"/>
              </a:ext>
            </a:extLst>
          </p:cNvPr>
          <p:cNvSpPr>
            <a:spLocks/>
          </p:cNvSpPr>
          <p:nvPr/>
        </p:nvSpPr>
        <p:spPr>
          <a:xfrm>
            <a:off x="7224258" y="1375978"/>
            <a:ext cx="161466"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3" name="Rectangle 100">
            <a:extLst>
              <a:ext uri="{FF2B5EF4-FFF2-40B4-BE49-F238E27FC236}">
                <a16:creationId xmlns:a16="http://schemas.microsoft.com/office/drawing/2014/main" id="{DB9080EC-0069-A147-98DF-FDA7D419DC6D}"/>
              </a:ext>
            </a:extLst>
          </p:cNvPr>
          <p:cNvSpPr>
            <a:spLocks/>
          </p:cNvSpPr>
          <p:nvPr/>
        </p:nvSpPr>
        <p:spPr>
          <a:xfrm>
            <a:off x="7559555" y="1748200"/>
            <a:ext cx="354807" cy="809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4" name="Rectangle 101">
            <a:extLst>
              <a:ext uri="{FF2B5EF4-FFF2-40B4-BE49-F238E27FC236}">
                <a16:creationId xmlns:a16="http://schemas.microsoft.com/office/drawing/2014/main" id="{ACBCDECF-164F-694F-BD00-821C4C293ED9}"/>
              </a:ext>
            </a:extLst>
          </p:cNvPr>
          <p:cNvSpPr>
            <a:spLocks/>
          </p:cNvSpPr>
          <p:nvPr/>
        </p:nvSpPr>
        <p:spPr>
          <a:xfrm>
            <a:off x="7909597" y="2085652"/>
            <a:ext cx="566928" cy="809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5" name="Rectangle 102">
            <a:extLst>
              <a:ext uri="{FF2B5EF4-FFF2-40B4-BE49-F238E27FC236}">
                <a16:creationId xmlns:a16="http://schemas.microsoft.com/office/drawing/2014/main" id="{E054EAEA-8EDA-8741-B627-BF9E1F0D0E35}"/>
              </a:ext>
            </a:extLst>
          </p:cNvPr>
          <p:cNvSpPr>
            <a:spLocks/>
          </p:cNvSpPr>
          <p:nvPr/>
        </p:nvSpPr>
        <p:spPr>
          <a:xfrm>
            <a:off x="7771481" y="2492644"/>
            <a:ext cx="548640" cy="809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Rectangle 104">
            <a:extLst>
              <a:ext uri="{FF2B5EF4-FFF2-40B4-BE49-F238E27FC236}">
                <a16:creationId xmlns:a16="http://schemas.microsoft.com/office/drawing/2014/main" id="{A1D5704C-0F25-2E4D-9E32-F1B8F667E212}"/>
              </a:ext>
            </a:extLst>
          </p:cNvPr>
          <p:cNvSpPr>
            <a:spLocks/>
          </p:cNvSpPr>
          <p:nvPr/>
        </p:nvSpPr>
        <p:spPr>
          <a:xfrm>
            <a:off x="8322456" y="3452530"/>
            <a:ext cx="520990" cy="8684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Rectangle 105">
            <a:extLst>
              <a:ext uri="{FF2B5EF4-FFF2-40B4-BE49-F238E27FC236}">
                <a16:creationId xmlns:a16="http://schemas.microsoft.com/office/drawing/2014/main" id="{83F4D48A-B55E-2445-A0D8-9B7C4ADD6CC4}"/>
              </a:ext>
            </a:extLst>
          </p:cNvPr>
          <p:cNvSpPr>
            <a:spLocks/>
          </p:cNvSpPr>
          <p:nvPr/>
        </p:nvSpPr>
        <p:spPr>
          <a:xfrm>
            <a:off x="7457809" y="3835144"/>
            <a:ext cx="1332000"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8" name="Rectangle 106">
            <a:extLst>
              <a:ext uri="{FF2B5EF4-FFF2-40B4-BE49-F238E27FC236}">
                <a16:creationId xmlns:a16="http://schemas.microsoft.com/office/drawing/2014/main" id="{4E4C5DF6-51BC-374A-9BA9-D913C03AA7CC}"/>
              </a:ext>
            </a:extLst>
          </p:cNvPr>
          <p:cNvSpPr>
            <a:spLocks/>
          </p:cNvSpPr>
          <p:nvPr/>
        </p:nvSpPr>
        <p:spPr>
          <a:xfrm>
            <a:off x="7763694" y="4196975"/>
            <a:ext cx="560803"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9" name="Rectangle 109">
            <a:extLst>
              <a:ext uri="{FF2B5EF4-FFF2-40B4-BE49-F238E27FC236}">
                <a16:creationId xmlns:a16="http://schemas.microsoft.com/office/drawing/2014/main" id="{109F8C8C-FBA8-7344-89AE-58280E9BA577}"/>
              </a:ext>
            </a:extLst>
          </p:cNvPr>
          <p:cNvSpPr>
            <a:spLocks/>
          </p:cNvSpPr>
          <p:nvPr/>
        </p:nvSpPr>
        <p:spPr>
          <a:xfrm>
            <a:off x="7912369" y="4569197"/>
            <a:ext cx="1740671"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0" name="Rectangle 110">
            <a:extLst>
              <a:ext uri="{FF2B5EF4-FFF2-40B4-BE49-F238E27FC236}">
                <a16:creationId xmlns:a16="http://schemas.microsoft.com/office/drawing/2014/main" id="{2280132D-B691-4848-BEE3-D437B46BD1EF}"/>
              </a:ext>
            </a:extLst>
          </p:cNvPr>
          <p:cNvSpPr>
            <a:spLocks/>
          </p:cNvSpPr>
          <p:nvPr/>
        </p:nvSpPr>
        <p:spPr>
          <a:xfrm>
            <a:off x="7912370" y="4941419"/>
            <a:ext cx="540000"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1" name="Rectangle 111">
            <a:extLst>
              <a:ext uri="{FF2B5EF4-FFF2-40B4-BE49-F238E27FC236}">
                <a16:creationId xmlns:a16="http://schemas.microsoft.com/office/drawing/2014/main" id="{94226D37-90D8-4143-88B7-B035502D7D61}"/>
              </a:ext>
            </a:extLst>
          </p:cNvPr>
          <p:cNvSpPr>
            <a:spLocks/>
          </p:cNvSpPr>
          <p:nvPr/>
        </p:nvSpPr>
        <p:spPr>
          <a:xfrm>
            <a:off x="8269517" y="5313641"/>
            <a:ext cx="300864"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2" name="Rectangle 112">
            <a:extLst>
              <a:ext uri="{FF2B5EF4-FFF2-40B4-BE49-F238E27FC236}">
                <a16:creationId xmlns:a16="http://schemas.microsoft.com/office/drawing/2014/main" id="{96D9C83B-BF4D-7C44-AC73-795A4B5FC3A6}"/>
              </a:ext>
            </a:extLst>
          </p:cNvPr>
          <p:cNvSpPr>
            <a:spLocks/>
          </p:cNvSpPr>
          <p:nvPr/>
        </p:nvSpPr>
        <p:spPr>
          <a:xfrm>
            <a:off x="7930378" y="5685863"/>
            <a:ext cx="2268000"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3" name="Rectangle 113">
            <a:extLst>
              <a:ext uri="{FF2B5EF4-FFF2-40B4-BE49-F238E27FC236}">
                <a16:creationId xmlns:a16="http://schemas.microsoft.com/office/drawing/2014/main" id="{74BED945-0637-4347-96FE-653B075F835A}"/>
              </a:ext>
            </a:extLst>
          </p:cNvPr>
          <p:cNvSpPr>
            <a:spLocks/>
          </p:cNvSpPr>
          <p:nvPr/>
        </p:nvSpPr>
        <p:spPr>
          <a:xfrm>
            <a:off x="8580955" y="6058085"/>
            <a:ext cx="540000"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4" name="Rectangle 116">
            <a:extLst>
              <a:ext uri="{FF2B5EF4-FFF2-40B4-BE49-F238E27FC236}">
                <a16:creationId xmlns:a16="http://schemas.microsoft.com/office/drawing/2014/main" id="{FA9A0C59-4680-2145-90D7-2E8090D93BA6}"/>
              </a:ext>
            </a:extLst>
          </p:cNvPr>
          <p:cNvSpPr>
            <a:spLocks/>
          </p:cNvSpPr>
          <p:nvPr/>
        </p:nvSpPr>
        <p:spPr>
          <a:xfrm>
            <a:off x="9114728" y="6430314"/>
            <a:ext cx="1181953" cy="8096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5" name="Rectangle 147">
            <a:extLst>
              <a:ext uri="{FF2B5EF4-FFF2-40B4-BE49-F238E27FC236}">
                <a16:creationId xmlns:a16="http://schemas.microsoft.com/office/drawing/2014/main" id="{BE990FE2-41E7-1348-88E9-141E47754D99}"/>
              </a:ext>
            </a:extLst>
          </p:cNvPr>
          <p:cNvSpPr>
            <a:spLocks/>
          </p:cNvSpPr>
          <p:nvPr/>
        </p:nvSpPr>
        <p:spPr>
          <a:xfrm>
            <a:off x="7253296" y="467712"/>
            <a:ext cx="182880" cy="1828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Rectangle 150">
            <a:extLst>
              <a:ext uri="{FF2B5EF4-FFF2-40B4-BE49-F238E27FC236}">
                <a16:creationId xmlns:a16="http://schemas.microsoft.com/office/drawing/2014/main" id="{673B9DB8-43C7-EF45-881D-D1A2F04018A6}"/>
              </a:ext>
            </a:extLst>
          </p:cNvPr>
          <p:cNvSpPr>
            <a:spLocks/>
          </p:cNvSpPr>
          <p:nvPr/>
        </p:nvSpPr>
        <p:spPr>
          <a:xfrm>
            <a:off x="7253296" y="468033"/>
            <a:ext cx="182880" cy="1828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7" name="TextBox 176">
            <a:extLst>
              <a:ext uri="{FF2B5EF4-FFF2-40B4-BE49-F238E27FC236}">
                <a16:creationId xmlns:a16="http://schemas.microsoft.com/office/drawing/2014/main" id="{CA364E43-022B-D142-BC44-BB195377329D}"/>
              </a:ext>
            </a:extLst>
          </p:cNvPr>
          <p:cNvSpPr txBox="1">
            <a:spLocks/>
          </p:cNvSpPr>
          <p:nvPr/>
        </p:nvSpPr>
        <p:spPr>
          <a:xfrm>
            <a:off x="7497605" y="485899"/>
            <a:ext cx="1224168" cy="153888"/>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tr-TR" sz="1000" b="0" i="0" u="none" strike="noStrike" kern="1200" cap="none" spc="0" normalizeH="0" baseline="0" noProof="0" dirty="0">
                <a:ln>
                  <a:noFill/>
                </a:ln>
                <a:solidFill>
                  <a:srgbClr val="000000"/>
                </a:solidFill>
                <a:effectLst/>
                <a:uLnTx/>
                <a:uFillTx/>
                <a:latin typeface="Arial"/>
                <a:ea typeface="+mn-ea"/>
                <a:cs typeface="+mn-cs"/>
              </a:rPr>
              <a:t>Sprint 1</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Rectangle 152">
            <a:extLst>
              <a:ext uri="{FF2B5EF4-FFF2-40B4-BE49-F238E27FC236}">
                <a16:creationId xmlns:a16="http://schemas.microsoft.com/office/drawing/2014/main" id="{5F76EBEA-3345-A24B-B27F-CA06BE46FFEF}"/>
              </a:ext>
            </a:extLst>
          </p:cNvPr>
          <p:cNvSpPr>
            <a:spLocks/>
          </p:cNvSpPr>
          <p:nvPr/>
        </p:nvSpPr>
        <p:spPr>
          <a:xfrm>
            <a:off x="8687391" y="468229"/>
            <a:ext cx="182880" cy="18288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9" name="TextBox 178">
            <a:extLst>
              <a:ext uri="{FF2B5EF4-FFF2-40B4-BE49-F238E27FC236}">
                <a16:creationId xmlns:a16="http://schemas.microsoft.com/office/drawing/2014/main" id="{1F6AF8DC-99C4-F44E-9357-2C54D7B921A4}"/>
              </a:ext>
            </a:extLst>
          </p:cNvPr>
          <p:cNvSpPr txBox="1">
            <a:spLocks/>
          </p:cNvSpPr>
          <p:nvPr/>
        </p:nvSpPr>
        <p:spPr>
          <a:xfrm>
            <a:off x="8931700" y="486095"/>
            <a:ext cx="1224168" cy="153888"/>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tr-TR" sz="1000" b="0" i="0" u="none" strike="noStrike" kern="1200" cap="none" spc="0" normalizeH="0" baseline="0" noProof="0" dirty="0">
                <a:ln>
                  <a:noFill/>
                </a:ln>
                <a:solidFill>
                  <a:srgbClr val="000000"/>
                </a:solidFill>
                <a:effectLst/>
                <a:uLnTx/>
                <a:uFillTx/>
                <a:latin typeface="Arial"/>
                <a:ea typeface="+mn-ea"/>
                <a:cs typeface="+mn-cs"/>
              </a:rPr>
              <a:t>Sprint 2</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0" name="Rectangle 155">
            <a:extLst>
              <a:ext uri="{FF2B5EF4-FFF2-40B4-BE49-F238E27FC236}">
                <a16:creationId xmlns:a16="http://schemas.microsoft.com/office/drawing/2014/main" id="{75D60FFA-51FD-9E4F-A37A-2A4A2605AB9A}"/>
              </a:ext>
            </a:extLst>
          </p:cNvPr>
          <p:cNvSpPr>
            <a:spLocks/>
          </p:cNvSpPr>
          <p:nvPr/>
        </p:nvSpPr>
        <p:spPr>
          <a:xfrm>
            <a:off x="10269025" y="475804"/>
            <a:ext cx="182880" cy="18288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TextBox 180">
            <a:extLst>
              <a:ext uri="{FF2B5EF4-FFF2-40B4-BE49-F238E27FC236}">
                <a16:creationId xmlns:a16="http://schemas.microsoft.com/office/drawing/2014/main" id="{841E679A-9013-B140-A601-F6D60BEDC751}"/>
              </a:ext>
            </a:extLst>
          </p:cNvPr>
          <p:cNvSpPr txBox="1">
            <a:spLocks/>
          </p:cNvSpPr>
          <p:nvPr/>
        </p:nvSpPr>
        <p:spPr>
          <a:xfrm>
            <a:off x="10513334" y="493670"/>
            <a:ext cx="1568486" cy="153888"/>
          </a:xfrm>
          <a:prstGeom prst="rect">
            <a:avLst/>
          </a:prstGeom>
        </p:spPr>
        <p:txBody>
          <a:bodyPr vert="horz" wrap="square" lIns="0" tIns="0" rIns="0" bIns="0" rtlCol="0" anchor="t" anchorCtr="0">
            <a:spAutoFit/>
          </a:bodyPr>
          <a:lstStyle>
            <a:lvl1pPr lvl="0" indent="0" defTabSz="1242752" fontAlgn="base">
              <a:spcBef>
                <a:spcPct val="0"/>
              </a:spcBef>
              <a:spcAft>
                <a:spcPct val="0"/>
              </a:spcAft>
              <a:buClr>
                <a:schemeClr val="tx2"/>
              </a:buClr>
              <a:buSzPct val="100000"/>
              <a:defRPr lang="x-none" sz="1632" baseline="0"/>
            </a:lvl1pPr>
            <a:lvl2pPr marL="195922" lvl="1" indent="-195922" defTabSz="1242752" fontAlgn="base">
              <a:spcBef>
                <a:spcPct val="0"/>
              </a:spcBef>
              <a:spcAft>
                <a:spcPct val="0"/>
              </a:spcAft>
              <a:buClr>
                <a:schemeClr val="tx2"/>
              </a:buClr>
              <a:buSzPct val="125000"/>
              <a:buFont typeface="Arial" charset="0"/>
              <a:buChar char="▪"/>
              <a:defRPr lang="x-none" sz="1632" baseline="0"/>
            </a:lvl2pPr>
            <a:lvl3pPr marL="466481" lvl="2" indent="-270559" defTabSz="1242752" fontAlgn="base">
              <a:spcBef>
                <a:spcPct val="0"/>
              </a:spcBef>
              <a:spcAft>
                <a:spcPct val="0"/>
              </a:spcAft>
              <a:buClr>
                <a:schemeClr val="tx2"/>
              </a:buClr>
              <a:buSzPct val="120000"/>
              <a:buFont typeface="Arial" charset="0"/>
              <a:buChar char="–"/>
              <a:defRPr lang="x-none" sz="1632" baseline="0"/>
            </a:lvl3pPr>
            <a:lvl4pPr marL="625085" lvl="3" indent="-158604" defTabSz="1242752" fontAlgn="base">
              <a:spcBef>
                <a:spcPct val="0"/>
              </a:spcBef>
              <a:spcAft>
                <a:spcPct val="0"/>
              </a:spcAft>
              <a:buClr>
                <a:schemeClr val="tx2"/>
              </a:buClr>
              <a:buSzPct val="120000"/>
              <a:buFont typeface="Arial" charset="0"/>
              <a:buChar char="▫"/>
              <a:defRPr lang="x-none" sz="1632" baseline="0"/>
            </a:lvl4pPr>
            <a:lvl5pPr marL="765029" lvl="4" indent="-130615" defTabSz="1242752" fontAlgn="base">
              <a:spcBef>
                <a:spcPct val="0"/>
              </a:spcBef>
              <a:spcAft>
                <a:spcPct val="0"/>
              </a:spcAft>
              <a:buClr>
                <a:schemeClr val="tx2"/>
              </a:buClr>
              <a:buSzPct val="89000"/>
              <a:buFont typeface="Arial" charset="0"/>
              <a:buChar char="-"/>
              <a:defRPr lang="x-none" sz="1632" baseline="0"/>
            </a:lvl5pPr>
            <a:lvl6pPr marL="1040737" indent="-180684" defTabSz="1242752" fontAlgn="base">
              <a:spcBef>
                <a:spcPct val="0"/>
              </a:spcBef>
              <a:spcAft>
                <a:spcPct val="0"/>
              </a:spcAft>
              <a:buClr>
                <a:schemeClr val="tx2"/>
              </a:buClr>
              <a:buSzPct val="89000"/>
              <a:buFont typeface="Arial" charset="0"/>
              <a:buChar char="-"/>
              <a:defRPr lang="x-none" sz="2220" baseline="0"/>
            </a:lvl6pPr>
            <a:lvl7pPr marL="1040737" indent="-180684" defTabSz="1242752" fontAlgn="base">
              <a:spcBef>
                <a:spcPct val="0"/>
              </a:spcBef>
              <a:spcAft>
                <a:spcPct val="0"/>
              </a:spcAft>
              <a:buClr>
                <a:schemeClr val="tx2"/>
              </a:buClr>
              <a:buSzPct val="89000"/>
              <a:buFont typeface="Arial" charset="0"/>
              <a:buChar char="-"/>
              <a:defRPr lang="x-none" sz="2220" baseline="0"/>
            </a:lvl7pPr>
            <a:lvl8pPr marL="1040737" indent="-180684" defTabSz="1242752" fontAlgn="base">
              <a:spcBef>
                <a:spcPct val="0"/>
              </a:spcBef>
              <a:spcAft>
                <a:spcPct val="0"/>
              </a:spcAft>
              <a:buClr>
                <a:schemeClr val="tx2"/>
              </a:buClr>
              <a:buSzPct val="89000"/>
              <a:buFont typeface="Arial" charset="0"/>
              <a:buChar char="-"/>
              <a:defRPr lang="x-none" sz="2220" baseline="0"/>
            </a:lvl8pPr>
            <a:lvl9pPr marL="1040737" indent="-180684" defTabSz="1242752" fontAlgn="base">
              <a:spcBef>
                <a:spcPct val="0"/>
              </a:spcBef>
              <a:spcAft>
                <a:spcPct val="0"/>
              </a:spcAft>
              <a:buClr>
                <a:schemeClr val="tx2"/>
              </a:buClr>
              <a:buSzPct val="89000"/>
              <a:buFont typeface="Arial" charset="0"/>
              <a:buChar char="-"/>
              <a:defRPr lang="x-none" sz="2220" baseline="0"/>
            </a:lvl9pPr>
          </a:lstStyle>
          <a:p>
            <a:pPr marL="0" marR="0" lvl="0" indent="0" algn="l" defTabSz="1242752" rtl="0" eaLnBrk="1" fontAlgn="base" latinLnBrk="0" hangingPunct="1">
              <a:lnSpc>
                <a:spcPct val="100000"/>
              </a:lnSpc>
              <a:spcBef>
                <a:spcPct val="0"/>
              </a:spcBef>
              <a:spcAft>
                <a:spcPct val="0"/>
              </a:spcAft>
              <a:buClr>
                <a:srgbClr val="002960"/>
              </a:buClr>
              <a:buSzPct val="100000"/>
              <a:buFontTx/>
              <a:buNone/>
              <a:tabLst/>
              <a:defRPr/>
            </a:pPr>
            <a:r>
              <a:rPr kumimoji="0" lang="tr-TR" sz="1000" b="0" i="0" u="none" strike="noStrike" kern="1200" cap="none" spc="0" normalizeH="0" baseline="0" noProof="0" dirty="0">
                <a:ln>
                  <a:noFill/>
                </a:ln>
                <a:solidFill>
                  <a:srgbClr val="000000"/>
                </a:solidFill>
                <a:effectLst/>
                <a:uLnTx/>
                <a:uFillTx/>
                <a:latin typeface="Arial"/>
                <a:ea typeface="+mn-ea"/>
                <a:cs typeface="+mn-cs"/>
              </a:rPr>
              <a:t>Sprint 3 </a:t>
            </a:r>
            <a:r>
              <a:rPr kumimoji="0" lang="tr-TR" sz="1000" b="0" i="0" u="none" strike="noStrike" kern="1200" cap="none" spc="0" normalizeH="0" baseline="0" noProof="0" dirty="0" err="1">
                <a:ln>
                  <a:noFill/>
                </a:ln>
                <a:solidFill>
                  <a:srgbClr val="000000"/>
                </a:solidFill>
                <a:effectLst/>
                <a:uLnTx/>
                <a:uFillTx/>
                <a:latin typeface="Arial"/>
                <a:ea typeface="+mn-ea"/>
                <a:cs typeface="+mn-cs"/>
              </a:rPr>
              <a:t>and</a:t>
            </a:r>
            <a:r>
              <a:rPr kumimoji="0" lang="tr-TR" sz="1000" b="0" i="0" u="none" strike="noStrike" kern="1200" cap="none" spc="0" normalizeH="0" baseline="0" noProof="0" dirty="0">
                <a:ln>
                  <a:noFill/>
                </a:ln>
                <a:solidFill>
                  <a:srgbClr val="000000"/>
                </a:solidFill>
                <a:effectLst/>
                <a:uLnTx/>
                <a:uFillTx/>
                <a:latin typeface="Arial"/>
                <a:ea typeface="+mn-ea"/>
                <a:cs typeface="+mn-cs"/>
              </a:rPr>
              <a:t> 4</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Rectangle 160">
            <a:extLst>
              <a:ext uri="{FF2B5EF4-FFF2-40B4-BE49-F238E27FC236}">
                <a16:creationId xmlns:a16="http://schemas.microsoft.com/office/drawing/2014/main" id="{580F1B07-558F-574A-8AE6-3AD2DE9F360B}"/>
              </a:ext>
            </a:extLst>
          </p:cNvPr>
          <p:cNvSpPr>
            <a:spLocks/>
          </p:cNvSpPr>
          <p:nvPr/>
        </p:nvSpPr>
        <p:spPr>
          <a:xfrm>
            <a:off x="7771481" y="3009309"/>
            <a:ext cx="548640" cy="8096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3" name="Rectangle 161">
            <a:extLst>
              <a:ext uri="{FF2B5EF4-FFF2-40B4-BE49-F238E27FC236}">
                <a16:creationId xmlns:a16="http://schemas.microsoft.com/office/drawing/2014/main" id="{7E65285F-5B04-3440-9DCF-53C73C5B84EA}"/>
              </a:ext>
            </a:extLst>
          </p:cNvPr>
          <p:cNvSpPr>
            <a:spLocks/>
          </p:cNvSpPr>
          <p:nvPr/>
        </p:nvSpPr>
        <p:spPr>
          <a:xfrm>
            <a:off x="8633933" y="1749616"/>
            <a:ext cx="354807" cy="809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4" name="Rectangle 162">
            <a:extLst>
              <a:ext uri="{FF2B5EF4-FFF2-40B4-BE49-F238E27FC236}">
                <a16:creationId xmlns:a16="http://schemas.microsoft.com/office/drawing/2014/main" id="{0D08B451-9B22-454F-A0DB-80E2305A8DD6}"/>
              </a:ext>
            </a:extLst>
          </p:cNvPr>
          <p:cNvSpPr>
            <a:spLocks/>
          </p:cNvSpPr>
          <p:nvPr/>
        </p:nvSpPr>
        <p:spPr>
          <a:xfrm>
            <a:off x="8983975" y="2087068"/>
            <a:ext cx="566928" cy="809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5" name="Rectangle 163">
            <a:extLst>
              <a:ext uri="{FF2B5EF4-FFF2-40B4-BE49-F238E27FC236}">
                <a16:creationId xmlns:a16="http://schemas.microsoft.com/office/drawing/2014/main" id="{9EE2E316-D4B5-6D4D-B670-2BE7A2558153}"/>
              </a:ext>
            </a:extLst>
          </p:cNvPr>
          <p:cNvSpPr>
            <a:spLocks/>
          </p:cNvSpPr>
          <p:nvPr/>
        </p:nvSpPr>
        <p:spPr>
          <a:xfrm>
            <a:off x="8845859" y="2494060"/>
            <a:ext cx="548640" cy="809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Rectangle 164">
            <a:extLst>
              <a:ext uri="{FF2B5EF4-FFF2-40B4-BE49-F238E27FC236}">
                <a16:creationId xmlns:a16="http://schemas.microsoft.com/office/drawing/2014/main" id="{C5C351DF-C68D-1748-8C44-F71F0B380FD6}"/>
              </a:ext>
            </a:extLst>
          </p:cNvPr>
          <p:cNvSpPr>
            <a:spLocks/>
          </p:cNvSpPr>
          <p:nvPr/>
        </p:nvSpPr>
        <p:spPr>
          <a:xfrm>
            <a:off x="9396834" y="3453946"/>
            <a:ext cx="520990" cy="8684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7" name="Rectangle 165">
            <a:extLst>
              <a:ext uri="{FF2B5EF4-FFF2-40B4-BE49-F238E27FC236}">
                <a16:creationId xmlns:a16="http://schemas.microsoft.com/office/drawing/2014/main" id="{D0F81D4C-4E6A-134F-9598-07259E77A9A2}"/>
              </a:ext>
            </a:extLst>
          </p:cNvPr>
          <p:cNvSpPr>
            <a:spLocks/>
          </p:cNvSpPr>
          <p:nvPr/>
        </p:nvSpPr>
        <p:spPr>
          <a:xfrm>
            <a:off x="8845859" y="3010725"/>
            <a:ext cx="548640" cy="8096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8" name="Rectangle 166">
            <a:extLst>
              <a:ext uri="{FF2B5EF4-FFF2-40B4-BE49-F238E27FC236}">
                <a16:creationId xmlns:a16="http://schemas.microsoft.com/office/drawing/2014/main" id="{10BA544A-735A-C24B-88A8-161CCC9BC2B0}"/>
              </a:ext>
            </a:extLst>
          </p:cNvPr>
          <p:cNvSpPr>
            <a:spLocks/>
          </p:cNvSpPr>
          <p:nvPr/>
        </p:nvSpPr>
        <p:spPr>
          <a:xfrm>
            <a:off x="9731845" y="1764698"/>
            <a:ext cx="354807"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9" name="Rectangle 167">
            <a:extLst>
              <a:ext uri="{FF2B5EF4-FFF2-40B4-BE49-F238E27FC236}">
                <a16:creationId xmlns:a16="http://schemas.microsoft.com/office/drawing/2014/main" id="{16F6DDCB-02A2-BF4D-903F-42FB89A87A11}"/>
              </a:ext>
            </a:extLst>
          </p:cNvPr>
          <p:cNvSpPr>
            <a:spLocks/>
          </p:cNvSpPr>
          <p:nvPr/>
        </p:nvSpPr>
        <p:spPr>
          <a:xfrm>
            <a:off x="10081887" y="2102150"/>
            <a:ext cx="566928"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0" name="Rectangle 168">
            <a:extLst>
              <a:ext uri="{FF2B5EF4-FFF2-40B4-BE49-F238E27FC236}">
                <a16:creationId xmlns:a16="http://schemas.microsoft.com/office/drawing/2014/main" id="{40EF8EF4-24B2-6F46-968B-F128E408A996}"/>
              </a:ext>
            </a:extLst>
          </p:cNvPr>
          <p:cNvSpPr>
            <a:spLocks/>
          </p:cNvSpPr>
          <p:nvPr/>
        </p:nvSpPr>
        <p:spPr>
          <a:xfrm>
            <a:off x="9943771" y="2509142"/>
            <a:ext cx="548640"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Rectangle 169">
            <a:extLst>
              <a:ext uri="{FF2B5EF4-FFF2-40B4-BE49-F238E27FC236}">
                <a16:creationId xmlns:a16="http://schemas.microsoft.com/office/drawing/2014/main" id="{E3A8458F-CE41-9846-9EC1-973758FF54FF}"/>
              </a:ext>
            </a:extLst>
          </p:cNvPr>
          <p:cNvSpPr>
            <a:spLocks/>
          </p:cNvSpPr>
          <p:nvPr/>
        </p:nvSpPr>
        <p:spPr>
          <a:xfrm>
            <a:off x="10494746" y="3469028"/>
            <a:ext cx="520990" cy="8684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2" name="Rectangle 170">
            <a:extLst>
              <a:ext uri="{FF2B5EF4-FFF2-40B4-BE49-F238E27FC236}">
                <a16:creationId xmlns:a16="http://schemas.microsoft.com/office/drawing/2014/main" id="{3FAA685C-0289-1648-BFBC-B913C961265D}"/>
              </a:ext>
            </a:extLst>
          </p:cNvPr>
          <p:cNvSpPr>
            <a:spLocks/>
          </p:cNvSpPr>
          <p:nvPr/>
        </p:nvSpPr>
        <p:spPr>
          <a:xfrm>
            <a:off x="9943771" y="3025807"/>
            <a:ext cx="548640"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3" name="Rectangle 171">
            <a:extLst>
              <a:ext uri="{FF2B5EF4-FFF2-40B4-BE49-F238E27FC236}">
                <a16:creationId xmlns:a16="http://schemas.microsoft.com/office/drawing/2014/main" id="{433E4160-2D6D-7D48-B328-650AC9E8AB86}"/>
              </a:ext>
            </a:extLst>
          </p:cNvPr>
          <p:cNvSpPr>
            <a:spLocks/>
          </p:cNvSpPr>
          <p:nvPr/>
        </p:nvSpPr>
        <p:spPr>
          <a:xfrm>
            <a:off x="10813068" y="1753003"/>
            <a:ext cx="354807"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4" name="Rectangle 172">
            <a:extLst>
              <a:ext uri="{FF2B5EF4-FFF2-40B4-BE49-F238E27FC236}">
                <a16:creationId xmlns:a16="http://schemas.microsoft.com/office/drawing/2014/main" id="{F767324A-F385-E344-90C7-A0DF32D83126}"/>
              </a:ext>
            </a:extLst>
          </p:cNvPr>
          <p:cNvSpPr>
            <a:spLocks/>
          </p:cNvSpPr>
          <p:nvPr/>
        </p:nvSpPr>
        <p:spPr>
          <a:xfrm>
            <a:off x="11163110" y="2090455"/>
            <a:ext cx="566928"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5" name="Rectangle 173">
            <a:extLst>
              <a:ext uri="{FF2B5EF4-FFF2-40B4-BE49-F238E27FC236}">
                <a16:creationId xmlns:a16="http://schemas.microsoft.com/office/drawing/2014/main" id="{C5867F08-FBF8-7646-A5B4-B5B5A707C1BC}"/>
              </a:ext>
            </a:extLst>
          </p:cNvPr>
          <p:cNvSpPr>
            <a:spLocks/>
          </p:cNvSpPr>
          <p:nvPr/>
        </p:nvSpPr>
        <p:spPr>
          <a:xfrm>
            <a:off x="11024994" y="2497447"/>
            <a:ext cx="548640"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6" name="Rectangle 174">
            <a:extLst>
              <a:ext uri="{FF2B5EF4-FFF2-40B4-BE49-F238E27FC236}">
                <a16:creationId xmlns:a16="http://schemas.microsoft.com/office/drawing/2014/main" id="{4CDD30FE-5D1A-344C-92DA-374B5065A966}"/>
              </a:ext>
            </a:extLst>
          </p:cNvPr>
          <p:cNvSpPr>
            <a:spLocks/>
          </p:cNvSpPr>
          <p:nvPr/>
        </p:nvSpPr>
        <p:spPr>
          <a:xfrm>
            <a:off x="11575969" y="3457333"/>
            <a:ext cx="520990" cy="8684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7" name="Rectangle 175">
            <a:extLst>
              <a:ext uri="{FF2B5EF4-FFF2-40B4-BE49-F238E27FC236}">
                <a16:creationId xmlns:a16="http://schemas.microsoft.com/office/drawing/2014/main" id="{1E07204A-4EA0-F444-BED2-14A6490CB95C}"/>
              </a:ext>
            </a:extLst>
          </p:cNvPr>
          <p:cNvSpPr>
            <a:spLocks/>
          </p:cNvSpPr>
          <p:nvPr/>
        </p:nvSpPr>
        <p:spPr>
          <a:xfrm>
            <a:off x="11024994" y="3014112"/>
            <a:ext cx="548640" cy="809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8" name="Straight Connector 98">
            <a:extLst>
              <a:ext uri="{FF2B5EF4-FFF2-40B4-BE49-F238E27FC236}">
                <a16:creationId xmlns:a16="http://schemas.microsoft.com/office/drawing/2014/main" id="{3552055A-5CE5-444F-8265-FA41B83F9995}"/>
              </a:ext>
            </a:extLst>
          </p:cNvPr>
          <p:cNvCxnSpPr>
            <a:cxnSpLocks/>
          </p:cNvCxnSpPr>
          <p:nvPr>
            <p:custDataLst>
              <p:tags r:id="rId1"/>
            </p:custDataLst>
          </p:nvPr>
        </p:nvCxnSpPr>
        <p:spPr bwMode="gray">
          <a:xfrm>
            <a:off x="356337" y="1230811"/>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pic>
        <p:nvPicPr>
          <p:cNvPr id="199" name="Рисунок 198" descr="Изображение выглядит как объект, часы, поезд&#10;&#10;Автоматически созданное описание">
            <a:extLst>
              <a:ext uri="{FF2B5EF4-FFF2-40B4-BE49-F238E27FC236}">
                <a16:creationId xmlns:a16="http://schemas.microsoft.com/office/drawing/2014/main" id="{E7BC2ABF-B8F4-274F-9A2E-F0D7622E80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9806741">
            <a:off x="9892883" y="5262385"/>
            <a:ext cx="1996948" cy="676691"/>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3126909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marL="0" marR="0" lvl="0" indent="0" algn="l" defTabSz="1242752" rtl="0" eaLnBrk="1" fontAlgn="base" latinLnBrk="0" hangingPunct="1">
              <a:lnSpc>
                <a:spcPct val="100000"/>
              </a:lnSpc>
              <a:spcBef>
                <a:spcPct val="0"/>
              </a:spcBef>
              <a:spcAft>
                <a:spcPct val="0"/>
              </a:spcAft>
              <a:buClrTx/>
              <a:buSzTx/>
              <a:buFontTx/>
              <a:buNone/>
              <a:tabLst/>
              <a:defRPr/>
            </a:pPr>
            <a: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t>Mobile Banking v2.0</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840141"/>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840140"/>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44" name="Rectangle 203">
            <a:extLst>
              <a:ext uri="{FF2B5EF4-FFF2-40B4-BE49-F238E27FC236}">
                <a16:creationId xmlns:a16="http://schemas.microsoft.com/office/drawing/2014/main" id="{16E58713-035E-8B4F-8B79-09BE332CA4C7}"/>
              </a:ext>
            </a:extLst>
          </p:cNvPr>
          <p:cNvSpPr>
            <a:spLocks noChangeArrowheads="1"/>
          </p:cNvSpPr>
          <p:nvPr/>
        </p:nvSpPr>
        <p:spPr bwMode="auto">
          <a:xfrm>
            <a:off x="9890445" y="1669135"/>
            <a:ext cx="1929663" cy="2306203"/>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200" kern="0" dirty="0">
              <a:solidFill>
                <a:srgbClr val="000000"/>
              </a:solidFill>
              <a:latin typeface="Arial"/>
              <a:sym typeface="+mn-lt"/>
            </a:endParaRPr>
          </a:p>
        </p:txBody>
      </p:sp>
      <p:sp>
        <p:nvSpPr>
          <p:cNvPr id="45" name="Rectangle 112">
            <a:extLst>
              <a:ext uri="{FF2B5EF4-FFF2-40B4-BE49-F238E27FC236}">
                <a16:creationId xmlns:a16="http://schemas.microsoft.com/office/drawing/2014/main" id="{9D83500E-FB94-4E44-BD2D-6749C6740A7E}"/>
              </a:ext>
            </a:extLst>
          </p:cNvPr>
          <p:cNvSpPr>
            <a:spLocks noChangeArrowheads="1"/>
          </p:cNvSpPr>
          <p:nvPr/>
        </p:nvSpPr>
        <p:spPr bwMode="auto">
          <a:xfrm>
            <a:off x="9890445" y="1669134"/>
            <a:ext cx="1929663" cy="384705"/>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Risk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Sattar </a:t>
            </a:r>
            <a:r>
              <a:rPr kumimoji="0" lang="en-US" sz="1300" b="0" i="0" u="none" strike="noStrike" kern="0" cap="none" spc="0" normalizeH="0" baseline="0" noProof="0" dirty="0" err="1">
                <a:ln>
                  <a:noFill/>
                </a:ln>
                <a:solidFill>
                  <a:srgbClr val="000000"/>
                </a:solidFill>
                <a:effectLst/>
                <a:uLnTx/>
                <a:uFillTx/>
                <a:latin typeface="Arial"/>
                <a:sym typeface="+mn-lt"/>
              </a:rPr>
              <a:t>Kazimo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10601432" y="103388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20 Jan 2021</a:t>
            </a: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9423066" y="1027320"/>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Launch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8221040" y="1032237"/>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20 Jan 2020</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7042674" y="1030613"/>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2"/>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3"/>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4"/>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5"/>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6"/>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7"/>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8"/>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7" name="Freeform 108">
              <a:extLst>
                <a:ext uri="{FF2B5EF4-FFF2-40B4-BE49-F238E27FC236}">
                  <a16:creationId xmlns:a16="http://schemas.microsoft.com/office/drawing/2014/main" id="{EF189E73-12CB-3A46-AFCC-45DDE3D9DE16}"/>
                </a:ext>
              </a:extLst>
            </p:cNvPr>
            <p:cNvSpPr>
              <a:spLocks/>
            </p:cNvSpPr>
            <p:nvPr>
              <p:custDataLst>
                <p:tags r:id="rId9"/>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a:endParaRPr>
            </a:p>
          </p:txBody>
        </p:sp>
      </p:grpSp>
      <p:grpSp>
        <p:nvGrpSpPr>
          <p:cNvPr id="2" name="Группа 1">
            <a:extLst>
              <a:ext uri="{FF2B5EF4-FFF2-40B4-BE49-F238E27FC236}">
                <a16:creationId xmlns:a16="http://schemas.microsoft.com/office/drawing/2014/main" id="{DEC0B8CA-5AAD-4940-A19C-21CEE50E1974}"/>
              </a:ext>
            </a:extLst>
          </p:cNvPr>
          <p:cNvGrpSpPr/>
          <p:nvPr/>
        </p:nvGrpSpPr>
        <p:grpSpPr>
          <a:xfrm>
            <a:off x="8218769" y="1675713"/>
            <a:ext cx="1561357" cy="2299625"/>
            <a:chOff x="8218769" y="1675713"/>
            <a:chExt cx="1561357" cy="2299625"/>
          </a:xfrm>
        </p:grpSpPr>
        <p:sp>
          <p:nvSpPr>
            <p:cNvPr id="90" name="Rectangle 203">
              <a:extLst>
                <a:ext uri="{FF2B5EF4-FFF2-40B4-BE49-F238E27FC236}">
                  <a16:creationId xmlns:a16="http://schemas.microsoft.com/office/drawing/2014/main" id="{D2D1A8DF-D6B3-DC45-AFE7-648B1FCE409C}"/>
                </a:ext>
              </a:extLst>
            </p:cNvPr>
            <p:cNvSpPr>
              <a:spLocks noChangeArrowheads="1"/>
            </p:cNvSpPr>
            <p:nvPr/>
          </p:nvSpPr>
          <p:spPr bwMode="auto">
            <a:xfrm>
              <a:off x="8218769" y="1675713"/>
              <a:ext cx="1561357" cy="2299625"/>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lvl="0" fontAlgn="base">
                <a:spcBef>
                  <a:spcPct val="0"/>
                </a:spcBef>
                <a:spcAft>
                  <a:spcPct val="0"/>
                </a:spcAft>
                <a:defRPr/>
              </a:pPr>
              <a:endParaRPr lang="en-US" sz="1400" kern="0" dirty="0">
                <a:solidFill>
                  <a:srgbClr val="000000"/>
                </a:solidFill>
                <a:latin typeface="Arial"/>
                <a:sym typeface="+mn-lt"/>
              </a:endParaRPr>
            </a:p>
          </p:txBody>
        </p:sp>
        <p:sp>
          <p:nvSpPr>
            <p:cNvPr id="91" name="Rectangle 112">
              <a:extLst>
                <a:ext uri="{FF2B5EF4-FFF2-40B4-BE49-F238E27FC236}">
                  <a16:creationId xmlns:a16="http://schemas.microsoft.com/office/drawing/2014/main" id="{8A1FB8A2-7586-F445-9FD6-DA8E31FBE536}"/>
                </a:ext>
              </a:extLst>
            </p:cNvPr>
            <p:cNvSpPr>
              <a:spLocks noChangeArrowheads="1"/>
            </p:cNvSpPr>
            <p:nvPr/>
          </p:nvSpPr>
          <p:spPr bwMode="auto">
            <a:xfrm>
              <a:off x="8218769" y="1675713"/>
              <a:ext cx="1561357" cy="384704"/>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Budget</a:t>
              </a:r>
            </a:p>
          </p:txBody>
        </p:sp>
        <p:cxnSp>
          <p:nvCxnSpPr>
            <p:cNvPr id="92" name="Straight Connector 297">
              <a:extLst>
                <a:ext uri="{FF2B5EF4-FFF2-40B4-BE49-F238E27FC236}">
                  <a16:creationId xmlns:a16="http://schemas.microsoft.com/office/drawing/2014/main" id="{5ECC6608-8C9B-AC4C-87EC-7D0CBD44B4FA}"/>
                </a:ext>
              </a:extLst>
            </p:cNvPr>
            <p:cNvCxnSpPr>
              <a:cxnSpLocks/>
            </p:cNvCxnSpPr>
            <p:nvPr/>
          </p:nvCxnSpPr>
          <p:spPr>
            <a:xfrm>
              <a:off x="8329088" y="2562231"/>
              <a:ext cx="1332693" cy="0"/>
            </a:xfrm>
            <a:prstGeom prst="line">
              <a:avLst/>
            </a:prstGeom>
            <a:noFill/>
            <a:ln w="9525" cap="flat" cmpd="sng" algn="ctr">
              <a:solidFill>
                <a:srgbClr val="808080"/>
              </a:solidFill>
              <a:prstDash val="sysDot"/>
            </a:ln>
            <a:effectLst/>
          </p:spPr>
        </p:cxnSp>
        <p:sp>
          <p:nvSpPr>
            <p:cNvPr id="93" name="TextBox 92">
              <a:extLst>
                <a:ext uri="{FF2B5EF4-FFF2-40B4-BE49-F238E27FC236}">
                  <a16:creationId xmlns:a16="http://schemas.microsoft.com/office/drawing/2014/main" id="{7AEB6247-2D14-5049-9F62-DF45346419F6}"/>
                </a:ext>
              </a:extLst>
            </p:cNvPr>
            <p:cNvSpPr txBox="1"/>
            <p:nvPr/>
          </p:nvSpPr>
          <p:spPr>
            <a:xfrm>
              <a:off x="8247191" y="2097253"/>
              <a:ext cx="1219308" cy="461665"/>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Planned</a:t>
              </a:r>
            </a:p>
            <a:p>
              <a:r>
                <a:rPr lang="en-US" sz="1200" b="1" dirty="0">
                  <a:latin typeface="Arial" panose="020B0604020202020204" pitchFamily="34" charset="0"/>
                  <a:cs typeface="Arial" panose="020B0604020202020204" pitchFamily="34" charset="0"/>
                </a:rPr>
                <a:t>2,000,000 AZN</a:t>
              </a:r>
            </a:p>
          </p:txBody>
        </p:sp>
        <p:sp>
          <p:nvSpPr>
            <p:cNvPr id="94" name="TextBox 93">
              <a:extLst>
                <a:ext uri="{FF2B5EF4-FFF2-40B4-BE49-F238E27FC236}">
                  <a16:creationId xmlns:a16="http://schemas.microsoft.com/office/drawing/2014/main" id="{7392604A-16EB-7846-BE3A-246330039856}"/>
                </a:ext>
              </a:extLst>
            </p:cNvPr>
            <p:cNvSpPr txBox="1"/>
            <p:nvPr/>
          </p:nvSpPr>
          <p:spPr>
            <a:xfrm>
              <a:off x="8247191" y="2595754"/>
              <a:ext cx="1040670"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Utilized</a:t>
              </a:r>
            </a:p>
            <a:p>
              <a:r>
                <a:rPr lang="en-US" sz="1000" dirty="0">
                  <a:latin typeface="Arial" panose="020B0604020202020204" pitchFamily="34" charset="0"/>
                  <a:cs typeface="Arial" panose="020B0604020202020204" pitchFamily="34" charset="0"/>
                </a:rPr>
                <a:t>1,900,000 AZN</a:t>
              </a:r>
            </a:p>
          </p:txBody>
        </p:sp>
        <p:sp>
          <p:nvSpPr>
            <p:cNvPr id="95" name="TextBox 94">
              <a:extLst>
                <a:ext uri="{FF2B5EF4-FFF2-40B4-BE49-F238E27FC236}">
                  <a16:creationId xmlns:a16="http://schemas.microsoft.com/office/drawing/2014/main" id="{6208E67A-2E24-3F43-AE07-FEDA905E8C10}"/>
                </a:ext>
              </a:extLst>
            </p:cNvPr>
            <p:cNvSpPr txBox="1"/>
            <p:nvPr/>
          </p:nvSpPr>
          <p:spPr>
            <a:xfrm>
              <a:off x="8236587" y="2967298"/>
              <a:ext cx="934871" cy="400110"/>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Estimated</a:t>
              </a:r>
            </a:p>
            <a:p>
              <a:r>
                <a:rPr lang="en-US" sz="1000" dirty="0">
                  <a:latin typeface="Arial" panose="020B0604020202020204" pitchFamily="34" charset="0"/>
                  <a:cs typeface="Arial" panose="020B0604020202020204" pitchFamily="34" charset="0"/>
                </a:rPr>
                <a:t>200,000 AZN</a:t>
              </a:r>
            </a:p>
          </p:txBody>
        </p:sp>
        <p:cxnSp>
          <p:nvCxnSpPr>
            <p:cNvPr id="96" name="Straight Connector 297">
              <a:extLst>
                <a:ext uri="{FF2B5EF4-FFF2-40B4-BE49-F238E27FC236}">
                  <a16:creationId xmlns:a16="http://schemas.microsoft.com/office/drawing/2014/main" id="{7E2EE8C0-14C6-B448-AB4A-12AE14395CEB}"/>
                </a:ext>
              </a:extLst>
            </p:cNvPr>
            <p:cNvCxnSpPr>
              <a:cxnSpLocks/>
            </p:cNvCxnSpPr>
            <p:nvPr/>
          </p:nvCxnSpPr>
          <p:spPr>
            <a:xfrm>
              <a:off x="8339632" y="3396889"/>
              <a:ext cx="1332693" cy="0"/>
            </a:xfrm>
            <a:prstGeom prst="line">
              <a:avLst/>
            </a:prstGeom>
            <a:noFill/>
            <a:ln w="9525" cap="flat" cmpd="sng" algn="ctr">
              <a:solidFill>
                <a:srgbClr val="808080"/>
              </a:solidFill>
              <a:prstDash val="sysDot"/>
            </a:ln>
            <a:effectLst/>
          </p:spPr>
        </p:cxnSp>
        <p:sp>
          <p:nvSpPr>
            <p:cNvPr id="97" name="TextBox 96">
              <a:extLst>
                <a:ext uri="{FF2B5EF4-FFF2-40B4-BE49-F238E27FC236}">
                  <a16:creationId xmlns:a16="http://schemas.microsoft.com/office/drawing/2014/main" id="{295CC683-A182-6742-BA8E-61251097EA48}"/>
                </a:ext>
              </a:extLst>
            </p:cNvPr>
            <p:cNvSpPr txBox="1"/>
            <p:nvPr/>
          </p:nvSpPr>
          <p:spPr>
            <a:xfrm>
              <a:off x="8260354" y="3456703"/>
              <a:ext cx="1193660" cy="461665"/>
            </a:xfrm>
            <a:prstGeom prst="rect">
              <a:avLst/>
            </a:prstGeom>
            <a:noFill/>
          </p:spPr>
          <p:txBody>
            <a:bodyPr wrap="none" rtlCol="0">
              <a:spAutoFit/>
            </a:bodyPr>
            <a:lstStyle/>
            <a:p>
              <a:r>
                <a:rPr lang="en-US" sz="1200" b="1" dirty="0">
                  <a:solidFill>
                    <a:srgbClr val="C00000"/>
                  </a:solidFill>
                  <a:latin typeface="Arial" panose="020B0604020202020204" pitchFamily="34" charset="0"/>
                  <a:cs typeface="Arial" panose="020B0604020202020204" pitchFamily="34" charset="0"/>
                </a:rPr>
                <a:t>Variance</a:t>
              </a:r>
            </a:p>
            <a:p>
              <a:r>
                <a:rPr lang="en-US" sz="1200" b="1" dirty="0">
                  <a:solidFill>
                    <a:srgbClr val="C00000"/>
                  </a:solidFill>
                  <a:latin typeface="Arial" panose="020B0604020202020204" pitchFamily="34" charset="0"/>
                  <a:cs typeface="Arial" panose="020B0604020202020204" pitchFamily="34" charset="0"/>
                </a:rPr>
                <a:t>(100,000 AZN)</a:t>
              </a:r>
            </a:p>
          </p:txBody>
        </p:sp>
      </p:grpSp>
      <p:cxnSp>
        <p:nvCxnSpPr>
          <p:cNvPr id="98" name="Straight Connector 297">
            <a:extLst>
              <a:ext uri="{FF2B5EF4-FFF2-40B4-BE49-F238E27FC236}">
                <a16:creationId xmlns:a16="http://schemas.microsoft.com/office/drawing/2014/main" id="{FFC9FC2F-2040-EE43-90A5-8F0CEA4DE6CB}"/>
              </a:ext>
            </a:extLst>
          </p:cNvPr>
          <p:cNvCxnSpPr>
            <a:cxnSpLocks/>
          </p:cNvCxnSpPr>
          <p:nvPr/>
        </p:nvCxnSpPr>
        <p:spPr>
          <a:xfrm>
            <a:off x="9988720" y="2358485"/>
            <a:ext cx="1687343" cy="0"/>
          </a:xfrm>
          <a:prstGeom prst="line">
            <a:avLst/>
          </a:prstGeom>
          <a:noFill/>
          <a:ln w="9525" cap="flat" cmpd="sng" algn="ctr">
            <a:solidFill>
              <a:srgbClr val="808080"/>
            </a:solidFill>
            <a:prstDash val="sysDot"/>
          </a:ln>
          <a:effectLst/>
        </p:spPr>
      </p:cxnSp>
      <p:cxnSp>
        <p:nvCxnSpPr>
          <p:cNvPr id="100" name="Straight Connector 297">
            <a:extLst>
              <a:ext uri="{FF2B5EF4-FFF2-40B4-BE49-F238E27FC236}">
                <a16:creationId xmlns:a16="http://schemas.microsoft.com/office/drawing/2014/main" id="{79DF0BC3-E350-9842-828D-5C56932E8B70}"/>
              </a:ext>
            </a:extLst>
          </p:cNvPr>
          <p:cNvCxnSpPr>
            <a:cxnSpLocks/>
          </p:cNvCxnSpPr>
          <p:nvPr/>
        </p:nvCxnSpPr>
        <p:spPr>
          <a:xfrm>
            <a:off x="9980801" y="2673690"/>
            <a:ext cx="1695262" cy="0"/>
          </a:xfrm>
          <a:prstGeom prst="line">
            <a:avLst/>
          </a:prstGeom>
          <a:noFill/>
          <a:ln w="9525" cap="flat" cmpd="sng" algn="ctr">
            <a:solidFill>
              <a:srgbClr val="808080"/>
            </a:solidFill>
            <a:prstDash val="sysDot"/>
          </a:ln>
          <a:effectLst/>
        </p:spPr>
      </p:cxnSp>
      <p:cxnSp>
        <p:nvCxnSpPr>
          <p:cNvPr id="102" name="Straight Connector 297">
            <a:extLst>
              <a:ext uri="{FF2B5EF4-FFF2-40B4-BE49-F238E27FC236}">
                <a16:creationId xmlns:a16="http://schemas.microsoft.com/office/drawing/2014/main" id="{7546B64F-27B4-7A43-94F7-DF12F9585B9C}"/>
              </a:ext>
            </a:extLst>
          </p:cNvPr>
          <p:cNvCxnSpPr>
            <a:cxnSpLocks/>
          </p:cNvCxnSpPr>
          <p:nvPr/>
        </p:nvCxnSpPr>
        <p:spPr>
          <a:xfrm>
            <a:off x="9980801" y="2976559"/>
            <a:ext cx="1695262" cy="0"/>
          </a:xfrm>
          <a:prstGeom prst="line">
            <a:avLst/>
          </a:prstGeom>
          <a:noFill/>
          <a:ln w="9525" cap="flat" cmpd="sng" algn="ctr">
            <a:solidFill>
              <a:srgbClr val="808080"/>
            </a:solidFill>
            <a:prstDash val="sysDot"/>
          </a:ln>
          <a:effectLst/>
        </p:spPr>
      </p:cxnSp>
      <p:cxnSp>
        <p:nvCxnSpPr>
          <p:cNvPr id="104" name="Straight Connector 297">
            <a:extLst>
              <a:ext uri="{FF2B5EF4-FFF2-40B4-BE49-F238E27FC236}">
                <a16:creationId xmlns:a16="http://schemas.microsoft.com/office/drawing/2014/main" id="{034AF066-F388-E247-83B3-A6C3B78C30B8}"/>
              </a:ext>
            </a:extLst>
          </p:cNvPr>
          <p:cNvCxnSpPr>
            <a:cxnSpLocks/>
          </p:cNvCxnSpPr>
          <p:nvPr/>
        </p:nvCxnSpPr>
        <p:spPr>
          <a:xfrm>
            <a:off x="9980800" y="3287898"/>
            <a:ext cx="1695263" cy="0"/>
          </a:xfrm>
          <a:prstGeom prst="line">
            <a:avLst/>
          </a:prstGeom>
          <a:noFill/>
          <a:ln w="9525" cap="flat" cmpd="sng" algn="ctr">
            <a:solidFill>
              <a:srgbClr val="808080"/>
            </a:solidFill>
            <a:prstDash val="sysDot"/>
          </a:ln>
          <a:effectLst/>
        </p:spPr>
      </p:cxnSp>
      <p:cxnSp>
        <p:nvCxnSpPr>
          <p:cNvPr id="106" name="Straight Connector 297">
            <a:extLst>
              <a:ext uri="{FF2B5EF4-FFF2-40B4-BE49-F238E27FC236}">
                <a16:creationId xmlns:a16="http://schemas.microsoft.com/office/drawing/2014/main" id="{0C665FD8-F0D0-2D4D-B24B-D1F53A60F541}"/>
              </a:ext>
            </a:extLst>
          </p:cNvPr>
          <p:cNvCxnSpPr>
            <a:cxnSpLocks/>
          </p:cNvCxnSpPr>
          <p:nvPr/>
        </p:nvCxnSpPr>
        <p:spPr>
          <a:xfrm>
            <a:off x="9980800" y="3601019"/>
            <a:ext cx="1695263" cy="0"/>
          </a:xfrm>
          <a:prstGeom prst="line">
            <a:avLst/>
          </a:prstGeom>
          <a:noFill/>
          <a:ln w="9525" cap="flat" cmpd="sng" algn="ctr">
            <a:solidFill>
              <a:srgbClr val="808080"/>
            </a:solidFill>
            <a:prstDash val="sysDot"/>
          </a:ln>
          <a:effectLst/>
        </p:spPr>
      </p:cxnSp>
      <p:cxnSp>
        <p:nvCxnSpPr>
          <p:cNvPr id="108" name="Straight Connector 297">
            <a:extLst>
              <a:ext uri="{FF2B5EF4-FFF2-40B4-BE49-F238E27FC236}">
                <a16:creationId xmlns:a16="http://schemas.microsoft.com/office/drawing/2014/main" id="{CB2C9FE2-7F51-5848-AFC4-F90F928AD4DB}"/>
              </a:ext>
            </a:extLst>
          </p:cNvPr>
          <p:cNvCxnSpPr>
            <a:cxnSpLocks/>
          </p:cNvCxnSpPr>
          <p:nvPr/>
        </p:nvCxnSpPr>
        <p:spPr>
          <a:xfrm>
            <a:off x="9980799" y="3914150"/>
            <a:ext cx="1695264" cy="0"/>
          </a:xfrm>
          <a:prstGeom prst="line">
            <a:avLst/>
          </a:prstGeom>
          <a:noFill/>
          <a:ln w="9525" cap="flat" cmpd="sng" algn="ctr">
            <a:solidFill>
              <a:srgbClr val="808080"/>
            </a:solidFill>
            <a:prstDash val="sysDot"/>
          </a:ln>
          <a:effectLst/>
        </p:spPr>
      </p:cxnSp>
      <p:sp>
        <p:nvSpPr>
          <p:cNvPr id="11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218769" y="4398602"/>
            <a:ext cx="3601756" cy="2108289"/>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171450" lvl="0" indent="-171450" fontAlgn="base">
              <a:spcBef>
                <a:spcPct val="0"/>
              </a:spcBef>
              <a:spcAft>
                <a:spcPct val="0"/>
              </a:spcAft>
              <a:buFont typeface="Arial" panose="020B0604020202020204" pitchFamily="34" charset="0"/>
              <a:buChar char="•"/>
              <a:defRPr/>
            </a:pPr>
            <a:endParaRPr lang="en-US" sz="1200" kern="0" dirty="0">
              <a:solidFill>
                <a:srgbClr val="000000"/>
              </a:solidFill>
              <a:latin typeface="Arial"/>
              <a:sym typeface="+mn-lt"/>
            </a:endParaRPr>
          </a:p>
        </p:txBody>
      </p:sp>
      <p:sp>
        <p:nvSpPr>
          <p:cNvPr id="11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218769" y="4130099"/>
            <a:ext cx="3601756"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Human Resources</a:t>
            </a:r>
          </a:p>
        </p:txBody>
      </p:sp>
      <p:cxnSp>
        <p:nvCxnSpPr>
          <p:cNvPr id="117" name="Straight Connector 297">
            <a:extLst>
              <a:ext uri="{FF2B5EF4-FFF2-40B4-BE49-F238E27FC236}">
                <a16:creationId xmlns:a16="http://schemas.microsoft.com/office/drawing/2014/main" id="{4AFAEEBA-94D5-3847-800E-E4C10E2C7F36}"/>
              </a:ext>
            </a:extLst>
          </p:cNvPr>
          <p:cNvCxnSpPr>
            <a:cxnSpLocks/>
          </p:cNvCxnSpPr>
          <p:nvPr/>
        </p:nvCxnSpPr>
        <p:spPr>
          <a:xfrm>
            <a:off x="8329090" y="4858720"/>
            <a:ext cx="3346973" cy="0"/>
          </a:xfrm>
          <a:prstGeom prst="line">
            <a:avLst/>
          </a:prstGeom>
          <a:noFill/>
          <a:ln w="9525" cap="flat" cmpd="sng" algn="ctr">
            <a:solidFill>
              <a:srgbClr val="808080"/>
            </a:solidFill>
            <a:prstDash val="sysDot"/>
          </a:ln>
          <a:effectLst/>
        </p:spPr>
      </p:cxnSp>
      <p:cxnSp>
        <p:nvCxnSpPr>
          <p:cNvPr id="118" name="Straight Connector 297">
            <a:extLst>
              <a:ext uri="{FF2B5EF4-FFF2-40B4-BE49-F238E27FC236}">
                <a16:creationId xmlns:a16="http://schemas.microsoft.com/office/drawing/2014/main" id="{BCD65770-0F4D-E74E-A88C-5EDC2F6ED5C2}"/>
              </a:ext>
            </a:extLst>
          </p:cNvPr>
          <p:cNvCxnSpPr>
            <a:cxnSpLocks/>
          </p:cNvCxnSpPr>
          <p:nvPr/>
        </p:nvCxnSpPr>
        <p:spPr>
          <a:xfrm>
            <a:off x="8329090" y="5226008"/>
            <a:ext cx="3347903" cy="0"/>
          </a:xfrm>
          <a:prstGeom prst="line">
            <a:avLst/>
          </a:prstGeom>
          <a:noFill/>
          <a:ln w="9525" cap="flat" cmpd="sng" algn="ctr">
            <a:solidFill>
              <a:srgbClr val="808080"/>
            </a:solidFill>
            <a:prstDash val="sysDot"/>
          </a:ln>
          <a:effectLst/>
        </p:spPr>
      </p:cxnSp>
      <p:cxnSp>
        <p:nvCxnSpPr>
          <p:cNvPr id="119" name="Straight Connector 297">
            <a:extLst>
              <a:ext uri="{FF2B5EF4-FFF2-40B4-BE49-F238E27FC236}">
                <a16:creationId xmlns:a16="http://schemas.microsoft.com/office/drawing/2014/main" id="{625FF029-79F9-C545-84A8-4FC649F69FEE}"/>
              </a:ext>
            </a:extLst>
          </p:cNvPr>
          <p:cNvCxnSpPr>
            <a:cxnSpLocks/>
          </p:cNvCxnSpPr>
          <p:nvPr/>
        </p:nvCxnSpPr>
        <p:spPr>
          <a:xfrm>
            <a:off x="8329090" y="5587599"/>
            <a:ext cx="3346973" cy="0"/>
          </a:xfrm>
          <a:prstGeom prst="line">
            <a:avLst/>
          </a:prstGeom>
          <a:noFill/>
          <a:ln w="9525" cap="flat" cmpd="sng" algn="ctr">
            <a:solidFill>
              <a:srgbClr val="808080"/>
            </a:solidFill>
            <a:prstDash val="sysDot"/>
          </a:ln>
          <a:effectLst/>
        </p:spPr>
      </p:cxnSp>
      <p:cxnSp>
        <p:nvCxnSpPr>
          <p:cNvPr id="120" name="Straight Connector 297">
            <a:extLst>
              <a:ext uri="{FF2B5EF4-FFF2-40B4-BE49-F238E27FC236}">
                <a16:creationId xmlns:a16="http://schemas.microsoft.com/office/drawing/2014/main" id="{D9A8BDC1-0B57-EF4B-96F0-196B077FD6D5}"/>
              </a:ext>
            </a:extLst>
          </p:cNvPr>
          <p:cNvCxnSpPr>
            <a:cxnSpLocks/>
          </p:cNvCxnSpPr>
          <p:nvPr/>
        </p:nvCxnSpPr>
        <p:spPr>
          <a:xfrm>
            <a:off x="8329090" y="5950639"/>
            <a:ext cx="3347903" cy="0"/>
          </a:xfrm>
          <a:prstGeom prst="line">
            <a:avLst/>
          </a:prstGeom>
          <a:noFill/>
          <a:ln w="9525" cap="flat" cmpd="sng" algn="ctr">
            <a:solidFill>
              <a:srgbClr val="808080"/>
            </a:solidFill>
            <a:prstDash val="sysDot"/>
          </a:ln>
          <a:effectLst/>
        </p:spPr>
      </p:cxnSp>
      <p:sp>
        <p:nvSpPr>
          <p:cNvPr id="121" name="TextBox 120">
            <a:extLst>
              <a:ext uri="{FF2B5EF4-FFF2-40B4-BE49-F238E27FC236}">
                <a16:creationId xmlns:a16="http://schemas.microsoft.com/office/drawing/2014/main" id="{D892A228-5363-0E4C-8B21-6F24174F13AF}"/>
              </a:ext>
            </a:extLst>
          </p:cNvPr>
          <p:cNvSpPr txBox="1"/>
          <p:nvPr/>
        </p:nvSpPr>
        <p:spPr>
          <a:xfrm>
            <a:off x="8248467" y="4547875"/>
            <a:ext cx="134479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Business Analyst</a:t>
            </a:r>
            <a:endParaRPr lang="ru-AZ" sz="1200" dirty="0">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CAF86400-5F07-0C4C-ADDE-D7A838613419}"/>
              </a:ext>
            </a:extLst>
          </p:cNvPr>
          <p:cNvSpPr txBox="1"/>
          <p:nvPr/>
        </p:nvSpPr>
        <p:spPr>
          <a:xfrm>
            <a:off x="8236589" y="4906976"/>
            <a:ext cx="144623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oftware Engineer</a:t>
            </a:r>
            <a:endParaRPr lang="ru-AZ" sz="1200" dirty="0">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C14992B0-F02A-B441-917A-EEB5FCD77096}"/>
              </a:ext>
            </a:extLst>
          </p:cNvPr>
          <p:cNvSpPr txBox="1"/>
          <p:nvPr/>
        </p:nvSpPr>
        <p:spPr>
          <a:xfrm>
            <a:off x="8247193" y="5278495"/>
            <a:ext cx="120898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Product Owner</a:t>
            </a:r>
            <a:endParaRPr lang="ru-AZ" sz="1200" dirty="0">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7E0070-6A7E-1C40-B3B4-E1A4589EC05C}"/>
              </a:ext>
            </a:extLst>
          </p:cNvPr>
          <p:cNvSpPr txBox="1"/>
          <p:nvPr/>
        </p:nvSpPr>
        <p:spPr>
          <a:xfrm>
            <a:off x="8236589" y="5614488"/>
            <a:ext cx="1156086"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SRE Engineer</a:t>
            </a:r>
            <a:endParaRPr lang="ru-AZ" sz="1200" dirty="0">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AFA18081-2203-4446-BACC-A77DBAD53629}"/>
              </a:ext>
            </a:extLst>
          </p:cNvPr>
          <p:cNvSpPr txBox="1"/>
          <p:nvPr/>
        </p:nvSpPr>
        <p:spPr>
          <a:xfrm>
            <a:off x="8236589" y="6057239"/>
            <a:ext cx="1038874"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Grand Total</a:t>
            </a:r>
            <a:endParaRPr lang="ru-AZ" sz="1200" b="1" dirty="0">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87B23D8C-E2D8-A642-8ACE-E928FE08724E}"/>
              </a:ext>
            </a:extLst>
          </p:cNvPr>
          <p:cNvSpPr txBox="1"/>
          <p:nvPr/>
        </p:nvSpPr>
        <p:spPr>
          <a:xfrm>
            <a:off x="10831178" y="456253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2 (20) MH</a:t>
            </a:r>
            <a:endParaRPr lang="ru-AZ" sz="1200" dirty="0">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2EB454F2-9BB1-194D-9318-D84128178562}"/>
              </a:ext>
            </a:extLst>
          </p:cNvPr>
          <p:cNvSpPr txBox="1"/>
          <p:nvPr/>
        </p:nvSpPr>
        <p:spPr>
          <a:xfrm>
            <a:off x="11139676" y="5274548"/>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043DEE12-BD8C-2D45-A7B2-C78AC238B55D}"/>
              </a:ext>
            </a:extLst>
          </p:cNvPr>
          <p:cNvSpPr txBox="1"/>
          <p:nvPr/>
        </p:nvSpPr>
        <p:spPr>
          <a:xfrm>
            <a:off x="11139675" y="5631462"/>
            <a:ext cx="636713"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20 MH</a:t>
            </a:r>
            <a:endParaRPr lang="ru-AZ" sz="120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F3C9DAEB-AC11-D248-8C53-56B82131CDA2}"/>
              </a:ext>
            </a:extLst>
          </p:cNvPr>
          <p:cNvSpPr txBox="1"/>
          <p:nvPr/>
        </p:nvSpPr>
        <p:spPr>
          <a:xfrm>
            <a:off x="10830584" y="6059263"/>
            <a:ext cx="952505" cy="276999"/>
          </a:xfrm>
          <a:prstGeom prst="rect">
            <a:avLst/>
          </a:prstGeom>
          <a:noFill/>
        </p:spPr>
        <p:txBody>
          <a:bodyPr wrap="none" rtlCol="0">
            <a:spAutoFit/>
          </a:bodyPr>
          <a:lstStyle/>
          <a:p>
            <a:r>
              <a:rPr lang="en-US" sz="1200" b="1" dirty="0">
                <a:latin typeface="Arial" panose="020B0604020202020204" pitchFamily="34" charset="0"/>
                <a:cs typeface="Arial" panose="020B0604020202020204" pitchFamily="34" charset="0"/>
              </a:rPr>
              <a:t>76 (80) MH</a:t>
            </a:r>
            <a:endParaRPr lang="ru-AZ" sz="1200" b="1" dirty="0">
              <a:latin typeface="Arial" panose="020B0604020202020204" pitchFamily="34" charset="0"/>
              <a:cs typeface="Arial" panose="020B0604020202020204" pitchFamily="34" charset="0"/>
            </a:endParaRPr>
          </a:p>
        </p:txBody>
      </p:sp>
      <p:grpSp>
        <p:nvGrpSpPr>
          <p:cNvPr id="310" name="Группа 309">
            <a:extLst>
              <a:ext uri="{FF2B5EF4-FFF2-40B4-BE49-F238E27FC236}">
                <a16:creationId xmlns:a16="http://schemas.microsoft.com/office/drawing/2014/main" id="{1E3B3660-093E-EE45-A1C9-F07BED38F4AF}"/>
              </a:ext>
            </a:extLst>
          </p:cNvPr>
          <p:cNvGrpSpPr/>
          <p:nvPr/>
        </p:nvGrpSpPr>
        <p:grpSpPr>
          <a:xfrm>
            <a:off x="359978" y="1761011"/>
            <a:ext cx="6273754" cy="2848698"/>
            <a:chOff x="359978" y="1761011"/>
            <a:chExt cx="6273754" cy="2848698"/>
          </a:xfrm>
        </p:grpSpPr>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1776167" y="2258178"/>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20460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2315897"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2555983" y="2250963"/>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286540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312549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3395356"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3665221"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393508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420495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447481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4744680"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5014545"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528440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91">
              <a:extLst>
                <a:ext uri="{FF2B5EF4-FFF2-40B4-BE49-F238E27FC236}">
                  <a16:creationId xmlns:a16="http://schemas.microsoft.com/office/drawing/2014/main" id="{7CCDFE0D-C8B3-D147-B6E6-C785DA6CD0C7}"/>
                </a:ext>
              </a:extLst>
            </p:cNvPr>
            <p:cNvCxnSpPr/>
            <p:nvPr/>
          </p:nvCxnSpPr>
          <p:spPr>
            <a:xfrm>
              <a:off x="555427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4" name="Straight Connector 92">
              <a:extLst>
                <a:ext uri="{FF2B5EF4-FFF2-40B4-BE49-F238E27FC236}">
                  <a16:creationId xmlns:a16="http://schemas.microsoft.com/office/drawing/2014/main" id="{26B23868-3B81-BF42-8455-B23DD14662E3}"/>
                </a:ext>
              </a:extLst>
            </p:cNvPr>
            <p:cNvCxnSpPr/>
            <p:nvPr/>
          </p:nvCxnSpPr>
          <p:spPr>
            <a:xfrm>
              <a:off x="5824139"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93">
              <a:extLst>
                <a:ext uri="{FF2B5EF4-FFF2-40B4-BE49-F238E27FC236}">
                  <a16:creationId xmlns:a16="http://schemas.microsoft.com/office/drawing/2014/main" id="{04EE39D3-71D3-2D4F-83FE-933A0D4008B2}"/>
                </a:ext>
              </a:extLst>
            </p:cNvPr>
            <p:cNvCxnSpPr/>
            <p:nvPr/>
          </p:nvCxnSpPr>
          <p:spPr>
            <a:xfrm>
              <a:off x="6094004"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6" name="Straight Connector 94">
              <a:extLst>
                <a:ext uri="{FF2B5EF4-FFF2-40B4-BE49-F238E27FC236}">
                  <a16:creationId xmlns:a16="http://schemas.microsoft.com/office/drawing/2014/main" id="{9348923D-7415-A846-A9DC-88233D6C6919}"/>
                </a:ext>
              </a:extLst>
            </p:cNvPr>
            <p:cNvCxnSpPr/>
            <p:nvPr/>
          </p:nvCxnSpPr>
          <p:spPr>
            <a:xfrm>
              <a:off x="6363868"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95">
              <a:extLst>
                <a:ext uri="{FF2B5EF4-FFF2-40B4-BE49-F238E27FC236}">
                  <a16:creationId xmlns:a16="http://schemas.microsoft.com/office/drawing/2014/main" id="{BFF138AE-13E1-9F42-8197-8B257E5F8A87}"/>
                </a:ext>
              </a:extLst>
            </p:cNvPr>
            <p:cNvCxnSpPr/>
            <p:nvPr/>
          </p:nvCxnSpPr>
          <p:spPr>
            <a:xfrm>
              <a:off x="6633732" y="2258178"/>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8" name="Group 317">
              <a:extLst>
                <a:ext uri="{FF2B5EF4-FFF2-40B4-BE49-F238E27FC236}">
                  <a16:creationId xmlns:a16="http://schemas.microsoft.com/office/drawing/2014/main" id="{EB637282-82E6-AE41-851E-5C0FA100200F}"/>
                </a:ext>
              </a:extLst>
            </p:cNvPr>
            <p:cNvGrpSpPr/>
            <p:nvPr/>
          </p:nvGrpSpPr>
          <p:grpSpPr>
            <a:xfrm>
              <a:off x="1787216" y="1761011"/>
              <a:ext cx="4819687" cy="473417"/>
              <a:chOff x="7040958" y="664057"/>
              <a:chExt cx="4819687" cy="473417"/>
            </a:xfrm>
          </p:grpSpPr>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7040958" y="664057"/>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7040958" y="898342"/>
                <a:ext cx="15813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732660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732660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759646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759646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7866334"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7866334"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813619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813619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7056739"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7056739"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840606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840606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894579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894579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921565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921565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9485523"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9485523"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975538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975538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1002525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1002525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1029511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1029511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5" name="Rectangle 10">
                <a:extLst>
                  <a:ext uri="{FF2B5EF4-FFF2-40B4-BE49-F238E27FC236}">
                    <a16:creationId xmlns:a16="http://schemas.microsoft.com/office/drawing/2014/main" id="{72A0D6FD-EAF3-E841-950E-4BAB376BC257}"/>
                  </a:ext>
                </a:extLst>
              </p:cNvPr>
              <p:cNvSpPr txBox="1">
                <a:spLocks/>
              </p:cNvSpPr>
              <p:nvPr/>
            </p:nvSpPr>
            <p:spPr>
              <a:xfrm>
                <a:off x="10564982"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86" name="Straight Connector 57">
                <a:extLst>
                  <a:ext uri="{FF2B5EF4-FFF2-40B4-BE49-F238E27FC236}">
                    <a16:creationId xmlns:a16="http://schemas.microsoft.com/office/drawing/2014/main" id="{38EE8E9E-BCB9-694A-B0A5-428BB85BA7AF}"/>
                  </a:ext>
                </a:extLst>
              </p:cNvPr>
              <p:cNvCxnSpPr>
                <a:cxnSpLocks/>
              </p:cNvCxnSpPr>
              <p:nvPr/>
            </p:nvCxnSpPr>
            <p:spPr>
              <a:xfrm flipH="1">
                <a:off x="10564982"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7" name="Rectangle 10">
                <a:extLst>
                  <a:ext uri="{FF2B5EF4-FFF2-40B4-BE49-F238E27FC236}">
                    <a16:creationId xmlns:a16="http://schemas.microsoft.com/office/drawing/2014/main" id="{74DF2DFF-804A-FC48-A10B-201DF06AAC33}"/>
                  </a:ext>
                </a:extLst>
              </p:cNvPr>
              <p:cNvSpPr txBox="1">
                <a:spLocks/>
              </p:cNvSpPr>
              <p:nvPr/>
            </p:nvSpPr>
            <p:spPr>
              <a:xfrm>
                <a:off x="10834847"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88" name="Straight Connector 60">
                <a:extLst>
                  <a:ext uri="{FF2B5EF4-FFF2-40B4-BE49-F238E27FC236}">
                    <a16:creationId xmlns:a16="http://schemas.microsoft.com/office/drawing/2014/main" id="{A6E6D03A-7C8C-E945-A18D-88A2E8868F3A}"/>
                  </a:ext>
                </a:extLst>
              </p:cNvPr>
              <p:cNvCxnSpPr>
                <a:cxnSpLocks/>
              </p:cNvCxnSpPr>
              <p:nvPr/>
            </p:nvCxnSpPr>
            <p:spPr>
              <a:xfrm flipH="1">
                <a:off x="10834847"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9" name="Rectangle 10">
                <a:extLst>
                  <a:ext uri="{FF2B5EF4-FFF2-40B4-BE49-F238E27FC236}">
                    <a16:creationId xmlns:a16="http://schemas.microsoft.com/office/drawing/2014/main" id="{A45A57D8-AA1B-7240-9955-FAA525667A42}"/>
                  </a:ext>
                </a:extLst>
              </p:cNvPr>
              <p:cNvSpPr txBox="1">
                <a:spLocks/>
              </p:cNvSpPr>
              <p:nvPr/>
            </p:nvSpPr>
            <p:spPr>
              <a:xfrm>
                <a:off x="1110471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90" name="Straight Connector 63">
                <a:extLst>
                  <a:ext uri="{FF2B5EF4-FFF2-40B4-BE49-F238E27FC236}">
                    <a16:creationId xmlns:a16="http://schemas.microsoft.com/office/drawing/2014/main" id="{5EEE22C1-7A3F-564A-8F17-5F9786FEC34E}"/>
                  </a:ext>
                </a:extLst>
              </p:cNvPr>
              <p:cNvCxnSpPr>
                <a:cxnSpLocks/>
              </p:cNvCxnSpPr>
              <p:nvPr/>
            </p:nvCxnSpPr>
            <p:spPr>
              <a:xfrm flipH="1">
                <a:off x="1110471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1" name="Rectangle 10">
                <a:extLst>
                  <a:ext uri="{FF2B5EF4-FFF2-40B4-BE49-F238E27FC236}">
                    <a16:creationId xmlns:a16="http://schemas.microsoft.com/office/drawing/2014/main" id="{F89ABF7B-CE6E-CC4C-8AD8-3B916ECEB466}"/>
                  </a:ext>
                </a:extLst>
              </p:cNvPr>
              <p:cNvSpPr txBox="1">
                <a:spLocks/>
              </p:cNvSpPr>
              <p:nvPr/>
            </p:nvSpPr>
            <p:spPr>
              <a:xfrm>
                <a:off x="11374576"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92" name="Straight Connector 66">
                <a:extLst>
                  <a:ext uri="{FF2B5EF4-FFF2-40B4-BE49-F238E27FC236}">
                    <a16:creationId xmlns:a16="http://schemas.microsoft.com/office/drawing/2014/main" id="{99280E34-D24D-9C40-8AE6-8F155B7D4ACA}"/>
                  </a:ext>
                </a:extLst>
              </p:cNvPr>
              <p:cNvCxnSpPr>
                <a:cxnSpLocks/>
              </p:cNvCxnSpPr>
              <p:nvPr/>
            </p:nvCxnSpPr>
            <p:spPr>
              <a:xfrm flipH="1">
                <a:off x="11374576"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8675928"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8675928"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8675928" y="664057"/>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1</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8675928" y="898342"/>
                <a:ext cx="31847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7" name="Rectangle 10">
                <a:extLst>
                  <a:ext uri="{FF2B5EF4-FFF2-40B4-BE49-F238E27FC236}">
                    <a16:creationId xmlns:a16="http://schemas.microsoft.com/office/drawing/2014/main" id="{9930FB3B-2E79-214A-ACC4-21C16FDB5048}"/>
                  </a:ext>
                </a:extLst>
              </p:cNvPr>
              <p:cNvSpPr txBox="1">
                <a:spLocks/>
              </p:cNvSpPr>
              <p:nvPr/>
            </p:nvSpPr>
            <p:spPr>
              <a:xfrm>
                <a:off x="11644441" y="90318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98" name="Straight Connector 69">
                <a:extLst>
                  <a:ext uri="{FF2B5EF4-FFF2-40B4-BE49-F238E27FC236}">
                    <a16:creationId xmlns:a16="http://schemas.microsoft.com/office/drawing/2014/main" id="{E41C78BB-F863-124A-853E-D9EA676854C4}"/>
                  </a:ext>
                </a:extLst>
              </p:cNvPr>
              <p:cNvCxnSpPr>
                <a:cxnSpLocks/>
              </p:cNvCxnSpPr>
              <p:nvPr/>
            </p:nvCxnSpPr>
            <p:spPr>
              <a:xfrm flipH="1">
                <a:off x="11644441" y="113747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1786" y="1763435"/>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59978" y="2117285"/>
              <a:ext cx="1236389" cy="936972"/>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766437" y="2482125"/>
              <a:ext cx="2438513"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71786" y="1997720"/>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766438" y="2540392"/>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en-US" sz="900" b="1" dirty="0">
                  <a:solidFill>
                    <a:prstClr val="white"/>
                  </a:solidFill>
                  <a:latin typeface="Arial"/>
                </a:rPr>
                <a:t>7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61396" y="3163923"/>
              <a:ext cx="1236389" cy="66806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velopment</a:t>
              </a: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154134" y="334291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154134" y="3401181"/>
              <a:ext cx="152501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0%</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59978" y="3941649"/>
              <a:ext cx="1236389" cy="66806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en-US" sz="1200" dirty="0">
                  <a:solidFill>
                    <a:srgbClr val="FFFFFF"/>
                  </a:solidFill>
                </a:rPr>
                <a:t>Testing</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3233593" y="4027994"/>
              <a:ext cx="248244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3233593" y="4086261"/>
              <a:ext cx="684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2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grpSp>
      <p:grpSp>
        <p:nvGrpSpPr>
          <p:cNvPr id="326" name="Группа 325">
            <a:extLst>
              <a:ext uri="{FF2B5EF4-FFF2-40B4-BE49-F238E27FC236}">
                <a16:creationId xmlns:a16="http://schemas.microsoft.com/office/drawing/2014/main" id="{5FA531EE-822A-A04D-9F6C-C73F8D253642}"/>
              </a:ext>
            </a:extLst>
          </p:cNvPr>
          <p:cNvGrpSpPr/>
          <p:nvPr/>
        </p:nvGrpSpPr>
        <p:grpSpPr>
          <a:xfrm>
            <a:off x="6979788" y="2577147"/>
            <a:ext cx="832750" cy="1364502"/>
            <a:chOff x="6760468" y="5091243"/>
            <a:chExt cx="832750" cy="1364502"/>
          </a:xfrm>
        </p:grpSpPr>
        <p:grpSp>
          <p:nvGrpSpPr>
            <p:cNvPr id="312" name="Gruppieren 125">
              <a:extLst>
                <a:ext uri="{FF2B5EF4-FFF2-40B4-BE49-F238E27FC236}">
                  <a16:creationId xmlns:a16="http://schemas.microsoft.com/office/drawing/2014/main" id="{6D0F5EED-F534-3D45-A40C-51E3FA20B686}"/>
                </a:ext>
              </a:extLst>
            </p:cNvPr>
            <p:cNvGrpSpPr>
              <a:grpSpLocks noChangeAspect="1"/>
            </p:cNvGrpSpPr>
            <p:nvPr/>
          </p:nvGrpSpPr>
          <p:grpSpPr bwMode="gray">
            <a:xfrm>
              <a:off x="6788693" y="5091243"/>
              <a:ext cx="730071" cy="780936"/>
              <a:chOff x="17682888" y="3925377"/>
              <a:chExt cx="993677" cy="1062908"/>
            </a:xfrm>
          </p:grpSpPr>
          <p:sp>
            <p:nvSpPr>
              <p:cNvPr id="314" name="Freihandform: Form 126">
                <a:extLst>
                  <a:ext uri="{FF2B5EF4-FFF2-40B4-BE49-F238E27FC236}">
                    <a16:creationId xmlns:a16="http://schemas.microsoft.com/office/drawing/2014/main" id="{2B1E5EDF-8B86-244C-8753-DB594AB1861E}"/>
                  </a:ext>
                </a:extLst>
              </p:cNvPr>
              <p:cNvSpPr/>
              <p:nvPr/>
            </p:nvSpPr>
            <p:spPr bwMode="gray">
              <a:xfrm>
                <a:off x="17757821" y="4141216"/>
                <a:ext cx="847069" cy="847069"/>
              </a:xfrm>
              <a:custGeom>
                <a:avLst/>
                <a:gdLst>
                  <a:gd name="connsiteX0" fmla="*/ 829557 w 847068"/>
                  <a:gd name="connsiteY0" fmla="*/ 423942 h 847068"/>
                  <a:gd name="connsiteX1" fmla="*/ 423942 w 847068"/>
                  <a:gd name="connsiteY1" fmla="*/ 18326 h 847068"/>
                  <a:gd name="connsiteX2" fmla="*/ 18326 w 847068"/>
                  <a:gd name="connsiteY2" fmla="*/ 423942 h 847068"/>
                  <a:gd name="connsiteX3" fmla="*/ 423942 w 847068"/>
                  <a:gd name="connsiteY3" fmla="*/ 829557 h 847068"/>
                  <a:gd name="connsiteX4" fmla="*/ 829557 w 847068"/>
                  <a:gd name="connsiteY4" fmla="*/ 423942 h 847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068" h="847068">
                    <a:moveTo>
                      <a:pt x="829557" y="423942"/>
                    </a:moveTo>
                    <a:cubicBezTo>
                      <a:pt x="829557" y="199957"/>
                      <a:pt x="647926" y="18326"/>
                      <a:pt x="423942" y="18326"/>
                    </a:cubicBezTo>
                    <a:cubicBezTo>
                      <a:pt x="199957" y="18326"/>
                      <a:pt x="18326" y="199957"/>
                      <a:pt x="18326" y="423942"/>
                    </a:cubicBezTo>
                    <a:cubicBezTo>
                      <a:pt x="18326" y="647926"/>
                      <a:pt x="199957" y="829557"/>
                      <a:pt x="423942" y="829557"/>
                    </a:cubicBezTo>
                    <a:cubicBezTo>
                      <a:pt x="647926" y="829557"/>
                      <a:pt x="829557" y="647926"/>
                      <a:pt x="829557" y="423942"/>
                    </a:cubicBezTo>
                    <a:close/>
                  </a:path>
                </a:pathLst>
              </a:custGeom>
              <a:noFill/>
              <a:ln w="25400" cap="rnd">
                <a:solidFill>
                  <a:srgbClr val="FF6011"/>
                </a:solidFill>
                <a:prstDash val="solid"/>
                <a:miter/>
              </a:ln>
            </p:spPr>
            <p:txBody>
              <a:bodyPr rtlCol="0" anchor="ctr"/>
              <a:lstStyle/>
              <a:p>
                <a:endParaRPr lang="en-US" dirty="0"/>
              </a:p>
            </p:txBody>
          </p:sp>
          <p:sp>
            <p:nvSpPr>
              <p:cNvPr id="315" name="Freihandform: Form 127">
                <a:extLst>
                  <a:ext uri="{FF2B5EF4-FFF2-40B4-BE49-F238E27FC236}">
                    <a16:creationId xmlns:a16="http://schemas.microsoft.com/office/drawing/2014/main" id="{8301ED1A-8F03-8B47-9C20-543B067B9B4F}"/>
                  </a:ext>
                </a:extLst>
              </p:cNvPr>
              <p:cNvSpPr/>
              <p:nvPr/>
            </p:nvSpPr>
            <p:spPr bwMode="gray">
              <a:xfrm>
                <a:off x="17682888" y="4066283"/>
                <a:ext cx="993677" cy="513128"/>
              </a:xfrm>
              <a:custGeom>
                <a:avLst/>
                <a:gdLst>
                  <a:gd name="connsiteX0" fmla="*/ 979423 w 993676"/>
                  <a:gd name="connsiteY0" fmla="*/ 498875 h 513128"/>
                  <a:gd name="connsiteX1" fmla="*/ 498875 w 993676"/>
                  <a:gd name="connsiteY1" fmla="*/ 18326 h 513128"/>
                  <a:gd name="connsiteX2" fmla="*/ 18326 w 993676"/>
                  <a:gd name="connsiteY2" fmla="*/ 498875 h 513128"/>
                </a:gdLst>
                <a:ahLst/>
                <a:cxnLst>
                  <a:cxn ang="0">
                    <a:pos x="connsiteX0" y="connsiteY0"/>
                  </a:cxn>
                  <a:cxn ang="0">
                    <a:pos x="connsiteX1" y="connsiteY1"/>
                  </a:cxn>
                  <a:cxn ang="0">
                    <a:pos x="connsiteX2" y="connsiteY2"/>
                  </a:cxn>
                </a:cxnLst>
                <a:rect l="l" t="t" r="r" b="b"/>
                <a:pathLst>
                  <a:path w="993676" h="513128">
                    <a:moveTo>
                      <a:pt x="979423" y="498875"/>
                    </a:moveTo>
                    <a:cubicBezTo>
                      <a:pt x="979423" y="233351"/>
                      <a:pt x="764398" y="18326"/>
                      <a:pt x="498875" y="18326"/>
                    </a:cubicBezTo>
                    <a:cubicBezTo>
                      <a:pt x="233351" y="18326"/>
                      <a:pt x="18326" y="233351"/>
                      <a:pt x="18326" y="498875"/>
                    </a:cubicBezTo>
                  </a:path>
                </a:pathLst>
              </a:custGeom>
              <a:noFill/>
              <a:ln w="25400" cap="rnd">
                <a:solidFill>
                  <a:srgbClr val="FF6011"/>
                </a:solidFill>
                <a:prstDash val="solid"/>
                <a:miter/>
              </a:ln>
            </p:spPr>
            <p:txBody>
              <a:bodyPr rtlCol="0" anchor="ctr"/>
              <a:lstStyle/>
              <a:p>
                <a:endParaRPr lang="en-US" dirty="0"/>
              </a:p>
            </p:txBody>
          </p:sp>
          <p:sp>
            <p:nvSpPr>
              <p:cNvPr id="316" name="Freihandform: Form 128">
                <a:extLst>
                  <a:ext uri="{FF2B5EF4-FFF2-40B4-BE49-F238E27FC236}">
                    <a16:creationId xmlns:a16="http://schemas.microsoft.com/office/drawing/2014/main" id="{9A500CEF-F8C5-DB46-82CB-9EDFCB5856AF}"/>
                  </a:ext>
                </a:extLst>
              </p:cNvPr>
              <p:cNvSpPr/>
              <p:nvPr/>
            </p:nvSpPr>
            <p:spPr bwMode="gray">
              <a:xfrm>
                <a:off x="18087689" y="3981576"/>
                <a:ext cx="187333" cy="114029"/>
              </a:xfrm>
              <a:custGeom>
                <a:avLst/>
                <a:gdLst>
                  <a:gd name="connsiteX0" fmla="*/ 18326 w 187332"/>
                  <a:gd name="connsiteY0" fmla="*/ 101404 h 114028"/>
                  <a:gd name="connsiteX1" fmla="*/ 18326 w 187332"/>
                  <a:gd name="connsiteY1" fmla="*/ 49277 h 114028"/>
                  <a:gd name="connsiteX2" fmla="*/ 49277 w 187332"/>
                  <a:gd name="connsiteY2" fmla="*/ 18326 h 114028"/>
                  <a:gd name="connsiteX3" fmla="*/ 138870 w 187332"/>
                  <a:gd name="connsiteY3" fmla="*/ 18326 h 114028"/>
                  <a:gd name="connsiteX4" fmla="*/ 169821 w 187332"/>
                  <a:gd name="connsiteY4" fmla="*/ 49277 h 114028"/>
                  <a:gd name="connsiteX5" fmla="*/ 169821 w 187332"/>
                  <a:gd name="connsiteY5" fmla="*/ 101404 h 11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32" h="114028">
                    <a:moveTo>
                      <a:pt x="18326" y="101404"/>
                    </a:moveTo>
                    <a:lnTo>
                      <a:pt x="18326" y="49277"/>
                    </a:lnTo>
                    <a:cubicBezTo>
                      <a:pt x="18326" y="32172"/>
                      <a:pt x="32172" y="18326"/>
                      <a:pt x="49277" y="18326"/>
                    </a:cubicBezTo>
                    <a:lnTo>
                      <a:pt x="138870" y="18326"/>
                    </a:lnTo>
                    <a:cubicBezTo>
                      <a:pt x="155975" y="18326"/>
                      <a:pt x="169821" y="32172"/>
                      <a:pt x="169821" y="49277"/>
                    </a:cubicBezTo>
                    <a:lnTo>
                      <a:pt x="169821" y="101404"/>
                    </a:lnTo>
                  </a:path>
                </a:pathLst>
              </a:custGeom>
              <a:noFill/>
              <a:ln w="25400" cap="flat">
                <a:solidFill>
                  <a:srgbClr val="FF6011"/>
                </a:solidFill>
                <a:prstDash val="solid"/>
                <a:miter/>
              </a:ln>
            </p:spPr>
            <p:txBody>
              <a:bodyPr rtlCol="0" anchor="ctr"/>
              <a:lstStyle/>
              <a:p>
                <a:endParaRPr lang="en-US" dirty="0"/>
              </a:p>
            </p:txBody>
          </p:sp>
          <p:sp>
            <p:nvSpPr>
              <p:cNvPr id="317" name="Freihandform: Form 129">
                <a:extLst>
                  <a:ext uri="{FF2B5EF4-FFF2-40B4-BE49-F238E27FC236}">
                    <a16:creationId xmlns:a16="http://schemas.microsoft.com/office/drawing/2014/main" id="{04878484-1AFC-1C45-A30C-DABE79CE9B5F}"/>
                  </a:ext>
                </a:extLst>
              </p:cNvPr>
              <p:cNvSpPr/>
              <p:nvPr/>
            </p:nvSpPr>
            <p:spPr bwMode="gray">
              <a:xfrm>
                <a:off x="18503079" y="4130628"/>
                <a:ext cx="105884" cy="105884"/>
              </a:xfrm>
              <a:custGeom>
                <a:avLst/>
                <a:gdLst>
                  <a:gd name="connsiteX0" fmla="*/ 18326 w 105883"/>
                  <a:gd name="connsiteY0" fmla="*/ 94888 h 105883"/>
                  <a:gd name="connsiteX1" fmla="*/ 94888 w 105883"/>
                  <a:gd name="connsiteY1" fmla="*/ 18326 h 105883"/>
                </a:gdLst>
                <a:ahLst/>
                <a:cxnLst>
                  <a:cxn ang="0">
                    <a:pos x="connsiteX0" y="connsiteY0"/>
                  </a:cxn>
                  <a:cxn ang="0">
                    <a:pos x="connsiteX1" y="connsiteY1"/>
                  </a:cxn>
                </a:cxnLst>
                <a:rect l="l" t="t" r="r" b="b"/>
                <a:pathLst>
                  <a:path w="105883" h="105883">
                    <a:moveTo>
                      <a:pt x="18326" y="94888"/>
                    </a:moveTo>
                    <a:lnTo>
                      <a:pt x="94888" y="18326"/>
                    </a:lnTo>
                  </a:path>
                </a:pathLst>
              </a:custGeom>
              <a:ln w="25400" cap="flat">
                <a:solidFill>
                  <a:srgbClr val="FF6011"/>
                </a:solidFill>
                <a:prstDash val="solid"/>
                <a:miter/>
              </a:ln>
            </p:spPr>
            <p:txBody>
              <a:bodyPr rtlCol="0" anchor="ctr"/>
              <a:lstStyle/>
              <a:p>
                <a:endParaRPr lang="en-US" dirty="0"/>
              </a:p>
            </p:txBody>
          </p:sp>
          <p:sp>
            <p:nvSpPr>
              <p:cNvPr id="318" name="Freihandform: Form 130">
                <a:extLst>
                  <a:ext uri="{FF2B5EF4-FFF2-40B4-BE49-F238E27FC236}">
                    <a16:creationId xmlns:a16="http://schemas.microsoft.com/office/drawing/2014/main" id="{E68626BF-2EBB-6C4D-BD09-46E575D667EB}"/>
                  </a:ext>
                </a:extLst>
              </p:cNvPr>
              <p:cNvSpPr/>
              <p:nvPr/>
            </p:nvSpPr>
            <p:spPr bwMode="gray">
              <a:xfrm>
                <a:off x="18539731" y="4091533"/>
                <a:ext cx="114028" cy="114029"/>
              </a:xfrm>
              <a:custGeom>
                <a:avLst/>
                <a:gdLst>
                  <a:gd name="connsiteX0" fmla="*/ 18326 w 114028"/>
                  <a:gd name="connsiteY0" fmla="*/ 18326 h 114028"/>
                  <a:gd name="connsiteX1" fmla="*/ 98146 w 114028"/>
                  <a:gd name="connsiteY1" fmla="*/ 97331 h 114028"/>
                </a:gdLst>
                <a:ahLst/>
                <a:cxnLst>
                  <a:cxn ang="0">
                    <a:pos x="connsiteX0" y="connsiteY0"/>
                  </a:cxn>
                  <a:cxn ang="0">
                    <a:pos x="connsiteX1" y="connsiteY1"/>
                  </a:cxn>
                </a:cxnLst>
                <a:rect l="l" t="t" r="r" b="b"/>
                <a:pathLst>
                  <a:path w="114028" h="114028">
                    <a:moveTo>
                      <a:pt x="18326" y="18326"/>
                    </a:moveTo>
                    <a:lnTo>
                      <a:pt x="98146" y="97331"/>
                    </a:lnTo>
                  </a:path>
                </a:pathLst>
              </a:custGeom>
              <a:ln w="25400" cap="rnd">
                <a:solidFill>
                  <a:srgbClr val="FF6011"/>
                </a:solidFill>
                <a:prstDash val="solid"/>
                <a:miter/>
              </a:ln>
            </p:spPr>
            <p:txBody>
              <a:bodyPr rtlCol="0" anchor="ctr"/>
              <a:lstStyle/>
              <a:p>
                <a:endParaRPr lang="en-US" dirty="0"/>
              </a:p>
            </p:txBody>
          </p:sp>
          <p:sp>
            <p:nvSpPr>
              <p:cNvPr id="319" name="Freihandform: Form 131">
                <a:extLst>
                  <a:ext uri="{FF2B5EF4-FFF2-40B4-BE49-F238E27FC236}">
                    <a16:creationId xmlns:a16="http://schemas.microsoft.com/office/drawing/2014/main" id="{AF9F533B-B691-AD49-8CA3-177C2B6AC2F5}"/>
                  </a:ext>
                </a:extLst>
              </p:cNvPr>
              <p:cNvSpPr/>
              <p:nvPr/>
            </p:nvSpPr>
            <p:spPr bwMode="gray">
              <a:xfrm>
                <a:off x="17747233" y="4130628"/>
                <a:ext cx="105884" cy="105884"/>
              </a:xfrm>
              <a:custGeom>
                <a:avLst/>
                <a:gdLst>
                  <a:gd name="connsiteX0" fmla="*/ 94888 w 105883"/>
                  <a:gd name="connsiteY0" fmla="*/ 94888 h 105883"/>
                  <a:gd name="connsiteX1" fmla="*/ 18326 w 105883"/>
                  <a:gd name="connsiteY1" fmla="*/ 18326 h 105883"/>
                </a:gdLst>
                <a:ahLst/>
                <a:cxnLst>
                  <a:cxn ang="0">
                    <a:pos x="connsiteX0" y="connsiteY0"/>
                  </a:cxn>
                  <a:cxn ang="0">
                    <a:pos x="connsiteX1" y="connsiteY1"/>
                  </a:cxn>
                </a:cxnLst>
                <a:rect l="l" t="t" r="r" b="b"/>
                <a:pathLst>
                  <a:path w="105883" h="105883">
                    <a:moveTo>
                      <a:pt x="94888" y="94888"/>
                    </a:moveTo>
                    <a:lnTo>
                      <a:pt x="18326" y="18326"/>
                    </a:lnTo>
                  </a:path>
                </a:pathLst>
              </a:custGeom>
              <a:ln w="25400" cap="flat">
                <a:solidFill>
                  <a:srgbClr val="FF6011"/>
                </a:solidFill>
                <a:prstDash val="solid"/>
                <a:miter/>
              </a:ln>
            </p:spPr>
            <p:txBody>
              <a:bodyPr rtlCol="0" anchor="ctr"/>
              <a:lstStyle/>
              <a:p>
                <a:endParaRPr lang="en-US" dirty="0"/>
              </a:p>
            </p:txBody>
          </p:sp>
          <p:sp>
            <p:nvSpPr>
              <p:cNvPr id="320" name="Freihandform: Form 132">
                <a:extLst>
                  <a:ext uri="{FF2B5EF4-FFF2-40B4-BE49-F238E27FC236}">
                    <a16:creationId xmlns:a16="http://schemas.microsoft.com/office/drawing/2014/main" id="{757C4E41-C784-A848-A423-846B3810E437}"/>
                  </a:ext>
                </a:extLst>
              </p:cNvPr>
              <p:cNvSpPr/>
              <p:nvPr/>
            </p:nvSpPr>
            <p:spPr bwMode="gray">
              <a:xfrm>
                <a:off x="17707323" y="4091533"/>
                <a:ext cx="114028" cy="114029"/>
              </a:xfrm>
              <a:custGeom>
                <a:avLst/>
                <a:gdLst>
                  <a:gd name="connsiteX0" fmla="*/ 98146 w 114028"/>
                  <a:gd name="connsiteY0" fmla="*/ 18326 h 114028"/>
                  <a:gd name="connsiteX1" fmla="*/ 18326 w 114028"/>
                  <a:gd name="connsiteY1" fmla="*/ 97331 h 114028"/>
                </a:gdLst>
                <a:ahLst/>
                <a:cxnLst>
                  <a:cxn ang="0">
                    <a:pos x="connsiteX0" y="connsiteY0"/>
                  </a:cxn>
                  <a:cxn ang="0">
                    <a:pos x="connsiteX1" y="connsiteY1"/>
                  </a:cxn>
                </a:cxnLst>
                <a:rect l="l" t="t" r="r" b="b"/>
                <a:pathLst>
                  <a:path w="114028" h="114028">
                    <a:moveTo>
                      <a:pt x="98146" y="18326"/>
                    </a:moveTo>
                    <a:lnTo>
                      <a:pt x="18326" y="97331"/>
                    </a:lnTo>
                  </a:path>
                </a:pathLst>
              </a:custGeom>
              <a:ln w="25400" cap="rnd">
                <a:solidFill>
                  <a:srgbClr val="FF6011"/>
                </a:solidFill>
                <a:prstDash val="solid"/>
                <a:miter/>
              </a:ln>
            </p:spPr>
            <p:txBody>
              <a:bodyPr rtlCol="0" anchor="ctr"/>
              <a:lstStyle/>
              <a:p>
                <a:endParaRPr lang="en-US" dirty="0"/>
              </a:p>
            </p:txBody>
          </p:sp>
          <p:sp>
            <p:nvSpPr>
              <p:cNvPr id="321" name="Freihandform: Form 133">
                <a:extLst>
                  <a:ext uri="{FF2B5EF4-FFF2-40B4-BE49-F238E27FC236}">
                    <a16:creationId xmlns:a16="http://schemas.microsoft.com/office/drawing/2014/main" id="{BDEA0932-0621-2A47-AD17-32EBBC59D7D9}"/>
                  </a:ext>
                </a:extLst>
              </p:cNvPr>
              <p:cNvSpPr/>
              <p:nvPr/>
            </p:nvSpPr>
            <p:spPr bwMode="gray">
              <a:xfrm>
                <a:off x="18059997" y="3925377"/>
                <a:ext cx="236202" cy="32580"/>
              </a:xfrm>
              <a:custGeom>
                <a:avLst/>
                <a:gdLst>
                  <a:gd name="connsiteX0" fmla="*/ 18326 w 236201"/>
                  <a:gd name="connsiteY0" fmla="*/ 18326 h 32579"/>
                  <a:gd name="connsiteX1" fmla="*/ 225206 w 236201"/>
                  <a:gd name="connsiteY1" fmla="*/ 18326 h 32579"/>
                </a:gdLst>
                <a:ahLst/>
                <a:cxnLst>
                  <a:cxn ang="0">
                    <a:pos x="connsiteX0" y="connsiteY0"/>
                  </a:cxn>
                  <a:cxn ang="0">
                    <a:pos x="connsiteX1" y="connsiteY1"/>
                  </a:cxn>
                </a:cxnLst>
                <a:rect l="l" t="t" r="r" b="b"/>
                <a:pathLst>
                  <a:path w="236201" h="32579">
                    <a:moveTo>
                      <a:pt x="18326" y="18326"/>
                    </a:moveTo>
                    <a:lnTo>
                      <a:pt x="225206" y="18326"/>
                    </a:lnTo>
                  </a:path>
                </a:pathLst>
              </a:custGeom>
              <a:ln w="25400" cap="rnd">
                <a:solidFill>
                  <a:srgbClr val="FF6011"/>
                </a:solidFill>
                <a:prstDash val="solid"/>
                <a:miter/>
              </a:ln>
            </p:spPr>
            <p:txBody>
              <a:bodyPr rtlCol="0" anchor="ctr"/>
              <a:lstStyle/>
              <a:p>
                <a:endParaRPr lang="en-US" dirty="0"/>
              </a:p>
            </p:txBody>
          </p:sp>
          <p:sp>
            <p:nvSpPr>
              <p:cNvPr id="322" name="Freihandform: Form 134">
                <a:extLst>
                  <a:ext uri="{FF2B5EF4-FFF2-40B4-BE49-F238E27FC236}">
                    <a16:creationId xmlns:a16="http://schemas.microsoft.com/office/drawing/2014/main" id="{97E85C4C-A627-3A45-BF9B-7228ACE9FB77}"/>
                  </a:ext>
                </a:extLst>
              </p:cNvPr>
              <p:cNvSpPr/>
              <p:nvPr/>
            </p:nvSpPr>
            <p:spPr bwMode="gray">
              <a:xfrm>
                <a:off x="18112939" y="4496334"/>
                <a:ext cx="130318" cy="130318"/>
              </a:xfrm>
              <a:custGeom>
                <a:avLst/>
                <a:gdLst>
                  <a:gd name="connsiteX0" fmla="*/ 119323 w 130318"/>
                  <a:gd name="connsiteY0" fmla="*/ 68824 h 130318"/>
                  <a:gd name="connsiteX1" fmla="*/ 68824 w 130318"/>
                  <a:gd name="connsiteY1" fmla="*/ 18326 h 130318"/>
                  <a:gd name="connsiteX2" fmla="*/ 18326 w 130318"/>
                  <a:gd name="connsiteY2" fmla="*/ 68824 h 130318"/>
                  <a:gd name="connsiteX3" fmla="*/ 68824 w 130318"/>
                  <a:gd name="connsiteY3" fmla="*/ 119323 h 130318"/>
                  <a:gd name="connsiteX4" fmla="*/ 119323 w 130318"/>
                  <a:gd name="connsiteY4" fmla="*/ 68824 h 130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18" h="130318">
                    <a:moveTo>
                      <a:pt x="119323" y="68824"/>
                    </a:moveTo>
                    <a:cubicBezTo>
                      <a:pt x="119323" y="41132"/>
                      <a:pt x="96517" y="18326"/>
                      <a:pt x="68824" y="18326"/>
                    </a:cubicBezTo>
                    <a:cubicBezTo>
                      <a:pt x="41132" y="18326"/>
                      <a:pt x="18326" y="41132"/>
                      <a:pt x="18326" y="68824"/>
                    </a:cubicBezTo>
                    <a:cubicBezTo>
                      <a:pt x="18326" y="96517"/>
                      <a:pt x="41132" y="119323"/>
                      <a:pt x="68824" y="119323"/>
                    </a:cubicBezTo>
                    <a:cubicBezTo>
                      <a:pt x="96517" y="119323"/>
                      <a:pt x="119323" y="96517"/>
                      <a:pt x="119323" y="68824"/>
                    </a:cubicBezTo>
                    <a:close/>
                  </a:path>
                </a:pathLst>
              </a:custGeom>
              <a:noFill/>
              <a:ln w="25400" cap="rnd">
                <a:solidFill>
                  <a:srgbClr val="FF6011"/>
                </a:solidFill>
                <a:prstDash val="solid"/>
                <a:miter/>
              </a:ln>
            </p:spPr>
            <p:txBody>
              <a:bodyPr rtlCol="0" anchor="ctr"/>
              <a:lstStyle/>
              <a:p>
                <a:endParaRPr lang="en-US" dirty="0"/>
              </a:p>
            </p:txBody>
          </p:sp>
          <p:sp>
            <p:nvSpPr>
              <p:cNvPr id="323" name="Freihandform: Form 135">
                <a:extLst>
                  <a:ext uri="{FF2B5EF4-FFF2-40B4-BE49-F238E27FC236}">
                    <a16:creationId xmlns:a16="http://schemas.microsoft.com/office/drawing/2014/main" id="{766439CB-D2D4-3A42-BD40-0A9BC162E19D}"/>
                  </a:ext>
                </a:extLst>
              </p:cNvPr>
              <p:cNvSpPr/>
              <p:nvPr/>
            </p:nvSpPr>
            <p:spPr bwMode="gray">
              <a:xfrm>
                <a:off x="18174025" y="4275607"/>
                <a:ext cx="8145" cy="8145"/>
              </a:xfrm>
              <a:custGeom>
                <a:avLst/>
                <a:gdLst>
                  <a:gd name="connsiteX0" fmla="*/ 8552 w 8144"/>
                  <a:gd name="connsiteY0" fmla="*/ 6109 h 8144"/>
                  <a:gd name="connsiteX1" fmla="*/ 7738 w 8144"/>
                  <a:gd name="connsiteY1" fmla="*/ 6109 h 8144"/>
                  <a:gd name="connsiteX2" fmla="*/ 6109 w 8144"/>
                  <a:gd name="connsiteY2" fmla="*/ 6109 h 8144"/>
                  <a:gd name="connsiteX3" fmla="*/ 6109 w 8144"/>
                  <a:gd name="connsiteY3" fmla="*/ 6109 h 8144"/>
                  <a:gd name="connsiteX4" fmla="*/ 8552 w 8144"/>
                  <a:gd name="connsiteY4" fmla="*/ 6109 h 8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 h="8144">
                    <a:moveTo>
                      <a:pt x="8552" y="6109"/>
                    </a:moveTo>
                    <a:cubicBezTo>
                      <a:pt x="8552" y="6109"/>
                      <a:pt x="7738" y="6109"/>
                      <a:pt x="7738" y="6109"/>
                    </a:cubicBezTo>
                    <a:cubicBezTo>
                      <a:pt x="6923" y="6109"/>
                      <a:pt x="6923" y="6109"/>
                      <a:pt x="6109" y="6109"/>
                    </a:cubicBezTo>
                    <a:lnTo>
                      <a:pt x="6109" y="6109"/>
                    </a:lnTo>
                    <a:lnTo>
                      <a:pt x="8552" y="6109"/>
                    </a:lnTo>
                    <a:close/>
                  </a:path>
                </a:pathLst>
              </a:custGeom>
              <a:solidFill>
                <a:srgbClr val="37B4CF"/>
              </a:solidFill>
              <a:ln w="25400" cap="flat">
                <a:solidFill>
                  <a:srgbClr val="FF6011"/>
                </a:solidFill>
                <a:prstDash val="solid"/>
                <a:miter/>
              </a:ln>
            </p:spPr>
            <p:txBody>
              <a:bodyPr rtlCol="0" anchor="ctr"/>
              <a:lstStyle/>
              <a:p>
                <a:endParaRPr lang="en-US" dirty="0"/>
              </a:p>
            </p:txBody>
          </p:sp>
          <p:sp>
            <p:nvSpPr>
              <p:cNvPr id="324" name="Freihandform: Form 136">
                <a:extLst>
                  <a:ext uri="{FF2B5EF4-FFF2-40B4-BE49-F238E27FC236}">
                    <a16:creationId xmlns:a16="http://schemas.microsoft.com/office/drawing/2014/main" id="{2194498B-F376-5A40-8259-7E5CF6EF322F}"/>
                  </a:ext>
                </a:extLst>
              </p:cNvPr>
              <p:cNvSpPr/>
              <p:nvPr/>
            </p:nvSpPr>
            <p:spPr bwMode="gray">
              <a:xfrm>
                <a:off x="17879995" y="4270720"/>
                <a:ext cx="602722" cy="594577"/>
              </a:xfrm>
              <a:custGeom>
                <a:avLst/>
                <a:gdLst>
                  <a:gd name="connsiteX0" fmla="*/ 18326 w 602722"/>
                  <a:gd name="connsiteY0" fmla="*/ 292809 h 594577"/>
                  <a:gd name="connsiteX1" fmla="*/ 18326 w 602722"/>
                  <a:gd name="connsiteY1" fmla="*/ 294438 h 594577"/>
                  <a:gd name="connsiteX2" fmla="*/ 301768 w 602722"/>
                  <a:gd name="connsiteY2" fmla="*/ 577880 h 594577"/>
                  <a:gd name="connsiteX3" fmla="*/ 471182 w 602722"/>
                  <a:gd name="connsiteY3" fmla="*/ 521680 h 594577"/>
                  <a:gd name="connsiteX4" fmla="*/ 492359 w 602722"/>
                  <a:gd name="connsiteY4" fmla="*/ 504576 h 594577"/>
                  <a:gd name="connsiteX5" fmla="*/ 502133 w 602722"/>
                  <a:gd name="connsiteY5" fmla="*/ 494802 h 594577"/>
                  <a:gd name="connsiteX6" fmla="*/ 551002 w 602722"/>
                  <a:gd name="connsiteY6" fmla="*/ 429643 h 594577"/>
                  <a:gd name="connsiteX7" fmla="*/ 557518 w 602722"/>
                  <a:gd name="connsiteY7" fmla="*/ 417426 h 594577"/>
                  <a:gd name="connsiteX8" fmla="*/ 585211 w 602722"/>
                  <a:gd name="connsiteY8" fmla="*/ 294438 h 594577"/>
                  <a:gd name="connsiteX9" fmla="*/ 368556 w 602722"/>
                  <a:gd name="connsiteY9" fmla="*/ 18326 h 5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22" h="594577">
                    <a:moveTo>
                      <a:pt x="18326" y="292809"/>
                    </a:moveTo>
                    <a:cubicBezTo>
                      <a:pt x="18326" y="293623"/>
                      <a:pt x="18326" y="293623"/>
                      <a:pt x="18326" y="294438"/>
                    </a:cubicBezTo>
                    <a:cubicBezTo>
                      <a:pt x="18326" y="450820"/>
                      <a:pt x="145386" y="577880"/>
                      <a:pt x="301768" y="577880"/>
                    </a:cubicBezTo>
                    <a:cubicBezTo>
                      <a:pt x="365298" y="577880"/>
                      <a:pt x="423942" y="556703"/>
                      <a:pt x="471182" y="521680"/>
                    </a:cubicBezTo>
                    <a:cubicBezTo>
                      <a:pt x="478512" y="515979"/>
                      <a:pt x="485843" y="510278"/>
                      <a:pt x="492359" y="504576"/>
                    </a:cubicBezTo>
                    <a:cubicBezTo>
                      <a:pt x="495617" y="501318"/>
                      <a:pt x="498875" y="498060"/>
                      <a:pt x="502133" y="494802"/>
                    </a:cubicBezTo>
                    <a:cubicBezTo>
                      <a:pt x="521680" y="475254"/>
                      <a:pt x="537970" y="453263"/>
                      <a:pt x="551002" y="429643"/>
                    </a:cubicBezTo>
                    <a:cubicBezTo>
                      <a:pt x="553445" y="425571"/>
                      <a:pt x="555074" y="421498"/>
                      <a:pt x="557518" y="417426"/>
                    </a:cubicBezTo>
                    <a:cubicBezTo>
                      <a:pt x="575437" y="379959"/>
                      <a:pt x="585211" y="338420"/>
                      <a:pt x="585211" y="294438"/>
                    </a:cubicBezTo>
                    <a:cubicBezTo>
                      <a:pt x="585211" y="160862"/>
                      <a:pt x="492359" y="48462"/>
                      <a:pt x="368556" y="18326"/>
                    </a:cubicBezTo>
                  </a:path>
                </a:pathLst>
              </a:custGeom>
              <a:noFill/>
              <a:ln w="25400" cap="rnd">
                <a:solidFill>
                  <a:srgbClr val="FF6011"/>
                </a:solidFill>
                <a:prstDash val="solid"/>
                <a:miter/>
              </a:ln>
            </p:spPr>
            <p:txBody>
              <a:bodyPr rtlCol="0" anchor="ctr"/>
              <a:lstStyle/>
              <a:p>
                <a:endParaRPr lang="en-US" dirty="0"/>
              </a:p>
            </p:txBody>
          </p:sp>
          <p:sp>
            <p:nvSpPr>
              <p:cNvPr id="325" name="Freihandform: Form 137">
                <a:extLst>
                  <a:ext uri="{FF2B5EF4-FFF2-40B4-BE49-F238E27FC236}">
                    <a16:creationId xmlns:a16="http://schemas.microsoft.com/office/drawing/2014/main" id="{99FAC9A6-A6A6-6748-83D7-DD8845882DAB}"/>
                  </a:ext>
                </a:extLst>
              </p:cNvPr>
              <p:cNvSpPr/>
              <p:nvPr/>
            </p:nvSpPr>
            <p:spPr bwMode="gray">
              <a:xfrm>
                <a:off x="18161808" y="4263390"/>
                <a:ext cx="32580" cy="268781"/>
              </a:xfrm>
              <a:custGeom>
                <a:avLst/>
                <a:gdLst>
                  <a:gd name="connsiteX0" fmla="*/ 19955 w 32579"/>
                  <a:gd name="connsiteY0" fmla="*/ 251270 h 268781"/>
                  <a:gd name="connsiteX1" fmla="*/ 18326 w 32579"/>
                  <a:gd name="connsiteY1" fmla="*/ 18326 h 268781"/>
                </a:gdLst>
                <a:ahLst/>
                <a:cxnLst>
                  <a:cxn ang="0">
                    <a:pos x="connsiteX0" y="connsiteY0"/>
                  </a:cxn>
                  <a:cxn ang="0">
                    <a:pos x="connsiteX1" y="connsiteY1"/>
                  </a:cxn>
                </a:cxnLst>
                <a:rect l="l" t="t" r="r" b="b"/>
                <a:pathLst>
                  <a:path w="32579" h="268781">
                    <a:moveTo>
                      <a:pt x="19955" y="251270"/>
                    </a:moveTo>
                    <a:lnTo>
                      <a:pt x="18326" y="18326"/>
                    </a:lnTo>
                  </a:path>
                </a:pathLst>
              </a:custGeom>
              <a:ln w="25400" cap="rnd">
                <a:solidFill>
                  <a:srgbClr val="FF6011"/>
                </a:solidFill>
                <a:prstDash val="solid"/>
                <a:miter/>
              </a:ln>
            </p:spPr>
            <p:txBody>
              <a:bodyPr rtlCol="0" anchor="ctr"/>
              <a:lstStyle/>
              <a:p>
                <a:endParaRPr lang="en-US" dirty="0"/>
              </a:p>
            </p:txBody>
          </p:sp>
        </p:grpSp>
        <p:sp>
          <p:nvSpPr>
            <p:cNvPr id="313" name="Rechteck 174">
              <a:extLst>
                <a:ext uri="{FF2B5EF4-FFF2-40B4-BE49-F238E27FC236}">
                  <a16:creationId xmlns:a16="http://schemas.microsoft.com/office/drawing/2014/main" id="{271ED68B-9B60-5A44-A29E-BE75D0B0EA9B}"/>
                </a:ext>
              </a:extLst>
            </p:cNvPr>
            <p:cNvSpPr/>
            <p:nvPr/>
          </p:nvSpPr>
          <p:spPr bwMode="gray">
            <a:xfrm>
              <a:off x="6760468" y="5915745"/>
              <a:ext cx="83275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spcCol="0" rtlCol="0" anchor="ctr" anchorCtr="0"/>
            <a:lstStyle/>
            <a:p>
              <a:pPr algn="ctr"/>
              <a:r>
                <a:rPr lang="en-US" sz="2000" dirty="0">
                  <a:solidFill>
                    <a:srgbClr val="FF6011"/>
                  </a:solidFill>
                  <a:latin typeface="Arial" panose="020B0604020202020204" pitchFamily="34" charset="0"/>
                  <a:cs typeface="Arial" panose="020B0604020202020204" pitchFamily="34" charset="0"/>
                </a:rPr>
                <a:t>50%</a:t>
              </a:r>
            </a:p>
            <a:p>
              <a:pPr algn="ctr"/>
              <a:r>
                <a:rPr lang="en-US" sz="1200" dirty="0">
                  <a:solidFill>
                    <a:srgbClr val="FF6011"/>
                  </a:solidFill>
                  <a:latin typeface="Arial" panose="020B0604020202020204" pitchFamily="34" charset="0"/>
                  <a:cs typeface="Arial" panose="020B0604020202020204" pitchFamily="34" charset="0"/>
                </a:rPr>
                <a:t>Completed</a:t>
              </a:r>
            </a:p>
          </p:txBody>
        </p:sp>
      </p:grp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840140"/>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840140"/>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29" name="Треугольник 328">
            <a:extLst>
              <a:ext uri="{FF2B5EF4-FFF2-40B4-BE49-F238E27FC236}">
                <a16:creationId xmlns:a16="http://schemas.microsoft.com/office/drawing/2014/main" id="{1D0FB304-4E22-3E43-B1B9-4B602326C69E}"/>
              </a:ext>
            </a:extLst>
          </p:cNvPr>
          <p:cNvSpPr/>
          <p:nvPr/>
        </p:nvSpPr>
        <p:spPr>
          <a:xfrm>
            <a:off x="10743049" y="4656553"/>
            <a:ext cx="126748" cy="92525"/>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330" name="TextBox 329">
            <a:extLst>
              <a:ext uri="{FF2B5EF4-FFF2-40B4-BE49-F238E27FC236}">
                <a16:creationId xmlns:a16="http://schemas.microsoft.com/office/drawing/2014/main" id="{7D28D174-A298-F047-8331-33A7110F52D0}"/>
              </a:ext>
            </a:extLst>
          </p:cNvPr>
          <p:cNvSpPr txBox="1"/>
          <p:nvPr/>
        </p:nvSpPr>
        <p:spPr>
          <a:xfrm>
            <a:off x="10833306" y="4891917"/>
            <a:ext cx="952505"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4 (20) MH</a:t>
            </a:r>
            <a:endParaRPr lang="ru-AZ" sz="1200" dirty="0">
              <a:latin typeface="Arial" panose="020B0604020202020204" pitchFamily="34" charset="0"/>
              <a:cs typeface="Arial" panose="020B0604020202020204" pitchFamily="34" charset="0"/>
            </a:endParaRPr>
          </a:p>
        </p:txBody>
      </p:sp>
      <p:sp>
        <p:nvSpPr>
          <p:cNvPr id="331" name="Треугольник 330">
            <a:extLst>
              <a:ext uri="{FF2B5EF4-FFF2-40B4-BE49-F238E27FC236}">
                <a16:creationId xmlns:a16="http://schemas.microsoft.com/office/drawing/2014/main" id="{1DE41576-8FC8-3F4C-906A-9F857338AA02}"/>
              </a:ext>
            </a:extLst>
          </p:cNvPr>
          <p:cNvSpPr/>
          <p:nvPr/>
        </p:nvSpPr>
        <p:spPr>
          <a:xfrm rot="10800000">
            <a:off x="10742688" y="6149475"/>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2" name="Треугольник 331">
            <a:extLst>
              <a:ext uri="{FF2B5EF4-FFF2-40B4-BE49-F238E27FC236}">
                <a16:creationId xmlns:a16="http://schemas.microsoft.com/office/drawing/2014/main" id="{58A58932-7E48-ED4C-BB06-A1DEE5E4548F}"/>
              </a:ext>
            </a:extLst>
          </p:cNvPr>
          <p:cNvSpPr/>
          <p:nvPr/>
        </p:nvSpPr>
        <p:spPr>
          <a:xfrm rot="10800000">
            <a:off x="10749399" y="4990117"/>
            <a:ext cx="126748" cy="92525"/>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dirty="0"/>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84920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84920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pic>
        <p:nvPicPr>
          <p:cNvPr id="338" name="Рисунок 337">
            <a:extLst>
              <a:ext uri="{FF2B5EF4-FFF2-40B4-BE49-F238E27FC236}">
                <a16:creationId xmlns:a16="http://schemas.microsoft.com/office/drawing/2014/main" id="{B4DA2F8E-C60F-F641-B365-EF0548138E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431854" y="2386316"/>
            <a:ext cx="260486" cy="260486"/>
          </a:xfrm>
          <a:prstGeom prst="rect">
            <a:avLst/>
          </a:prstGeom>
        </p:spPr>
      </p:pic>
      <p:pic>
        <p:nvPicPr>
          <p:cNvPr id="340" name="Рисунок 339">
            <a:extLst>
              <a:ext uri="{FF2B5EF4-FFF2-40B4-BE49-F238E27FC236}">
                <a16:creationId xmlns:a16="http://schemas.microsoft.com/office/drawing/2014/main" id="{6B30CD8A-93C8-C049-9A56-750EEFB8249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467665" y="2126999"/>
            <a:ext cx="187624" cy="187624"/>
          </a:xfrm>
          <a:prstGeom prst="rect">
            <a:avLst/>
          </a:prstGeom>
        </p:spPr>
      </p:pic>
      <p:sp>
        <p:nvSpPr>
          <p:cNvPr id="159" name="TextBox 158">
            <a:extLst>
              <a:ext uri="{FF2B5EF4-FFF2-40B4-BE49-F238E27FC236}">
                <a16:creationId xmlns:a16="http://schemas.microsoft.com/office/drawing/2014/main" id="{0D5E43B1-2536-6D4A-9ECE-B83BB2DE10DF}"/>
              </a:ext>
            </a:extLst>
          </p:cNvPr>
          <p:cNvSpPr txBox="1"/>
          <p:nvPr/>
        </p:nvSpPr>
        <p:spPr>
          <a:xfrm>
            <a:off x="9974077" y="2082706"/>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1</a:t>
            </a:r>
            <a:endParaRPr lang="ru-AZ" sz="1100" dirty="0">
              <a:latin typeface="Arial" panose="020B0604020202020204" pitchFamily="34" charset="0"/>
              <a:cs typeface="Arial" panose="020B0604020202020204" pitchFamily="34" charset="0"/>
            </a:endParaRPr>
          </a:p>
        </p:txBody>
      </p:sp>
      <p:sp>
        <p:nvSpPr>
          <p:cNvPr id="160" name="TextBox 159">
            <a:extLst>
              <a:ext uri="{FF2B5EF4-FFF2-40B4-BE49-F238E27FC236}">
                <a16:creationId xmlns:a16="http://schemas.microsoft.com/office/drawing/2014/main" id="{FF78935A-3584-6C43-9DF8-A2900E5E9681}"/>
              </a:ext>
            </a:extLst>
          </p:cNvPr>
          <p:cNvSpPr txBox="1"/>
          <p:nvPr/>
        </p:nvSpPr>
        <p:spPr>
          <a:xfrm>
            <a:off x="9974077" y="2388603"/>
            <a:ext cx="1345240"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Operational Risk 1</a:t>
            </a:r>
            <a:endParaRPr lang="ru-AZ" sz="1100" dirty="0">
              <a:latin typeface="Arial" panose="020B0604020202020204" pitchFamily="34" charset="0"/>
              <a:cs typeface="Arial" panose="020B0604020202020204" pitchFamily="34" charset="0"/>
            </a:endParaRPr>
          </a:p>
        </p:txBody>
      </p:sp>
      <p:sp>
        <p:nvSpPr>
          <p:cNvPr id="161" name="TextBox 160">
            <a:extLst>
              <a:ext uri="{FF2B5EF4-FFF2-40B4-BE49-F238E27FC236}">
                <a16:creationId xmlns:a16="http://schemas.microsoft.com/office/drawing/2014/main" id="{91F5BF43-56D4-A241-B8FB-6E1792369A94}"/>
              </a:ext>
            </a:extLst>
          </p:cNvPr>
          <p:cNvSpPr txBox="1"/>
          <p:nvPr/>
        </p:nvSpPr>
        <p:spPr>
          <a:xfrm>
            <a:off x="9974077" y="2681676"/>
            <a:ext cx="122020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Resource Risk 1</a:t>
            </a:r>
            <a:endParaRPr lang="ru-AZ" sz="1100" dirty="0">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68F2FBC9-C2A2-A346-9569-81B6338FE598}"/>
              </a:ext>
            </a:extLst>
          </p:cNvPr>
          <p:cNvSpPr txBox="1"/>
          <p:nvPr/>
        </p:nvSpPr>
        <p:spPr>
          <a:xfrm>
            <a:off x="9968969" y="2983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2</a:t>
            </a:r>
            <a:endParaRPr lang="ru-AZ" sz="1100" dirty="0">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696B664-CBDF-4445-AD83-D543556F5801}"/>
              </a:ext>
            </a:extLst>
          </p:cNvPr>
          <p:cNvSpPr txBox="1"/>
          <p:nvPr/>
        </p:nvSpPr>
        <p:spPr>
          <a:xfrm>
            <a:off x="9974077" y="3306830"/>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3</a:t>
            </a:r>
            <a:endParaRPr lang="ru-AZ" sz="1100" dirty="0">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7B54A84B-0E41-B342-92FF-02FF3FFA757B}"/>
              </a:ext>
            </a:extLst>
          </p:cNvPr>
          <p:cNvSpPr txBox="1"/>
          <p:nvPr/>
        </p:nvSpPr>
        <p:spPr>
          <a:xfrm>
            <a:off x="9974077" y="3626284"/>
            <a:ext cx="1346844"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Technology Risk 4</a:t>
            </a:r>
            <a:endParaRPr lang="ru-AZ" sz="1100" dirty="0">
              <a:latin typeface="Arial" panose="020B0604020202020204" pitchFamily="34" charset="0"/>
              <a:cs typeface="Arial" panose="020B0604020202020204" pitchFamily="34" charset="0"/>
            </a:endParaRPr>
          </a:p>
        </p:txBody>
      </p:sp>
      <p:pic>
        <p:nvPicPr>
          <p:cNvPr id="165" name="Рисунок 164" descr="Изображение выглядит как объект, часы, поезд&#10;&#10;Автоматически созданное описание">
            <a:extLst>
              <a:ext uri="{FF2B5EF4-FFF2-40B4-BE49-F238E27FC236}">
                <a16:creationId xmlns:a16="http://schemas.microsoft.com/office/drawing/2014/main" id="{FE826D8E-B8E0-C944-9549-6BC7ACA9E1A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rot="19806741">
            <a:off x="9892883" y="5262385"/>
            <a:ext cx="1996948" cy="676691"/>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24192782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57D302-A3D3-4C60-937B-275F82E54721}"/>
              </a:ext>
            </a:extLst>
          </p:cNvPr>
          <p:cNvGraphicFramePr>
            <a:graphicFrameLocks noChangeAspect="1"/>
          </p:cNvGraphicFramePr>
          <p:nvPr>
            <p:custDataLst>
              <p:tags r:id="rId2"/>
            </p:custDataLst>
          </p:nvPr>
        </p:nvGraphicFramePr>
        <p:xfrm>
          <a:off x="2300" y="2221"/>
          <a:ext cx="2117" cy="2117"/>
        </p:xfrm>
        <a:graphic>
          <a:graphicData uri="http://schemas.openxmlformats.org/presentationml/2006/ole">
            <mc:AlternateContent xmlns:mc="http://schemas.openxmlformats.org/markup-compatibility/2006">
              <mc:Choice xmlns:v="urn:schemas-microsoft-com:vml" Requires="v">
                <p:oleObj spid="_x0000_s105475" name="think-cell Slide" r:id="rId56" imgW="408" imgH="408" progId="TCLayout.ActiveDocument.1">
                  <p:embed/>
                </p:oleObj>
              </mc:Choice>
              <mc:Fallback>
                <p:oleObj name="think-cell Slide" r:id="rId56" imgW="408" imgH="408" progId="TCLayout.ActiveDocument.1">
                  <p:embed/>
                  <p:pic>
                    <p:nvPicPr>
                      <p:cNvPr id="5" name="Object 4" hidden="1">
                        <a:extLst>
                          <a:ext uri="{FF2B5EF4-FFF2-40B4-BE49-F238E27FC236}">
                            <a16:creationId xmlns:a16="http://schemas.microsoft.com/office/drawing/2014/main" id="{8057D302-A3D3-4C60-937B-275F82E54721}"/>
                          </a:ext>
                        </a:extLst>
                      </p:cNvPr>
                      <p:cNvPicPr/>
                      <p:nvPr/>
                    </p:nvPicPr>
                    <p:blipFill>
                      <a:blip r:embed="rId57"/>
                      <a:stretch>
                        <a:fillRect/>
                      </a:stretch>
                    </p:blipFill>
                    <p:spPr>
                      <a:xfrm>
                        <a:off x="2300" y="2221"/>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9ACFF2-D528-424F-94B2-CB4DCDBCF89C}"/>
              </a:ext>
            </a:extLst>
          </p:cNvPr>
          <p:cNvSpPr/>
          <p:nvPr>
            <p:custDataLst>
              <p:tags r:id="rId3"/>
            </p:custDataLst>
          </p:nvPr>
        </p:nvSpPr>
        <p:spPr>
          <a:xfrm>
            <a:off x="180" y="102"/>
            <a:ext cx="211661" cy="21166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90" rtl="0" eaLnBrk="1" fontAlgn="auto" latinLnBrk="0" hangingPunct="1">
              <a:lnSpc>
                <a:spcPct val="100000"/>
              </a:lnSpc>
              <a:spcBef>
                <a:spcPts val="0"/>
              </a:spcBef>
              <a:spcAft>
                <a:spcPts val="0"/>
              </a:spcAft>
              <a:buClrTx/>
              <a:buSzTx/>
              <a:buFontTx/>
              <a:buNone/>
              <a:tabLst/>
              <a:defRPr/>
            </a:pPr>
            <a:endParaRPr kumimoji="0" lang="en-US" sz="2041"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5876CA7E-FA91-4B18-B84C-D1D30A58C432}"/>
              </a:ext>
            </a:extLst>
          </p:cNvPr>
          <p:cNvSpPr>
            <a:spLocks noGrp="1"/>
          </p:cNvSpPr>
          <p:nvPr>
            <p:ph type="title"/>
          </p:nvPr>
        </p:nvSpPr>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noAutofit/>
          </a:bodyPr>
          <a:lstStyle/>
          <a:p>
            <a:pPr>
              <a:tabLst/>
            </a:pPr>
            <a:r>
              <a:rPr lang="en-US" dirty="0">
                <a:solidFill>
                  <a:schemeClr val="tx1">
                    <a:lumMod val="95000"/>
                    <a:lumOff val="5000"/>
                  </a:schemeClr>
                </a:solidFill>
              </a:rPr>
              <a:t>Technology Status Review</a:t>
            </a:r>
          </a:p>
        </p:txBody>
      </p:sp>
      <p:sp>
        <p:nvSpPr>
          <p:cNvPr id="127" name="1. On-page tracker">
            <a:extLst>
              <a:ext uri="{FF2B5EF4-FFF2-40B4-BE49-F238E27FC236}">
                <a16:creationId xmlns:a16="http://schemas.microsoft.com/office/drawing/2014/main" id="{0640F6AE-8490-46DF-ADAD-46A5167B5E20}"/>
              </a:ext>
            </a:extLst>
          </p:cNvPr>
          <p:cNvSpPr>
            <a:spLocks noChangeArrowheads="1"/>
          </p:cNvSpPr>
          <p:nvPr/>
        </p:nvSpPr>
        <p:spPr bwMode="gray">
          <a:xfrm>
            <a:off x="162162" y="77358"/>
            <a:ext cx="132408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32958" rtl="0" eaLnBrk="1" fontAlgn="auto" latinLnBrk="0" hangingPunct="1">
              <a:lnSpc>
                <a:spcPct val="100000"/>
              </a:lnSpc>
              <a:spcBef>
                <a:spcPts val="0"/>
              </a:spcBef>
              <a:spcAft>
                <a:spcPts val="0"/>
              </a:spcAft>
              <a:buClrTx/>
              <a:buSzTx/>
              <a:buFontTx/>
              <a:buNone/>
              <a:tabLst/>
              <a:defRPr/>
            </a:pPr>
            <a:r>
              <a:rPr kumimoji="0" lang="en-US" sz="816" b="0" i="0" u="none" strike="noStrike" kern="1200" cap="all" spc="0" normalizeH="0" baseline="0" noProof="0" dirty="0">
                <a:ln>
                  <a:noFill/>
                </a:ln>
                <a:solidFill>
                  <a:srgbClr val="808080"/>
                </a:solidFill>
                <a:effectLst/>
                <a:uLnTx/>
                <a:uFillTx/>
                <a:latin typeface="Arial"/>
                <a:ea typeface="+mn-ea"/>
                <a:cs typeface="+mn-cs"/>
              </a:rPr>
              <a:t>Technology/Deep Dive</a:t>
            </a:r>
          </a:p>
        </p:txBody>
      </p:sp>
      <p:sp>
        <p:nvSpPr>
          <p:cNvPr id="138" name="TextBox 137">
            <a:extLst>
              <a:ext uri="{FF2B5EF4-FFF2-40B4-BE49-F238E27FC236}">
                <a16:creationId xmlns:a16="http://schemas.microsoft.com/office/drawing/2014/main" id="{85E3161E-BC6A-4686-B71F-3F3DD39D2CD3}"/>
              </a:ext>
            </a:extLst>
          </p:cNvPr>
          <p:cNvSpPr txBox="1">
            <a:spLocks/>
          </p:cNvSpPr>
          <p:nvPr/>
        </p:nvSpPr>
        <p:spPr>
          <a:xfrm>
            <a:off x="161989" y="73302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Initiatives </a:t>
            </a:r>
          </a:p>
        </p:txBody>
      </p:sp>
      <p:pic>
        <p:nvPicPr>
          <p:cNvPr id="167" name="CustomIcon">
            <a:extLst>
              <a:ext uri="{FF2B5EF4-FFF2-40B4-BE49-F238E27FC236}">
                <a16:creationId xmlns:a16="http://schemas.microsoft.com/office/drawing/2014/main" id="{F1132DC4-DBFE-4ADC-8E7C-07B6C4D41A0C}"/>
              </a:ext>
            </a:extLst>
          </p:cNvPr>
          <p:cNvPicPr>
            <a:picLocks/>
          </p:cNvPicPr>
          <p:nvPr>
            <p:custDataLst>
              <p:tags r:id="rId4"/>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10932755" y="152307"/>
            <a:ext cx="219819" cy="219818"/>
          </a:xfrm>
          <a:prstGeom prst="rect">
            <a:avLst/>
          </a:prstGeom>
        </p:spPr>
      </p:pic>
      <p:sp>
        <p:nvSpPr>
          <p:cNvPr id="168" name="TextBox 167">
            <a:extLst>
              <a:ext uri="{FF2B5EF4-FFF2-40B4-BE49-F238E27FC236}">
                <a16:creationId xmlns:a16="http://schemas.microsoft.com/office/drawing/2014/main" id="{ADE0E8CF-681E-458B-A4E8-F36D6CFAB2C3}"/>
              </a:ext>
            </a:extLst>
          </p:cNvPr>
          <p:cNvSpPr txBox="1">
            <a:spLocks/>
          </p:cNvSpPr>
          <p:nvPr/>
        </p:nvSpPr>
        <p:spPr>
          <a:xfrm>
            <a:off x="11199178" y="207261"/>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Started/Ongoing</a:t>
            </a:r>
          </a:p>
        </p:txBody>
      </p:sp>
      <p:sp>
        <p:nvSpPr>
          <p:cNvPr id="169" name="TextBox 168">
            <a:extLst>
              <a:ext uri="{FF2B5EF4-FFF2-40B4-BE49-F238E27FC236}">
                <a16:creationId xmlns:a16="http://schemas.microsoft.com/office/drawing/2014/main" id="{A27938B6-CE69-4EBD-90D9-481853918C65}"/>
              </a:ext>
            </a:extLst>
          </p:cNvPr>
          <p:cNvSpPr txBox="1">
            <a:spLocks/>
          </p:cNvSpPr>
          <p:nvPr/>
        </p:nvSpPr>
        <p:spPr>
          <a:xfrm>
            <a:off x="11199178" y="528878"/>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Completed</a:t>
            </a:r>
          </a:p>
        </p:txBody>
      </p:sp>
      <p:sp>
        <p:nvSpPr>
          <p:cNvPr id="170" name="Tick2 6">
            <a:extLst>
              <a:ext uri="{FF2B5EF4-FFF2-40B4-BE49-F238E27FC236}">
                <a16:creationId xmlns:a16="http://schemas.microsoft.com/office/drawing/2014/main" id="{7AFA5FA6-5ADD-432F-B9AC-66BE96EFB960}"/>
              </a:ext>
            </a:extLst>
          </p:cNvPr>
          <p:cNvSpPr>
            <a:spLocks/>
          </p:cNvSpPr>
          <p:nvPr>
            <p:custDataLst>
              <p:tags r:id="rId5"/>
            </p:custDataLst>
          </p:nvPr>
        </p:nvSpPr>
        <p:spPr>
          <a:xfrm>
            <a:off x="10932755" y="473924"/>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pic>
        <p:nvPicPr>
          <p:cNvPr id="172" name="CustomIcon">
            <a:extLst>
              <a:ext uri="{FF2B5EF4-FFF2-40B4-BE49-F238E27FC236}">
                <a16:creationId xmlns:a16="http://schemas.microsoft.com/office/drawing/2014/main" id="{5A9601BB-9D04-46F9-B947-0ABE3B1B9433}"/>
              </a:ext>
            </a:extLst>
          </p:cNvPr>
          <p:cNvPicPr>
            <a:picLocks noChangeAspect="1"/>
          </p:cNvPicPr>
          <p:nvPr>
            <p:custDataLst>
              <p:tags r:id="rId6"/>
            </p:custDataLst>
          </p:nvPr>
        </p:nvPicPr>
        <p:blipFill>
          <a:blip r:embed="rId60" cstate="print">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flipH="1">
            <a:off x="7730469" y="3764138"/>
            <a:ext cx="219819" cy="219818"/>
          </a:xfrm>
          <a:prstGeom prst="rect">
            <a:avLst/>
          </a:prstGeom>
        </p:spPr>
      </p:pic>
      <p:sp>
        <p:nvSpPr>
          <p:cNvPr id="173" name="TextBox 172">
            <a:extLst>
              <a:ext uri="{FF2B5EF4-FFF2-40B4-BE49-F238E27FC236}">
                <a16:creationId xmlns:a16="http://schemas.microsoft.com/office/drawing/2014/main" id="{5027862E-E9C4-4E6C-8825-D93B05DC6B7F}"/>
              </a:ext>
            </a:extLst>
          </p:cNvPr>
          <p:cNvSpPr txBox="1">
            <a:spLocks/>
          </p:cNvSpPr>
          <p:nvPr/>
        </p:nvSpPr>
        <p:spPr>
          <a:xfrm>
            <a:off x="9706225" y="473926"/>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Delay/Roadblock/ </a:t>
            </a:r>
          </a:p>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requires further alignment</a:t>
            </a:r>
          </a:p>
        </p:txBody>
      </p:sp>
      <p:sp>
        <p:nvSpPr>
          <p:cNvPr id="174" name="TextBox 173">
            <a:extLst>
              <a:ext uri="{FF2B5EF4-FFF2-40B4-BE49-F238E27FC236}">
                <a16:creationId xmlns:a16="http://schemas.microsoft.com/office/drawing/2014/main" id="{F2CCBEEA-B14E-42CB-A835-ACDF5D730897}"/>
              </a:ext>
            </a:extLst>
          </p:cNvPr>
          <p:cNvSpPr txBox="1">
            <a:spLocks/>
          </p:cNvSpPr>
          <p:nvPr/>
        </p:nvSpPr>
        <p:spPr>
          <a:xfrm>
            <a:off x="9706225" y="207261"/>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Starting later</a:t>
            </a:r>
          </a:p>
        </p:txBody>
      </p:sp>
      <p:sp>
        <p:nvSpPr>
          <p:cNvPr id="220" name="Freeform 96">
            <a:extLst>
              <a:ext uri="{FF2B5EF4-FFF2-40B4-BE49-F238E27FC236}">
                <a16:creationId xmlns:a16="http://schemas.microsoft.com/office/drawing/2014/main" id="{54252D8F-E654-47C7-8F99-64713EDE64BD}"/>
              </a:ext>
            </a:extLst>
          </p:cNvPr>
          <p:cNvSpPr>
            <a:spLocks/>
          </p:cNvSpPr>
          <p:nvPr>
            <p:custDataLst>
              <p:tags r:id="rId7"/>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Freeform 96">
            <a:extLst>
              <a:ext uri="{FF2B5EF4-FFF2-40B4-BE49-F238E27FC236}">
                <a16:creationId xmlns:a16="http://schemas.microsoft.com/office/drawing/2014/main" id="{D66028E4-980D-480E-AAC9-BBF9868E4B7C}"/>
              </a:ext>
            </a:extLst>
          </p:cNvPr>
          <p:cNvSpPr>
            <a:spLocks/>
          </p:cNvSpPr>
          <p:nvPr>
            <p:custDataLst>
              <p:tags r:id="rId8"/>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Freeform 97">
            <a:extLst>
              <a:ext uri="{FF2B5EF4-FFF2-40B4-BE49-F238E27FC236}">
                <a16:creationId xmlns:a16="http://schemas.microsoft.com/office/drawing/2014/main" id="{309548D6-C962-4668-B742-C56C0EF019E5}"/>
              </a:ext>
            </a:extLst>
          </p:cNvPr>
          <p:cNvSpPr>
            <a:spLocks/>
          </p:cNvSpPr>
          <p:nvPr>
            <p:custDataLst>
              <p:tags r:id="rId9"/>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Freeform 96">
            <a:extLst>
              <a:ext uri="{FF2B5EF4-FFF2-40B4-BE49-F238E27FC236}">
                <a16:creationId xmlns:a16="http://schemas.microsoft.com/office/drawing/2014/main" id="{3C183026-FD49-4C4A-A070-F0411A3011F1}"/>
              </a:ext>
            </a:extLst>
          </p:cNvPr>
          <p:cNvSpPr>
            <a:spLocks/>
          </p:cNvSpPr>
          <p:nvPr>
            <p:custDataLst>
              <p:tags r:id="rId10"/>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Freeform 96">
            <a:extLst>
              <a:ext uri="{FF2B5EF4-FFF2-40B4-BE49-F238E27FC236}">
                <a16:creationId xmlns:a16="http://schemas.microsoft.com/office/drawing/2014/main" id="{8CD553D2-750E-4E86-A61C-8855025D1D15}"/>
              </a:ext>
            </a:extLst>
          </p:cNvPr>
          <p:cNvSpPr>
            <a:spLocks/>
          </p:cNvSpPr>
          <p:nvPr>
            <p:custDataLst>
              <p:tags r:id="rId11"/>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Freeform 97">
            <a:extLst>
              <a:ext uri="{FF2B5EF4-FFF2-40B4-BE49-F238E27FC236}">
                <a16:creationId xmlns:a16="http://schemas.microsoft.com/office/drawing/2014/main" id="{AA361D51-4DA6-47FE-AF65-69798BD97473}"/>
              </a:ext>
            </a:extLst>
          </p:cNvPr>
          <p:cNvSpPr>
            <a:spLocks/>
          </p:cNvSpPr>
          <p:nvPr>
            <p:custDataLst>
              <p:tags r:id="rId12"/>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7" name="Freeform 95">
            <a:extLst>
              <a:ext uri="{FF2B5EF4-FFF2-40B4-BE49-F238E27FC236}">
                <a16:creationId xmlns:a16="http://schemas.microsoft.com/office/drawing/2014/main" id="{0740E085-68AB-4274-9D36-F155E04F0766}"/>
              </a:ext>
            </a:extLst>
          </p:cNvPr>
          <p:cNvSpPr>
            <a:spLocks/>
          </p:cNvSpPr>
          <p:nvPr>
            <p:custDataLst>
              <p:tags r:id="rId13"/>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8" name="Freeform 98">
            <a:extLst>
              <a:ext uri="{FF2B5EF4-FFF2-40B4-BE49-F238E27FC236}">
                <a16:creationId xmlns:a16="http://schemas.microsoft.com/office/drawing/2014/main" id="{38A31CDA-0D91-482C-B876-0C9772B7C2DB}"/>
              </a:ext>
            </a:extLst>
          </p:cNvPr>
          <p:cNvSpPr>
            <a:spLocks/>
          </p:cNvSpPr>
          <p:nvPr>
            <p:custDataLst>
              <p:tags r:id="rId14"/>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29" name="Freeform 103">
            <a:extLst>
              <a:ext uri="{FF2B5EF4-FFF2-40B4-BE49-F238E27FC236}">
                <a16:creationId xmlns:a16="http://schemas.microsoft.com/office/drawing/2014/main" id="{D57EBCF7-CBE6-4444-8C48-AA519C709892}"/>
              </a:ext>
            </a:extLst>
          </p:cNvPr>
          <p:cNvSpPr>
            <a:spLocks/>
          </p:cNvSpPr>
          <p:nvPr>
            <p:custDataLst>
              <p:tags r:id="rId15"/>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34" name="Freeform 108">
            <a:extLst>
              <a:ext uri="{FF2B5EF4-FFF2-40B4-BE49-F238E27FC236}">
                <a16:creationId xmlns:a16="http://schemas.microsoft.com/office/drawing/2014/main" id="{1AA27041-3E05-4043-8A47-5DE5C6F2A6A2}"/>
              </a:ext>
            </a:extLst>
          </p:cNvPr>
          <p:cNvSpPr>
            <a:spLocks/>
          </p:cNvSpPr>
          <p:nvPr>
            <p:custDataLst>
              <p:tags r:id="rId16"/>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marL="0" marR="0" lvl="0" indent="0" algn="l"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37" name="TextBox 236">
            <a:extLst>
              <a:ext uri="{FF2B5EF4-FFF2-40B4-BE49-F238E27FC236}">
                <a16:creationId xmlns:a16="http://schemas.microsoft.com/office/drawing/2014/main" id="{1CD6A4A1-EF84-40A4-8D4B-51B4427AEA7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Issues</a:t>
            </a:r>
          </a:p>
        </p:txBody>
      </p:sp>
      <p:sp>
        <p:nvSpPr>
          <p:cNvPr id="240" name="TextBox 239">
            <a:extLst>
              <a:ext uri="{FF2B5EF4-FFF2-40B4-BE49-F238E27FC236}">
                <a16:creationId xmlns:a16="http://schemas.microsoft.com/office/drawing/2014/main" id="{53214845-C2DC-4030-AE4B-F9628C64E05E}"/>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Risks</a:t>
            </a:r>
          </a:p>
        </p:txBody>
      </p:sp>
      <p:sp>
        <p:nvSpPr>
          <p:cNvPr id="242" name="TextBox 241">
            <a:extLst>
              <a:ext uri="{FF2B5EF4-FFF2-40B4-BE49-F238E27FC236}">
                <a16:creationId xmlns:a16="http://schemas.microsoft.com/office/drawing/2014/main" id="{1F7FEDAE-9FA5-404D-AC0C-2D154F4B810F}"/>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699027" rtl="0" eaLnBrk="1" fontAlgn="auto" latinLnBrk="0" hangingPunct="1">
              <a:lnSpc>
                <a:spcPct val="100000"/>
              </a:lnSpc>
              <a:spcBef>
                <a:spcPts val="0"/>
              </a:spcBef>
              <a:spcAft>
                <a:spcPts val="0"/>
              </a:spcAft>
              <a:buClr>
                <a:srgbClr val="002960"/>
              </a:buClr>
              <a:buSzPct val="100000"/>
              <a:buFontTx/>
              <a:buNone/>
              <a:tabLst/>
              <a:defRPr/>
            </a:pPr>
            <a:r>
              <a:rPr kumimoji="0" lang="en-US" sz="714" b="0" i="0" u="none" strike="noStrike" kern="1200" cap="none" spc="0" normalizeH="0" baseline="0" noProof="0" dirty="0">
                <a:ln>
                  <a:noFill/>
                </a:ln>
                <a:solidFill>
                  <a:srgbClr val="000000"/>
                </a:solidFill>
                <a:effectLst/>
                <a:uLnTx/>
                <a:uFillTx/>
                <a:latin typeface="Arial"/>
                <a:ea typeface="+mn-ea"/>
                <a:cs typeface="+mn-cs"/>
              </a:rPr>
              <a:t>On track</a:t>
            </a:r>
          </a:p>
        </p:txBody>
      </p:sp>
      <p:sp>
        <p:nvSpPr>
          <p:cNvPr id="196" name="TextBox 195">
            <a:extLst>
              <a:ext uri="{FF2B5EF4-FFF2-40B4-BE49-F238E27FC236}">
                <a16:creationId xmlns:a16="http://schemas.microsoft.com/office/drawing/2014/main" id="{A85F1957-2E40-4204-9C83-5F25BE473DCF}"/>
              </a:ext>
            </a:extLst>
          </p:cNvPr>
          <p:cNvSpPr txBox="1">
            <a:spLocks/>
          </p:cNvSpPr>
          <p:nvPr/>
        </p:nvSpPr>
        <p:spPr>
          <a:xfrm>
            <a:off x="162164" y="997817"/>
            <a:ext cx="841248" cy="5688155"/>
          </a:xfrm>
          <a:prstGeom prst="rect">
            <a:avLst/>
          </a:prstGeom>
          <a:solidFill>
            <a:srgbClr val="FF6011"/>
          </a:solidFill>
          <a:ln w="9525">
            <a:noFill/>
          </a:ln>
        </p:spPr>
        <p:txBody>
          <a:bodyPr vert="horz" wrap="square" lIns="0" tIns="0" rIns="0" bIns="0" rtlCol="0" anchor="ctr"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16618" marR="0" lvl="0" indent="0" algn="l" defTabSz="913486" rtl="0" eaLnBrk="1" fontAlgn="base" latinLnBrk="0" hangingPunct="1">
              <a:lnSpc>
                <a:spcPct val="100000"/>
              </a:lnSpc>
              <a:spcBef>
                <a:spcPct val="0"/>
              </a:spcBef>
              <a:spcAft>
                <a:spcPct val="0"/>
              </a:spcAft>
              <a:buClr>
                <a:srgbClr val="002960"/>
              </a:buClr>
              <a:buSzPct val="100000"/>
              <a:buFontTx/>
              <a:buNone/>
              <a:tabLst/>
              <a:defRPr/>
            </a:pPr>
            <a:endParaRPr kumimoji="0" lang="en-US" sz="1000" b="0" i="1" u="none" strike="noStrike" kern="0" cap="none" spc="0" normalizeH="0" baseline="0" noProof="0" dirty="0">
              <a:ln>
                <a:noFill/>
              </a:ln>
              <a:solidFill>
                <a:srgbClr val="000000"/>
              </a:solidFill>
              <a:effectLst/>
              <a:uLnTx/>
              <a:uFillTx/>
              <a:latin typeface="Arial"/>
              <a:ea typeface="+mn-ea"/>
              <a:cs typeface="+mn-cs"/>
            </a:endParaRPr>
          </a:p>
        </p:txBody>
      </p:sp>
      <p:cxnSp>
        <p:nvCxnSpPr>
          <p:cNvPr id="301" name="Straight Connector 300">
            <a:extLst>
              <a:ext uri="{FF2B5EF4-FFF2-40B4-BE49-F238E27FC236}">
                <a16:creationId xmlns:a16="http://schemas.microsoft.com/office/drawing/2014/main" id="{277175A5-D258-41A1-A7FE-DE9664065503}"/>
              </a:ext>
            </a:extLst>
          </p:cNvPr>
          <p:cNvCxnSpPr>
            <a:cxnSpLocks/>
          </p:cNvCxnSpPr>
          <p:nvPr>
            <p:custDataLst>
              <p:tags r:id="rId17"/>
            </p:custDataLst>
          </p:nvPr>
        </p:nvCxnSpPr>
        <p:spPr bwMode="gray">
          <a:xfrm>
            <a:off x="1047595" y="930542"/>
            <a:ext cx="109728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2E6AFAE8-3D0B-42D4-91DF-A3E7F7607176}"/>
              </a:ext>
            </a:extLst>
          </p:cNvPr>
          <p:cNvSpPr txBox="1">
            <a:spLocks/>
          </p:cNvSpPr>
          <p:nvPr/>
        </p:nvSpPr>
        <p:spPr>
          <a:xfrm>
            <a:off x="1047595" y="732252"/>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Milestones </a:t>
            </a:r>
          </a:p>
        </p:txBody>
      </p:sp>
      <p:cxnSp>
        <p:nvCxnSpPr>
          <p:cNvPr id="304" name="Straight Connector 303">
            <a:extLst>
              <a:ext uri="{FF2B5EF4-FFF2-40B4-BE49-F238E27FC236}">
                <a16:creationId xmlns:a16="http://schemas.microsoft.com/office/drawing/2014/main" id="{A8581EF6-7167-4C4C-9690-D64C488CC91E}"/>
              </a:ext>
            </a:extLst>
          </p:cNvPr>
          <p:cNvCxnSpPr>
            <a:cxnSpLocks/>
          </p:cNvCxnSpPr>
          <p:nvPr>
            <p:custDataLst>
              <p:tags r:id="rId18"/>
            </p:custDataLst>
          </p:nvPr>
        </p:nvCxnSpPr>
        <p:spPr bwMode="gray">
          <a:xfrm>
            <a:off x="6378650" y="93054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2A11ED98-6E35-4F37-B86B-FB969B6B4ABF}"/>
              </a:ext>
            </a:extLst>
          </p:cNvPr>
          <p:cNvSpPr txBox="1">
            <a:spLocks/>
          </p:cNvSpPr>
          <p:nvPr/>
        </p:nvSpPr>
        <p:spPr>
          <a:xfrm>
            <a:off x="6378652" y="733026"/>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Deadline</a:t>
            </a:r>
          </a:p>
        </p:txBody>
      </p:sp>
      <p:sp>
        <p:nvSpPr>
          <p:cNvPr id="307" name="TextBox 306">
            <a:extLst>
              <a:ext uri="{FF2B5EF4-FFF2-40B4-BE49-F238E27FC236}">
                <a16:creationId xmlns:a16="http://schemas.microsoft.com/office/drawing/2014/main" id="{C613B8EB-6B7A-4022-98F2-06EC43C3E0FD}"/>
              </a:ext>
            </a:extLst>
          </p:cNvPr>
          <p:cNvSpPr txBox="1">
            <a:spLocks/>
          </p:cNvSpPr>
          <p:nvPr/>
        </p:nvSpPr>
        <p:spPr>
          <a:xfrm>
            <a:off x="7121128" y="63792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az-Latn-AZ" sz="1000" b="1" i="0" u="none" strike="noStrike" kern="1200" cap="none" spc="0" normalizeH="0" baseline="0" noProof="0" dirty="0">
                <a:ln>
                  <a:noFill/>
                </a:ln>
                <a:solidFill>
                  <a:srgbClr val="FF4300"/>
                </a:solidFill>
                <a:effectLst/>
                <a:uLnTx/>
                <a:uFillTx/>
                <a:latin typeface="Arial"/>
                <a:ea typeface="+mn-ea"/>
                <a:cs typeface="+mn-cs"/>
              </a:rPr>
              <a:t>Pre.</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Status</a:t>
            </a:r>
          </a:p>
        </p:txBody>
      </p:sp>
      <p:cxnSp>
        <p:nvCxnSpPr>
          <p:cNvPr id="308" name="Straight Connector 307">
            <a:extLst>
              <a:ext uri="{FF2B5EF4-FFF2-40B4-BE49-F238E27FC236}">
                <a16:creationId xmlns:a16="http://schemas.microsoft.com/office/drawing/2014/main" id="{112E01EF-C7D6-4F43-ADC5-931D2EA5649C}"/>
              </a:ext>
            </a:extLst>
          </p:cNvPr>
          <p:cNvCxnSpPr>
            <a:cxnSpLocks/>
          </p:cNvCxnSpPr>
          <p:nvPr>
            <p:custDataLst>
              <p:tags r:id="rId19"/>
            </p:custDataLst>
          </p:nvPr>
        </p:nvCxnSpPr>
        <p:spPr bwMode="gray">
          <a:xfrm>
            <a:off x="7121128" y="93054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538433E2-8587-43F7-81FD-C6D510F6FB02}"/>
              </a:ext>
            </a:extLst>
          </p:cNvPr>
          <p:cNvSpPr txBox="1">
            <a:spLocks/>
          </p:cNvSpPr>
          <p:nvPr/>
        </p:nvSpPr>
        <p:spPr>
          <a:xfrm>
            <a:off x="8614688" y="733026"/>
            <a:ext cx="3972360" cy="182880"/>
          </a:xfrm>
          <a:prstGeom prst="rect">
            <a:avLst/>
          </a:prstGeom>
        </p:spPr>
        <p:txBody>
          <a:bodyPr vert="horz" wrap="squar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Achievements &amp; Risks in last 2 weeks</a:t>
            </a:r>
          </a:p>
        </p:txBody>
      </p:sp>
      <p:cxnSp>
        <p:nvCxnSpPr>
          <p:cNvPr id="311" name="Straight Connector 310">
            <a:extLst>
              <a:ext uri="{FF2B5EF4-FFF2-40B4-BE49-F238E27FC236}">
                <a16:creationId xmlns:a16="http://schemas.microsoft.com/office/drawing/2014/main" id="{E9418A85-6230-41ED-A505-8291634B2DEC}"/>
              </a:ext>
            </a:extLst>
          </p:cNvPr>
          <p:cNvCxnSpPr>
            <a:cxnSpLocks/>
          </p:cNvCxnSpPr>
          <p:nvPr>
            <p:custDataLst>
              <p:tags r:id="rId20"/>
            </p:custDataLst>
          </p:nvPr>
        </p:nvCxnSpPr>
        <p:spPr bwMode="gray">
          <a:xfrm>
            <a:off x="8593132" y="930542"/>
            <a:ext cx="329417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8248835" y="799223"/>
            <a:ext cx="248100" cy="5828972"/>
            <a:chOff x="7565366" y="799223"/>
            <a:chExt cx="248100" cy="5828972"/>
          </a:xfrm>
        </p:grpSpPr>
        <p:cxnSp>
          <p:nvCxnSpPr>
            <p:cNvPr id="326" name="Straight Connector 325">
              <a:extLst>
                <a:ext uri="{FF2B5EF4-FFF2-40B4-BE49-F238E27FC236}">
                  <a16:creationId xmlns:a16="http://schemas.microsoft.com/office/drawing/2014/main" id="{F27C01F6-6D6B-4DBE-A67C-AF47C17E3891}"/>
                </a:ext>
              </a:extLst>
            </p:cNvPr>
            <p:cNvCxnSpPr>
              <a:cxnSpLocks/>
            </p:cNvCxnSpPr>
            <p:nvPr/>
          </p:nvCxnSpPr>
          <p:spPr>
            <a:xfrm>
              <a:off x="7682870" y="1122360"/>
              <a:ext cx="0" cy="5505835"/>
            </a:xfrm>
            <a:prstGeom prst="line">
              <a:avLst/>
            </a:prstGeom>
            <a:ln w="6350">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327" name="Group 326">
              <a:extLst>
                <a:ext uri="{FF2B5EF4-FFF2-40B4-BE49-F238E27FC236}">
                  <a16:creationId xmlns:a16="http://schemas.microsoft.com/office/drawing/2014/main" id="{BDA1DFA5-A151-4B63-BC85-79E5A3C5575D}"/>
                </a:ext>
              </a:extLst>
            </p:cNvPr>
            <p:cNvGrpSpPr/>
            <p:nvPr/>
          </p:nvGrpSpPr>
          <p:grpSpPr>
            <a:xfrm>
              <a:off x="7565366" y="799223"/>
              <a:ext cx="248100" cy="276927"/>
              <a:chOff x="1270000" y="1270000"/>
              <a:chExt cx="450850" cy="508000"/>
            </a:xfrm>
          </p:grpSpPr>
          <p:sp>
            <p:nvSpPr>
              <p:cNvPr id="328" name="Chevron1">
                <a:extLst>
                  <a:ext uri="{FF2B5EF4-FFF2-40B4-BE49-F238E27FC236}">
                    <a16:creationId xmlns:a16="http://schemas.microsoft.com/office/drawing/2014/main" id="{AE856019-AE01-4150-8F95-E89EDCC9ABD6}"/>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FF601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29" name="Chevron2">
                <a:extLst>
                  <a:ext uri="{FF2B5EF4-FFF2-40B4-BE49-F238E27FC236}">
                    <a16:creationId xmlns:a16="http://schemas.microsoft.com/office/drawing/2014/main" id="{0DDF2DBB-1B6B-4D80-A205-2336D54F1555}"/>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C00000"/>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97" name="TextBox 96">
            <a:extLst>
              <a:ext uri="{FF2B5EF4-FFF2-40B4-BE49-F238E27FC236}">
                <a16:creationId xmlns:a16="http://schemas.microsoft.com/office/drawing/2014/main" id="{2E6AFAE8-3D0B-42D4-91DF-A3E7F7607176}"/>
              </a:ext>
            </a:extLst>
          </p:cNvPr>
          <p:cNvSpPr txBox="1">
            <a:spLocks/>
          </p:cNvSpPr>
          <p:nvPr/>
        </p:nvSpPr>
        <p:spPr>
          <a:xfrm>
            <a:off x="2232044" y="73302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Tasks in 3 months</a:t>
            </a:r>
          </a:p>
        </p:txBody>
      </p:sp>
      <p:cxnSp>
        <p:nvCxnSpPr>
          <p:cNvPr id="99" name="Straight Connector 98">
            <a:extLst>
              <a:ext uri="{FF2B5EF4-FFF2-40B4-BE49-F238E27FC236}">
                <a16:creationId xmlns:a16="http://schemas.microsoft.com/office/drawing/2014/main" id="{277175A5-D258-41A1-A7FE-DE9664065503}"/>
              </a:ext>
            </a:extLst>
          </p:cNvPr>
          <p:cNvCxnSpPr>
            <a:cxnSpLocks/>
          </p:cNvCxnSpPr>
          <p:nvPr>
            <p:custDataLst>
              <p:tags r:id="rId21"/>
            </p:custDataLst>
          </p:nvPr>
        </p:nvCxnSpPr>
        <p:spPr bwMode="gray">
          <a:xfrm>
            <a:off x="150704" y="930542"/>
            <a:ext cx="84124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9418A85-6230-41ED-A505-8291634B2DEC}"/>
              </a:ext>
            </a:extLst>
          </p:cNvPr>
          <p:cNvCxnSpPr>
            <a:cxnSpLocks/>
          </p:cNvCxnSpPr>
          <p:nvPr>
            <p:custDataLst>
              <p:tags r:id="rId22"/>
            </p:custDataLst>
          </p:nvPr>
        </p:nvCxnSpPr>
        <p:spPr bwMode="gray">
          <a:xfrm flipV="1">
            <a:off x="2232044" y="928048"/>
            <a:ext cx="4018631" cy="2494"/>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1" name="TitleTrackerNum 3">
            <a:extLst>
              <a:ext uri="{FF2B5EF4-FFF2-40B4-BE49-F238E27FC236}">
                <a16:creationId xmlns:a16="http://schemas.microsoft.com/office/drawing/2014/main" id="{D4903EEB-BD75-4070-BA69-3D782EDE7CF8}"/>
              </a:ext>
            </a:extLst>
          </p:cNvPr>
          <p:cNvSpPr>
            <a:spLocks/>
          </p:cNvSpPr>
          <p:nvPr/>
        </p:nvSpPr>
        <p:spPr>
          <a:xfrm>
            <a:off x="64804" y="1135745"/>
            <a:ext cx="216157" cy="216157"/>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1</a:t>
            </a:r>
          </a:p>
        </p:txBody>
      </p:sp>
      <p:pic>
        <p:nvPicPr>
          <p:cNvPr id="213" name="CustomIcon">
            <a:extLst>
              <a:ext uri="{FF2B5EF4-FFF2-40B4-BE49-F238E27FC236}">
                <a16:creationId xmlns:a16="http://schemas.microsoft.com/office/drawing/2014/main" id="{C28E2A77-E2E8-4227-BC17-3A9D271F746E}"/>
              </a:ext>
            </a:extLst>
          </p:cNvPr>
          <p:cNvPicPr>
            <a:picLocks/>
          </p:cNvPicPr>
          <p:nvPr>
            <p:custDataLst>
              <p:tags r:id="rId23"/>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9419049" y="129538"/>
            <a:ext cx="219819" cy="219818"/>
          </a:xfrm>
          <a:prstGeom prst="rect">
            <a:avLst/>
          </a:prstGeom>
        </p:spPr>
      </p:pic>
      <p:sp>
        <p:nvSpPr>
          <p:cNvPr id="148" name="TextBox 147">
            <a:extLst>
              <a:ext uri="{FF2B5EF4-FFF2-40B4-BE49-F238E27FC236}">
                <a16:creationId xmlns:a16="http://schemas.microsoft.com/office/drawing/2014/main" id="{C613B8EB-6B7A-4022-98F2-06EC43C3E0FD}"/>
              </a:ext>
            </a:extLst>
          </p:cNvPr>
          <p:cNvSpPr txBox="1">
            <a:spLocks/>
          </p:cNvSpPr>
          <p:nvPr/>
        </p:nvSpPr>
        <p:spPr>
          <a:xfrm>
            <a:off x="7718926" y="598171"/>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az-Latn-AZ" sz="1000" b="1" i="0" u="none" strike="noStrike" kern="1200" cap="none" spc="0" normalizeH="0" baseline="0" noProof="0" dirty="0">
                <a:ln>
                  <a:noFill/>
                </a:ln>
                <a:solidFill>
                  <a:srgbClr val="FF4300"/>
                </a:solidFill>
                <a:effectLst/>
                <a:uLnTx/>
                <a:uFillTx/>
                <a:latin typeface="Arial"/>
                <a:ea typeface="+mn-ea"/>
                <a:cs typeface="+mn-cs"/>
              </a:rPr>
              <a:t>Cur.</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a:ea typeface="+mn-ea"/>
                <a:cs typeface="+mn-cs"/>
              </a:rPr>
              <a:t>Status</a:t>
            </a:r>
          </a:p>
        </p:txBody>
      </p:sp>
      <p:cxnSp>
        <p:nvCxnSpPr>
          <p:cNvPr id="150" name="Straight Connector 149">
            <a:extLst>
              <a:ext uri="{FF2B5EF4-FFF2-40B4-BE49-F238E27FC236}">
                <a16:creationId xmlns:a16="http://schemas.microsoft.com/office/drawing/2014/main" id="{112E01EF-C7D6-4F43-ADC5-931D2EA5649C}"/>
              </a:ext>
            </a:extLst>
          </p:cNvPr>
          <p:cNvCxnSpPr>
            <a:cxnSpLocks/>
          </p:cNvCxnSpPr>
          <p:nvPr>
            <p:custDataLst>
              <p:tags r:id="rId24"/>
            </p:custDataLst>
          </p:nvPr>
        </p:nvCxnSpPr>
        <p:spPr bwMode="gray">
          <a:xfrm>
            <a:off x="7718926" y="93054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2232044" y="2262774"/>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2</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61" name="TextBox 160">
            <a:extLst>
              <a:ext uri="{FF2B5EF4-FFF2-40B4-BE49-F238E27FC236}">
                <a16:creationId xmlns:a16="http://schemas.microsoft.com/office/drawing/2014/main" id="{3F7C077D-22BF-47E5-BD80-9CEC5A2E01EB}"/>
              </a:ext>
            </a:extLst>
          </p:cNvPr>
          <p:cNvSpPr txBox="1">
            <a:spLocks/>
          </p:cNvSpPr>
          <p:nvPr/>
        </p:nvSpPr>
        <p:spPr>
          <a:xfrm>
            <a:off x="1047595" y="2194407"/>
            <a:ext cx="1097280" cy="2877604"/>
          </a:xfrm>
          <a:prstGeom prst="rect">
            <a:avLst/>
          </a:prstGeom>
          <a:solidFill>
            <a:schemeClr val="accent6">
              <a:lumMod val="20000"/>
              <a:lumOff val="80000"/>
            </a:schemeClr>
          </a:solidFill>
          <a:ln w="9525">
            <a:noFill/>
          </a:ln>
        </p:spPr>
        <p:txBody>
          <a:bodyPr vert="horz" wrap="square" lIns="36730" tIns="73471" rIns="36730" bIns="73471" rtlCol="0" anchor="ctr" anchorCtr="0">
            <a:noAutofit/>
          </a:bodyPr>
          <a:lstStyle>
            <a:defPPr>
              <a:defRPr lang="en-US"/>
            </a:defPPr>
            <a:lvl1pPr marL="114300" marR="0" lvl="0" indent="0" defTabSz="895317" eaLnBrk="1" latinLnBrk="0" hangingPunct="1">
              <a:lnSpc>
                <a:spcPct val="100000"/>
              </a:lnSpc>
              <a:buClr>
                <a:srgbClr val="002960"/>
              </a:buClr>
              <a:buSzPct val="100000"/>
              <a:buFontTx/>
              <a:buNone/>
              <a:tabLst/>
              <a:defRPr kumimoji="0" sz="900" b="1" i="0" u="none" strike="noStrike" cap="none" spc="0" normalizeH="0" baseline="0">
                <a:ln>
                  <a:noFill/>
                </a:ln>
                <a:solidFill>
                  <a:srgbClr val="0065BD"/>
                </a:solidFill>
                <a:effectLst/>
                <a:uLnTx/>
                <a:uFillTx/>
                <a:latin typeface="Arial"/>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16619"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0065BD"/>
              </a:solidFill>
              <a:effectLst/>
              <a:uLnTx/>
              <a:uFillTx/>
              <a:latin typeface="Arial"/>
              <a:ea typeface="+mn-ea"/>
              <a:cs typeface="+mn-cs"/>
            </a:endParaRPr>
          </a:p>
        </p:txBody>
      </p:sp>
      <p:grpSp>
        <p:nvGrpSpPr>
          <p:cNvPr id="209" name="Group 208"/>
          <p:cNvGrpSpPr/>
          <p:nvPr/>
        </p:nvGrpSpPr>
        <p:grpSpPr>
          <a:xfrm>
            <a:off x="2249965" y="2592578"/>
            <a:ext cx="9565124" cy="0"/>
            <a:chOff x="2249964" y="1429122"/>
            <a:chExt cx="9565124" cy="0"/>
          </a:xfrm>
        </p:grpSpPr>
        <p:cxnSp>
          <p:nvCxnSpPr>
            <p:cNvPr id="210" name="Straight Connector 209">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p:nvGrpSpPr>
        <p:grpSpPr>
          <a:xfrm>
            <a:off x="2249965" y="4117137"/>
            <a:ext cx="9565124" cy="0"/>
            <a:chOff x="2249964" y="1429122"/>
            <a:chExt cx="9565124" cy="0"/>
          </a:xfrm>
        </p:grpSpPr>
        <p:cxnSp>
          <p:nvCxnSpPr>
            <p:cNvPr id="217" name="Straight Connector 216">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248" name="TextBox 247">
            <a:extLst>
              <a:ext uri="{FF2B5EF4-FFF2-40B4-BE49-F238E27FC236}">
                <a16:creationId xmlns:a16="http://schemas.microsoft.com/office/drawing/2014/main" id="{3F7C077D-22BF-47E5-BD80-9CEC5A2E01EB}"/>
              </a:ext>
            </a:extLst>
          </p:cNvPr>
          <p:cNvSpPr txBox="1">
            <a:spLocks/>
          </p:cNvSpPr>
          <p:nvPr/>
        </p:nvSpPr>
        <p:spPr>
          <a:xfrm>
            <a:off x="1047595" y="997045"/>
            <a:ext cx="1097280" cy="1130859"/>
          </a:xfrm>
          <a:prstGeom prst="rect">
            <a:avLst/>
          </a:prstGeom>
          <a:solidFill>
            <a:schemeClr val="accent1">
              <a:lumMod val="40000"/>
              <a:lumOff val="60000"/>
            </a:schemeClr>
          </a:solidFill>
          <a:ln w="9525">
            <a:noFill/>
          </a:ln>
        </p:spPr>
        <p:txBody>
          <a:bodyPr vert="horz" wrap="square" lIns="36730" tIns="73471" rIns="36730" bIns="73471" rtlCol="0" anchor="ctr" anchorCtr="0">
            <a:noAutofit/>
          </a:bodyPr>
          <a:lstStyle>
            <a:defPPr>
              <a:defRPr lang="en-US"/>
            </a:defPPr>
            <a:lvl1pPr marL="114300" marR="0" lvl="0" indent="0" defTabSz="895317" eaLnBrk="1" latinLnBrk="0" hangingPunct="1">
              <a:lnSpc>
                <a:spcPct val="100000"/>
              </a:lnSpc>
              <a:buClr>
                <a:srgbClr val="002960"/>
              </a:buClr>
              <a:buSzPct val="100000"/>
              <a:buFontTx/>
              <a:buNone/>
              <a:tabLst/>
              <a:defRPr kumimoji="0" sz="900" b="1" i="0" u="none" strike="noStrike" cap="none" spc="0" normalizeH="0" baseline="0">
                <a:ln>
                  <a:noFill/>
                </a:ln>
                <a:solidFill>
                  <a:srgbClr val="0065BD"/>
                </a:solidFill>
                <a:effectLst/>
                <a:uLnTx/>
                <a:uFillTx/>
                <a:latin typeface="Arial"/>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116619"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0065BD"/>
              </a:solidFill>
              <a:effectLst/>
              <a:uLnTx/>
              <a:uFillTx/>
              <a:latin typeface="Arial"/>
              <a:ea typeface="+mn-ea"/>
              <a:cs typeface="+mn-cs"/>
            </a:endParaRPr>
          </a:p>
        </p:txBody>
      </p:sp>
      <p:sp>
        <p:nvSpPr>
          <p:cNvPr id="254" name="TextBox 253">
            <a:extLst>
              <a:ext uri="{FF2B5EF4-FFF2-40B4-BE49-F238E27FC236}">
                <a16:creationId xmlns:a16="http://schemas.microsoft.com/office/drawing/2014/main" id="{44365BCA-42A2-4BFC-840D-1151CD9BE4F9}"/>
              </a:ext>
            </a:extLst>
          </p:cNvPr>
          <p:cNvSpPr txBox="1">
            <a:spLocks/>
          </p:cNvSpPr>
          <p:nvPr/>
        </p:nvSpPr>
        <p:spPr>
          <a:xfrm>
            <a:off x="6378653" y="1245909"/>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296" name="Group 295"/>
          <p:cNvGrpSpPr/>
          <p:nvPr/>
        </p:nvGrpSpPr>
        <p:grpSpPr>
          <a:xfrm>
            <a:off x="2249965" y="2127902"/>
            <a:ext cx="9565124" cy="0"/>
            <a:chOff x="2249964" y="1429122"/>
            <a:chExt cx="9565124" cy="0"/>
          </a:xfrm>
        </p:grpSpPr>
        <p:cxnSp>
          <p:nvCxnSpPr>
            <p:cNvPr id="297" name="Straight Connector 296">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12" name="Rectangle 111"/>
          <p:cNvSpPr/>
          <p:nvPr/>
        </p:nvSpPr>
        <p:spPr>
          <a:xfrm>
            <a:off x="2232044" y="1175002"/>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rPr>
              <a:t>1</a:t>
            </a:r>
          </a:p>
        </p:txBody>
      </p:sp>
      <p:sp>
        <p:nvSpPr>
          <p:cNvPr id="114" name="Rectangle 113"/>
          <p:cNvSpPr/>
          <p:nvPr/>
        </p:nvSpPr>
        <p:spPr>
          <a:xfrm>
            <a:off x="2232044" y="2685527"/>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3</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44365BCA-42A2-4BFC-840D-1151CD9BE4F9}"/>
              </a:ext>
            </a:extLst>
          </p:cNvPr>
          <p:cNvSpPr txBox="1">
            <a:spLocks/>
          </p:cNvSpPr>
          <p:nvPr/>
        </p:nvSpPr>
        <p:spPr>
          <a:xfrm>
            <a:off x="6378653" y="2323711"/>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sp>
        <p:nvSpPr>
          <p:cNvPr id="116" name="TextBox 115">
            <a:extLst>
              <a:ext uri="{FF2B5EF4-FFF2-40B4-BE49-F238E27FC236}">
                <a16:creationId xmlns:a16="http://schemas.microsoft.com/office/drawing/2014/main" id="{44365BCA-42A2-4BFC-840D-1151CD9BE4F9}"/>
              </a:ext>
            </a:extLst>
          </p:cNvPr>
          <p:cNvSpPr txBox="1">
            <a:spLocks/>
          </p:cNvSpPr>
          <p:nvPr/>
        </p:nvSpPr>
        <p:spPr>
          <a:xfrm>
            <a:off x="6378653" y="2802186"/>
            <a:ext cx="797210" cy="106477"/>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118" name="Group 117"/>
          <p:cNvGrpSpPr/>
          <p:nvPr/>
        </p:nvGrpSpPr>
        <p:grpSpPr>
          <a:xfrm>
            <a:off x="2249965" y="3094314"/>
            <a:ext cx="9565124" cy="0"/>
            <a:chOff x="2249964" y="1429122"/>
            <a:chExt cx="9565124" cy="0"/>
          </a:xfrm>
        </p:grpSpPr>
        <p:cxnSp>
          <p:nvCxnSpPr>
            <p:cNvPr id="119" name="Straight Connector 118">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21" name="Rectangle 120"/>
          <p:cNvSpPr/>
          <p:nvPr/>
        </p:nvSpPr>
        <p:spPr>
          <a:xfrm>
            <a:off x="2232044" y="3196657"/>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4</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44365BCA-42A2-4BFC-840D-1151CD9BE4F9}"/>
              </a:ext>
            </a:extLst>
          </p:cNvPr>
          <p:cNvSpPr txBox="1">
            <a:spLocks/>
          </p:cNvSpPr>
          <p:nvPr/>
        </p:nvSpPr>
        <p:spPr>
          <a:xfrm>
            <a:off x="6378653" y="3313316"/>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sp>
        <p:nvSpPr>
          <p:cNvPr id="123" name="Rectangle 122"/>
          <p:cNvSpPr/>
          <p:nvPr/>
        </p:nvSpPr>
        <p:spPr>
          <a:xfrm>
            <a:off x="2217214" y="4209332"/>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6</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44365BCA-42A2-4BFC-840D-1151CD9BE4F9}"/>
              </a:ext>
            </a:extLst>
          </p:cNvPr>
          <p:cNvSpPr txBox="1">
            <a:spLocks/>
          </p:cNvSpPr>
          <p:nvPr/>
        </p:nvSpPr>
        <p:spPr>
          <a:xfrm>
            <a:off x="6352004" y="4290171"/>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125" name="Group 124"/>
          <p:cNvGrpSpPr/>
          <p:nvPr/>
        </p:nvGrpSpPr>
        <p:grpSpPr>
          <a:xfrm>
            <a:off x="2249965" y="3596767"/>
            <a:ext cx="9565124" cy="0"/>
            <a:chOff x="2249964" y="1429122"/>
            <a:chExt cx="9565124" cy="0"/>
          </a:xfrm>
        </p:grpSpPr>
        <p:cxnSp>
          <p:nvCxnSpPr>
            <p:cNvPr id="126" name="Straight Connector 125">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2249965" y="4613010"/>
            <a:ext cx="9565124" cy="0"/>
            <a:chOff x="2249964" y="1429122"/>
            <a:chExt cx="9565124" cy="0"/>
          </a:xfrm>
        </p:grpSpPr>
        <p:cxnSp>
          <p:nvCxnSpPr>
            <p:cNvPr id="130" name="Straight Connector 129">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33" name="TextBox 132">
            <a:extLst>
              <a:ext uri="{FF2B5EF4-FFF2-40B4-BE49-F238E27FC236}">
                <a16:creationId xmlns:a16="http://schemas.microsoft.com/office/drawing/2014/main" id="{44365BCA-42A2-4BFC-840D-1151CD9BE4F9}"/>
              </a:ext>
            </a:extLst>
          </p:cNvPr>
          <p:cNvSpPr txBox="1">
            <a:spLocks/>
          </p:cNvSpPr>
          <p:nvPr/>
        </p:nvSpPr>
        <p:spPr>
          <a:xfrm>
            <a:off x="6366563" y="3784326"/>
            <a:ext cx="757041" cy="153889"/>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sp>
        <p:nvSpPr>
          <p:cNvPr id="134" name="Rectangle 133"/>
          <p:cNvSpPr/>
          <p:nvPr/>
        </p:nvSpPr>
        <p:spPr>
          <a:xfrm>
            <a:off x="2232044" y="3677464"/>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5</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35" name="TextBox 134">
            <a:extLst>
              <a:ext uri="{FF2B5EF4-FFF2-40B4-BE49-F238E27FC236}">
                <a16:creationId xmlns:a16="http://schemas.microsoft.com/office/drawing/2014/main" id="{44365BCA-42A2-4BFC-840D-1151CD9BE4F9}"/>
              </a:ext>
            </a:extLst>
          </p:cNvPr>
          <p:cNvSpPr txBox="1">
            <a:spLocks/>
          </p:cNvSpPr>
          <p:nvPr/>
        </p:nvSpPr>
        <p:spPr>
          <a:xfrm>
            <a:off x="6366563" y="3784326"/>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36" name="Group 135"/>
          <p:cNvGrpSpPr/>
          <p:nvPr/>
        </p:nvGrpSpPr>
        <p:grpSpPr>
          <a:xfrm>
            <a:off x="2249965" y="5102834"/>
            <a:ext cx="9565124" cy="0"/>
            <a:chOff x="2249964" y="1429122"/>
            <a:chExt cx="9565124" cy="0"/>
          </a:xfrm>
        </p:grpSpPr>
        <p:cxnSp>
          <p:nvCxnSpPr>
            <p:cNvPr id="137" name="Straight Connector 136">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40" name="Rectangle 139"/>
          <p:cNvSpPr/>
          <p:nvPr/>
        </p:nvSpPr>
        <p:spPr>
          <a:xfrm>
            <a:off x="2232044" y="4671901"/>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7</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41" name="TextBox 140">
            <a:extLst>
              <a:ext uri="{FF2B5EF4-FFF2-40B4-BE49-F238E27FC236}">
                <a16:creationId xmlns:a16="http://schemas.microsoft.com/office/drawing/2014/main" id="{44365BCA-42A2-4BFC-840D-1151CD9BE4F9}"/>
              </a:ext>
            </a:extLst>
          </p:cNvPr>
          <p:cNvSpPr txBox="1">
            <a:spLocks/>
          </p:cNvSpPr>
          <p:nvPr/>
        </p:nvSpPr>
        <p:spPr>
          <a:xfrm>
            <a:off x="6378653" y="4788560"/>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142" name="Group 141"/>
          <p:cNvGrpSpPr/>
          <p:nvPr/>
        </p:nvGrpSpPr>
        <p:grpSpPr>
          <a:xfrm>
            <a:off x="2249965" y="5556608"/>
            <a:ext cx="9565124" cy="0"/>
            <a:chOff x="2249964" y="1429122"/>
            <a:chExt cx="9565124" cy="0"/>
          </a:xfrm>
        </p:grpSpPr>
        <p:cxnSp>
          <p:nvCxnSpPr>
            <p:cNvPr id="144" name="Straight Connector 143">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47" name="Rectangle 146"/>
          <p:cNvSpPr/>
          <p:nvPr/>
        </p:nvSpPr>
        <p:spPr>
          <a:xfrm>
            <a:off x="2232044" y="5125675"/>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8</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44365BCA-42A2-4BFC-840D-1151CD9BE4F9}"/>
              </a:ext>
            </a:extLst>
          </p:cNvPr>
          <p:cNvSpPr txBox="1">
            <a:spLocks/>
          </p:cNvSpPr>
          <p:nvPr/>
        </p:nvSpPr>
        <p:spPr>
          <a:xfrm>
            <a:off x="6378653" y="5242334"/>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sp>
        <p:nvSpPr>
          <p:cNvPr id="152" name="Rectangle 151"/>
          <p:cNvSpPr/>
          <p:nvPr/>
        </p:nvSpPr>
        <p:spPr>
          <a:xfrm>
            <a:off x="2232044" y="5920564"/>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a:t>
            </a:r>
          </a:p>
        </p:txBody>
      </p:sp>
      <p:sp>
        <p:nvSpPr>
          <p:cNvPr id="153" name="TextBox 152">
            <a:extLst>
              <a:ext uri="{FF2B5EF4-FFF2-40B4-BE49-F238E27FC236}">
                <a16:creationId xmlns:a16="http://schemas.microsoft.com/office/drawing/2014/main" id="{44365BCA-42A2-4BFC-840D-1151CD9BE4F9}"/>
              </a:ext>
            </a:extLst>
          </p:cNvPr>
          <p:cNvSpPr txBox="1">
            <a:spLocks/>
          </p:cNvSpPr>
          <p:nvPr/>
        </p:nvSpPr>
        <p:spPr>
          <a:xfrm>
            <a:off x="6378653" y="5994177"/>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154" name="Group 153"/>
          <p:cNvGrpSpPr/>
          <p:nvPr/>
        </p:nvGrpSpPr>
        <p:grpSpPr>
          <a:xfrm>
            <a:off x="2249965" y="5866438"/>
            <a:ext cx="9565124" cy="0"/>
            <a:chOff x="2249964" y="1429122"/>
            <a:chExt cx="9565124" cy="0"/>
          </a:xfrm>
        </p:grpSpPr>
        <p:cxnSp>
          <p:nvCxnSpPr>
            <p:cNvPr id="155" name="Straight Connector 154">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57" name="Rectangle 156"/>
          <p:cNvSpPr/>
          <p:nvPr/>
        </p:nvSpPr>
        <p:spPr>
          <a:xfrm>
            <a:off x="2199983" y="5619987"/>
            <a:ext cx="393192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9</a:t>
            </a:r>
            <a:endParaRPr kumimoji="0" lang="en-US" sz="1000" b="0" i="0" u="none" strike="noStrike" kern="1200" cap="none" spc="0" normalizeH="0" baseline="0" noProof="0" dirty="0">
              <a:ln>
                <a:noFill/>
              </a:ln>
              <a:solidFill>
                <a:srgbClr val="002960">
                  <a:lumMod val="50000"/>
                  <a:lumOff val="50000"/>
                </a:srgbClr>
              </a:solidFill>
              <a:effectLst/>
              <a:uLnTx/>
              <a:uFillTx/>
              <a:latin typeface="Arial"/>
              <a:ea typeface="+mn-ea"/>
              <a:cs typeface="+mn-cs"/>
            </a:endParaRPr>
          </a:p>
        </p:txBody>
      </p:sp>
      <p:sp>
        <p:nvSpPr>
          <p:cNvPr id="158" name="TextBox 157">
            <a:extLst>
              <a:ext uri="{FF2B5EF4-FFF2-40B4-BE49-F238E27FC236}">
                <a16:creationId xmlns:a16="http://schemas.microsoft.com/office/drawing/2014/main" id="{44365BCA-42A2-4BFC-840D-1151CD9BE4F9}"/>
              </a:ext>
            </a:extLst>
          </p:cNvPr>
          <p:cNvSpPr txBox="1">
            <a:spLocks/>
          </p:cNvSpPr>
          <p:nvPr/>
        </p:nvSpPr>
        <p:spPr>
          <a:xfrm>
            <a:off x="6366562" y="5647235"/>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sp>
        <p:nvSpPr>
          <p:cNvPr id="165" name="TextBox 164">
            <a:extLst>
              <a:ext uri="{FF2B5EF4-FFF2-40B4-BE49-F238E27FC236}">
                <a16:creationId xmlns:a16="http://schemas.microsoft.com/office/drawing/2014/main" id="{44365BCA-42A2-4BFC-840D-1151CD9BE4F9}"/>
              </a:ext>
            </a:extLst>
          </p:cNvPr>
          <p:cNvSpPr txBox="1">
            <a:spLocks/>
          </p:cNvSpPr>
          <p:nvPr/>
        </p:nvSpPr>
        <p:spPr>
          <a:xfrm>
            <a:off x="6378653" y="6411843"/>
            <a:ext cx="757041" cy="153888"/>
          </a:xfrm>
          <a:prstGeom prst="rect">
            <a:avLst/>
          </a:prstGeom>
        </p:spPr>
        <p:txBody>
          <a:bodyPr vert="horz" wrap="square" lIns="0" tIns="0" rIns="0" bIns="0" rtlCol="0" anchor="t" anchorCtr="0">
            <a:noAutofit/>
          </a:bodyPr>
          <a:lstStyle>
            <a:lvl1pPr marL="0" lvl="0" indent="0" defTabSz="1218026" eaLnBrk="1" latinLnBrk="0" hangingPunct="1">
              <a:buClr>
                <a:schemeClr val="tx2"/>
              </a:buClr>
              <a:buSzPct val="100000"/>
              <a:defRPr lang="x-none" baseline="0">
                <a:latin typeface="+mn-lt"/>
              </a:defRPr>
            </a:lvl1pPr>
            <a:lvl2pPr marL="192024" lvl="1" indent="-192024" defTabSz="1218026" eaLnBrk="1" latinLnBrk="0" hangingPunct="1">
              <a:buClr>
                <a:schemeClr val="tx2"/>
              </a:buClr>
              <a:buSzPct val="125000"/>
              <a:buFont typeface="Arial" charset="0"/>
              <a:buChar char="▪"/>
              <a:defRPr lang="x-none" baseline="0">
                <a:latin typeface="+mn-lt"/>
              </a:defRPr>
            </a:lvl2pPr>
            <a:lvl3pPr marL="457200" lvl="2" indent="-265176" defTabSz="1218026" eaLnBrk="1" latinLnBrk="0" hangingPunct="1">
              <a:buClr>
                <a:schemeClr val="tx2"/>
              </a:buClr>
              <a:buSzPct val="120000"/>
              <a:buFont typeface="Arial" charset="0"/>
              <a:buChar char="–"/>
              <a:defRPr lang="x-none" baseline="0">
                <a:latin typeface="+mn-lt"/>
              </a:defRPr>
            </a:lvl3pPr>
            <a:lvl4pPr marL="612648" lvl="3" indent="-155448" defTabSz="1218026" eaLnBrk="1" latinLnBrk="0" hangingPunct="1">
              <a:buClr>
                <a:schemeClr val="tx2"/>
              </a:buClr>
              <a:buSzPct val="120000"/>
              <a:buFont typeface="Arial" charset="0"/>
              <a:buChar char="▫"/>
              <a:defRPr lang="x-none" baseline="0">
                <a:latin typeface="+mn-lt"/>
              </a:defRPr>
            </a:lvl4pPr>
            <a:lvl5pPr marL="749808" lvl="4" indent="-128016" defTabSz="1218026" eaLnBrk="1" latinLnBrk="0" hangingPunct="1">
              <a:buClr>
                <a:schemeClr val="tx2"/>
              </a:buClr>
              <a:buSzPct val="89000"/>
              <a:buFont typeface="Arial" charset="0"/>
              <a:buChar char="-"/>
              <a:defRPr lang="x-none"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42747" rtl="0" eaLnBrk="1" fontAlgn="auto" latinLnBrk="0" hangingPunct="1">
              <a:lnSpc>
                <a:spcPct val="100000"/>
              </a:lnSpc>
              <a:spcBef>
                <a:spcPts val="0"/>
              </a:spcBef>
              <a:spcAft>
                <a:spcPts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8-Dec-2004</a:t>
            </a:r>
          </a:p>
        </p:txBody>
      </p:sp>
      <p:grpSp>
        <p:nvGrpSpPr>
          <p:cNvPr id="166" name="Group 165"/>
          <p:cNvGrpSpPr/>
          <p:nvPr/>
        </p:nvGrpSpPr>
        <p:grpSpPr>
          <a:xfrm>
            <a:off x="2249965" y="6266861"/>
            <a:ext cx="9565124" cy="0"/>
            <a:chOff x="2249964" y="1429122"/>
            <a:chExt cx="9565124" cy="0"/>
          </a:xfrm>
        </p:grpSpPr>
        <p:cxnSp>
          <p:nvCxnSpPr>
            <p:cNvPr id="171" name="Straight Connector 170">
              <a:extLst>
                <a:ext uri="{FF2B5EF4-FFF2-40B4-BE49-F238E27FC236}">
                  <a16:creationId xmlns:a16="http://schemas.microsoft.com/office/drawing/2014/main" id="{5D56CC63-68D1-4BED-9FCC-6E1596D22B6B}"/>
                </a:ext>
              </a:extLst>
            </p:cNvPr>
            <p:cNvCxnSpPr>
              <a:cxnSpLocks/>
            </p:cNvCxnSpPr>
            <p:nvPr/>
          </p:nvCxnSpPr>
          <p:spPr>
            <a:xfrm>
              <a:off x="8614688" y="1429122"/>
              <a:ext cx="32004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0C5526E8-E299-4AAB-AE14-56C0EB81307E}"/>
                </a:ext>
              </a:extLst>
            </p:cNvPr>
            <p:cNvCxnSpPr>
              <a:cxnSpLocks/>
            </p:cNvCxnSpPr>
            <p:nvPr/>
          </p:nvCxnSpPr>
          <p:spPr>
            <a:xfrm>
              <a:off x="2249964" y="1429122"/>
              <a:ext cx="57607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25A3C1DF-87D8-4B79-A435-EECBF9D60CC2}"/>
              </a:ext>
            </a:extLst>
          </p:cNvPr>
          <p:cNvGrpSpPr/>
          <p:nvPr/>
        </p:nvGrpSpPr>
        <p:grpSpPr>
          <a:xfrm>
            <a:off x="728996" y="6302682"/>
            <a:ext cx="202612" cy="315388"/>
            <a:chOff x="586472" y="2251029"/>
            <a:chExt cx="348872" cy="550062"/>
          </a:xfrm>
        </p:grpSpPr>
        <p:sp>
          <p:nvSpPr>
            <p:cNvPr id="143" name="Freeform 96">
              <a:extLst>
                <a:ext uri="{FF2B5EF4-FFF2-40B4-BE49-F238E27FC236}">
                  <a16:creationId xmlns:a16="http://schemas.microsoft.com/office/drawing/2014/main" id="{8C49BD0C-6DA6-4E95-84B5-9EA0C357987E}"/>
                </a:ext>
              </a:extLst>
            </p:cNvPr>
            <p:cNvSpPr>
              <a:spLocks/>
            </p:cNvSpPr>
            <p:nvPr>
              <p:custDataLst>
                <p:tags r:id="rId44"/>
              </p:custDataLst>
            </p:nvPr>
          </p:nvSpPr>
          <p:spPr bwMode="gray">
            <a:xfrm flipH="1">
              <a:off x="824403" y="2291207"/>
              <a:ext cx="110939" cy="91916"/>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Freeform 96">
              <a:extLst>
                <a:ext uri="{FF2B5EF4-FFF2-40B4-BE49-F238E27FC236}">
                  <a16:creationId xmlns:a16="http://schemas.microsoft.com/office/drawing/2014/main" id="{64BA2347-171A-4D0D-8D21-C730131B07D9}"/>
                </a:ext>
              </a:extLst>
            </p:cNvPr>
            <p:cNvSpPr>
              <a:spLocks/>
            </p:cNvSpPr>
            <p:nvPr>
              <p:custDataLst>
                <p:tags r:id="rId45"/>
              </p:custDataLst>
            </p:nvPr>
          </p:nvSpPr>
          <p:spPr bwMode="gray">
            <a:xfrm flipH="1">
              <a:off x="824405" y="2457840"/>
              <a:ext cx="110939" cy="91916"/>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97">
              <a:extLst>
                <a:ext uri="{FF2B5EF4-FFF2-40B4-BE49-F238E27FC236}">
                  <a16:creationId xmlns:a16="http://schemas.microsoft.com/office/drawing/2014/main" id="{5A751000-C9FC-4DD6-801D-540E807631CA}"/>
                </a:ext>
              </a:extLst>
            </p:cNvPr>
            <p:cNvSpPr>
              <a:spLocks/>
            </p:cNvSpPr>
            <p:nvPr>
              <p:custDataLst>
                <p:tags r:id="rId46"/>
              </p:custDataLst>
            </p:nvPr>
          </p:nvSpPr>
          <p:spPr bwMode="gray">
            <a:xfrm flipH="1">
              <a:off x="824403" y="2630183"/>
              <a:ext cx="110939" cy="91918"/>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Freeform 96">
              <a:extLst>
                <a:ext uri="{FF2B5EF4-FFF2-40B4-BE49-F238E27FC236}">
                  <a16:creationId xmlns:a16="http://schemas.microsoft.com/office/drawing/2014/main" id="{DEC19AA9-13E9-4481-BA1B-3519BBC6AC77}"/>
                </a:ext>
              </a:extLst>
            </p:cNvPr>
            <p:cNvSpPr>
              <a:spLocks/>
            </p:cNvSpPr>
            <p:nvPr>
              <p:custDataLst>
                <p:tags r:id="rId47"/>
              </p:custDataLst>
            </p:nvPr>
          </p:nvSpPr>
          <p:spPr bwMode="gray">
            <a:xfrm>
              <a:off x="586472" y="2291207"/>
              <a:ext cx="110939" cy="91916"/>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Freeform 96">
              <a:extLst>
                <a:ext uri="{FF2B5EF4-FFF2-40B4-BE49-F238E27FC236}">
                  <a16:creationId xmlns:a16="http://schemas.microsoft.com/office/drawing/2014/main" id="{D9840938-B888-4363-9417-49F437B1E767}"/>
                </a:ext>
              </a:extLst>
            </p:cNvPr>
            <p:cNvSpPr>
              <a:spLocks/>
            </p:cNvSpPr>
            <p:nvPr>
              <p:custDataLst>
                <p:tags r:id="rId48"/>
              </p:custDataLst>
            </p:nvPr>
          </p:nvSpPr>
          <p:spPr bwMode="gray">
            <a:xfrm>
              <a:off x="586472" y="2457840"/>
              <a:ext cx="110939" cy="91916"/>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3" name="Freeform 97">
              <a:extLst>
                <a:ext uri="{FF2B5EF4-FFF2-40B4-BE49-F238E27FC236}">
                  <a16:creationId xmlns:a16="http://schemas.microsoft.com/office/drawing/2014/main" id="{B56D392A-2C1A-429B-BED9-3CB2067C0F0E}"/>
                </a:ext>
              </a:extLst>
            </p:cNvPr>
            <p:cNvSpPr>
              <a:spLocks/>
            </p:cNvSpPr>
            <p:nvPr>
              <p:custDataLst>
                <p:tags r:id="rId49"/>
              </p:custDataLst>
            </p:nvPr>
          </p:nvSpPr>
          <p:spPr bwMode="gray">
            <a:xfrm>
              <a:off x="586472" y="2630183"/>
              <a:ext cx="110939" cy="91916"/>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Freeform 95">
              <a:extLst>
                <a:ext uri="{FF2B5EF4-FFF2-40B4-BE49-F238E27FC236}">
                  <a16:creationId xmlns:a16="http://schemas.microsoft.com/office/drawing/2014/main" id="{A9B8B6B7-3807-454F-827D-CB135B6E8800}"/>
                </a:ext>
              </a:extLst>
            </p:cNvPr>
            <p:cNvSpPr>
              <a:spLocks/>
            </p:cNvSpPr>
            <p:nvPr>
              <p:custDataLst>
                <p:tags r:id="rId50"/>
              </p:custDataLst>
            </p:nvPr>
          </p:nvSpPr>
          <p:spPr bwMode="gray">
            <a:xfrm>
              <a:off x="657070" y="2251029"/>
              <a:ext cx="220438" cy="550062"/>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Freeform 98">
              <a:extLst>
                <a:ext uri="{FF2B5EF4-FFF2-40B4-BE49-F238E27FC236}">
                  <a16:creationId xmlns:a16="http://schemas.microsoft.com/office/drawing/2014/main" id="{DF8F8D43-28B4-4CBC-883B-2AA9295BDF3A}"/>
                </a:ext>
              </a:extLst>
            </p:cNvPr>
            <p:cNvSpPr>
              <a:spLocks/>
            </p:cNvSpPr>
            <p:nvPr>
              <p:custDataLst>
                <p:tags r:id="rId51"/>
              </p:custDataLst>
            </p:nvPr>
          </p:nvSpPr>
          <p:spPr bwMode="gray">
            <a:xfrm>
              <a:off x="701733" y="2286934"/>
              <a:ext cx="129668" cy="129258"/>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chemeClr val="bg1"/>
            </a:solidFill>
            <a:ln>
              <a:noFill/>
            </a:ln>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9" name="Freeform 103">
              <a:extLst>
                <a:ext uri="{FF2B5EF4-FFF2-40B4-BE49-F238E27FC236}">
                  <a16:creationId xmlns:a16="http://schemas.microsoft.com/office/drawing/2014/main" id="{DAAF4630-14A4-4568-97F9-FC6B982E880B}"/>
                </a:ext>
              </a:extLst>
            </p:cNvPr>
            <p:cNvSpPr>
              <a:spLocks/>
            </p:cNvSpPr>
            <p:nvPr>
              <p:custDataLst>
                <p:tags r:id="rId52"/>
              </p:custDataLst>
            </p:nvPr>
          </p:nvSpPr>
          <p:spPr bwMode="gray">
            <a:xfrm>
              <a:off x="701733" y="2457840"/>
              <a:ext cx="129668" cy="130694"/>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chemeClr val="bg1"/>
            </a:solidFill>
            <a:ln>
              <a:noFill/>
            </a:ln>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Freeform 108">
              <a:extLst>
                <a:ext uri="{FF2B5EF4-FFF2-40B4-BE49-F238E27FC236}">
                  <a16:creationId xmlns:a16="http://schemas.microsoft.com/office/drawing/2014/main" id="{1F54DB35-0774-4014-A888-A3C2C872804C}"/>
                </a:ext>
              </a:extLst>
            </p:cNvPr>
            <p:cNvSpPr>
              <a:spLocks/>
            </p:cNvSpPr>
            <p:nvPr>
              <p:custDataLst>
                <p:tags r:id="rId53"/>
              </p:custDataLst>
            </p:nvPr>
          </p:nvSpPr>
          <p:spPr bwMode="gray">
            <a:xfrm>
              <a:off x="701733" y="2635927"/>
              <a:ext cx="129668" cy="129258"/>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7" tIns="46649" rIns="93297" bIns="46649"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84" name="Tick2 6">
            <a:extLst>
              <a:ext uri="{FF2B5EF4-FFF2-40B4-BE49-F238E27FC236}">
                <a16:creationId xmlns:a16="http://schemas.microsoft.com/office/drawing/2014/main" id="{7AFA5FA6-5ADD-432F-B9AC-66BE96EFB960}"/>
              </a:ext>
            </a:extLst>
          </p:cNvPr>
          <p:cNvSpPr>
            <a:spLocks/>
          </p:cNvSpPr>
          <p:nvPr>
            <p:custDataLst>
              <p:tags r:id="rId25"/>
            </p:custDataLst>
          </p:nvPr>
        </p:nvSpPr>
        <p:spPr>
          <a:xfrm>
            <a:off x="7751711" y="2281136"/>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185" name="Tick2 6">
            <a:extLst>
              <a:ext uri="{FF2B5EF4-FFF2-40B4-BE49-F238E27FC236}">
                <a16:creationId xmlns:a16="http://schemas.microsoft.com/office/drawing/2014/main" id="{7AFA5FA6-5ADD-432F-B9AC-66BE96EFB960}"/>
              </a:ext>
            </a:extLst>
          </p:cNvPr>
          <p:cNvSpPr>
            <a:spLocks/>
          </p:cNvSpPr>
          <p:nvPr>
            <p:custDataLst>
              <p:tags r:id="rId26"/>
            </p:custDataLst>
          </p:nvPr>
        </p:nvSpPr>
        <p:spPr>
          <a:xfrm>
            <a:off x="7751746" y="2763691"/>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pic>
        <p:nvPicPr>
          <p:cNvPr id="191" name="CustomIcon">
            <a:extLst>
              <a:ext uri="{FF2B5EF4-FFF2-40B4-BE49-F238E27FC236}">
                <a16:creationId xmlns:a16="http://schemas.microsoft.com/office/drawing/2014/main" id="{F1132DC4-DBFE-4ADC-8E7C-07B6C4D41A0C}"/>
              </a:ext>
            </a:extLst>
          </p:cNvPr>
          <p:cNvPicPr>
            <a:picLocks/>
          </p:cNvPicPr>
          <p:nvPr>
            <p:custDataLst>
              <p:tags r:id="rId27"/>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296789" y="3268361"/>
            <a:ext cx="219819" cy="219818"/>
          </a:xfrm>
          <a:prstGeom prst="rect">
            <a:avLst/>
          </a:prstGeom>
        </p:spPr>
      </p:pic>
      <p:pic>
        <p:nvPicPr>
          <p:cNvPr id="193" name="CustomIcon">
            <a:extLst>
              <a:ext uri="{FF2B5EF4-FFF2-40B4-BE49-F238E27FC236}">
                <a16:creationId xmlns:a16="http://schemas.microsoft.com/office/drawing/2014/main" id="{C28E2A77-E2E8-4227-BC17-3A9D271F746E}"/>
              </a:ext>
            </a:extLst>
          </p:cNvPr>
          <p:cNvPicPr>
            <a:picLocks/>
          </p:cNvPicPr>
          <p:nvPr>
            <p:custDataLst>
              <p:tags r:id="rId28"/>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710831" y="5643629"/>
            <a:ext cx="219819" cy="219818"/>
          </a:xfrm>
          <a:prstGeom prst="rect">
            <a:avLst/>
          </a:prstGeom>
        </p:spPr>
      </p:pic>
      <p:pic>
        <p:nvPicPr>
          <p:cNvPr id="194" name="CustomIcon">
            <a:extLst>
              <a:ext uri="{FF2B5EF4-FFF2-40B4-BE49-F238E27FC236}">
                <a16:creationId xmlns:a16="http://schemas.microsoft.com/office/drawing/2014/main" id="{C28E2A77-E2E8-4227-BC17-3A9D271F746E}"/>
              </a:ext>
            </a:extLst>
          </p:cNvPr>
          <p:cNvPicPr>
            <a:picLocks/>
          </p:cNvPicPr>
          <p:nvPr>
            <p:custDataLst>
              <p:tags r:id="rId29"/>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718926" y="6350467"/>
            <a:ext cx="219819" cy="219818"/>
          </a:xfrm>
          <a:prstGeom prst="rect">
            <a:avLst/>
          </a:prstGeom>
        </p:spPr>
      </p:pic>
      <p:pic>
        <p:nvPicPr>
          <p:cNvPr id="195" name="CustomIcon">
            <a:extLst>
              <a:ext uri="{FF2B5EF4-FFF2-40B4-BE49-F238E27FC236}">
                <a16:creationId xmlns:a16="http://schemas.microsoft.com/office/drawing/2014/main" id="{C28E2A77-E2E8-4227-BC17-3A9D271F746E}"/>
              </a:ext>
            </a:extLst>
          </p:cNvPr>
          <p:cNvPicPr>
            <a:picLocks/>
          </p:cNvPicPr>
          <p:nvPr>
            <p:custDataLst>
              <p:tags r:id="rId30"/>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296789" y="5215821"/>
            <a:ext cx="219819" cy="219818"/>
          </a:xfrm>
          <a:prstGeom prst="rect">
            <a:avLst/>
          </a:prstGeom>
        </p:spPr>
      </p:pic>
      <p:pic>
        <p:nvPicPr>
          <p:cNvPr id="202" name="CustomIcon">
            <a:extLst>
              <a:ext uri="{FF2B5EF4-FFF2-40B4-BE49-F238E27FC236}">
                <a16:creationId xmlns:a16="http://schemas.microsoft.com/office/drawing/2014/main" id="{C28E2A77-E2E8-4227-BC17-3A9D271F746E}"/>
              </a:ext>
            </a:extLst>
          </p:cNvPr>
          <p:cNvPicPr>
            <a:picLocks/>
          </p:cNvPicPr>
          <p:nvPr>
            <p:custDataLst>
              <p:tags r:id="rId31"/>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296789" y="4742867"/>
            <a:ext cx="219819" cy="219818"/>
          </a:xfrm>
          <a:prstGeom prst="rect">
            <a:avLst/>
          </a:prstGeom>
        </p:spPr>
      </p:pic>
      <p:pic>
        <p:nvPicPr>
          <p:cNvPr id="177" name="CustomIcon">
            <a:extLst>
              <a:ext uri="{FF2B5EF4-FFF2-40B4-BE49-F238E27FC236}">
                <a16:creationId xmlns:a16="http://schemas.microsoft.com/office/drawing/2014/main" id="{F1132DC4-DBFE-4ADC-8E7C-07B6C4D41A0C}"/>
              </a:ext>
            </a:extLst>
          </p:cNvPr>
          <p:cNvPicPr>
            <a:picLocks/>
          </p:cNvPicPr>
          <p:nvPr>
            <p:custDataLst>
              <p:tags r:id="rId32"/>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296789" y="4257206"/>
            <a:ext cx="219819" cy="219818"/>
          </a:xfrm>
          <a:prstGeom prst="rect">
            <a:avLst/>
          </a:prstGeom>
        </p:spPr>
      </p:pic>
      <p:pic>
        <p:nvPicPr>
          <p:cNvPr id="180" name="CustomIcon">
            <a:extLst>
              <a:ext uri="{FF2B5EF4-FFF2-40B4-BE49-F238E27FC236}">
                <a16:creationId xmlns:a16="http://schemas.microsoft.com/office/drawing/2014/main" id="{C28E2A77-E2E8-4227-BC17-3A9D271F746E}"/>
              </a:ext>
            </a:extLst>
          </p:cNvPr>
          <p:cNvPicPr>
            <a:picLocks/>
          </p:cNvPicPr>
          <p:nvPr>
            <p:custDataLst>
              <p:tags r:id="rId33"/>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710832" y="5958431"/>
            <a:ext cx="219819" cy="219818"/>
          </a:xfrm>
          <a:prstGeom prst="rect">
            <a:avLst/>
          </a:prstGeom>
        </p:spPr>
      </p:pic>
      <p:sp>
        <p:nvSpPr>
          <p:cNvPr id="182" name="Tick2 6">
            <a:extLst>
              <a:ext uri="{FF2B5EF4-FFF2-40B4-BE49-F238E27FC236}">
                <a16:creationId xmlns:a16="http://schemas.microsoft.com/office/drawing/2014/main" id="{7AFA5FA6-5ADD-432F-B9AC-66BE96EFB960}"/>
              </a:ext>
            </a:extLst>
          </p:cNvPr>
          <p:cNvSpPr>
            <a:spLocks/>
          </p:cNvSpPr>
          <p:nvPr>
            <p:custDataLst>
              <p:tags r:id="rId34"/>
            </p:custDataLst>
          </p:nvPr>
        </p:nvSpPr>
        <p:spPr>
          <a:xfrm>
            <a:off x="7740779" y="118990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sp>
        <p:nvSpPr>
          <p:cNvPr id="235" name="TextBox 234">
            <a:extLst>
              <a:ext uri="{FF2B5EF4-FFF2-40B4-BE49-F238E27FC236}">
                <a16:creationId xmlns:a16="http://schemas.microsoft.com/office/drawing/2014/main" id="{64A69A34-39B2-482E-978B-0DC132CAEC55}"/>
              </a:ext>
            </a:extLst>
          </p:cNvPr>
          <p:cNvSpPr txBox="1">
            <a:spLocks/>
          </p:cNvSpPr>
          <p:nvPr/>
        </p:nvSpPr>
        <p:spPr>
          <a:xfrm>
            <a:off x="1044991" y="5102834"/>
            <a:ext cx="1084130" cy="1583138"/>
          </a:xfrm>
          <a:prstGeom prst="rect">
            <a:avLst/>
          </a:prstGeom>
          <a:solidFill>
            <a:schemeClr val="accent6">
              <a:lumMod val="20000"/>
              <a:lumOff val="80000"/>
            </a:schemeClr>
          </a:solidFill>
          <a:ln w="9525">
            <a:noFill/>
          </a:ln>
        </p:spPr>
        <p:txBody>
          <a:bodyPr vert="horz" wrap="square" lIns="36730" tIns="73471" rIns="36730" bIns="73471" rtlCol="0" anchor="ctr" anchorCtr="0">
            <a:noAutofit/>
          </a:bodyPr>
          <a:lstStyle>
            <a:defPPr>
              <a:defRPr lang="tr-TR"/>
            </a:defPPr>
            <a:lvl1pPr marL="116619" marR="0" lvl="0" indent="0" defTabSz="913489">
              <a:lnSpc>
                <a:spcPct val="100000"/>
              </a:lnSpc>
              <a:buClr>
                <a:srgbClr val="002960"/>
              </a:buClr>
              <a:buSzPct val="100000"/>
              <a:buFontTx/>
              <a:buNone/>
              <a:tabLst/>
              <a:defRPr kumimoji="0" sz="1000" b="1" i="0" u="none" strike="noStrike" cap="none" spc="0" normalizeH="0" baseline="0">
                <a:ln>
                  <a:noFill/>
                </a:ln>
                <a:solidFill>
                  <a:srgbClr val="0065BD"/>
                </a:solidFill>
                <a:effectLst/>
                <a:uLnTx/>
                <a:uFillTx/>
                <a:latin typeface="Arial"/>
              </a:defRPr>
            </a:lvl1pPr>
            <a:lvl2pPr marL="148200" lvl="1" indent="-146986" defTabSz="685122">
              <a:buClr>
                <a:schemeClr val="tx2"/>
              </a:buClr>
              <a:buSzPct val="125000"/>
              <a:buFont typeface="Arial" charset="0"/>
              <a:buChar char="▪"/>
              <a:defRPr sz="1071" baseline="0"/>
            </a:lvl2pPr>
            <a:lvl3pPr marL="349849" lvl="2" indent="-200435" defTabSz="685122">
              <a:buClr>
                <a:schemeClr val="tx2"/>
              </a:buClr>
              <a:buSzPct val="120000"/>
              <a:buFont typeface="Arial" charset="0"/>
              <a:buChar char="–"/>
              <a:defRPr sz="1071" baseline="0"/>
            </a:lvl3pPr>
            <a:lvl4pPr marL="470111" lvl="3" indent="-119046" defTabSz="685122">
              <a:buClr>
                <a:schemeClr val="tx2"/>
              </a:buClr>
              <a:buSzPct val="120000"/>
              <a:buFont typeface="Arial" charset="0"/>
              <a:buChar char="▫"/>
              <a:defRPr sz="1071" baseline="0"/>
            </a:lvl4pPr>
            <a:lvl5pPr marL="573753" lvl="4" indent="-99610" defTabSz="685122">
              <a:buClr>
                <a:schemeClr val="tx2"/>
              </a:buClr>
              <a:buSzPct val="89000"/>
              <a:buFont typeface="Arial" charset="0"/>
              <a:buChar char="-"/>
              <a:defRPr sz="1071" baseline="0"/>
            </a:lvl5pPr>
            <a:lvl6pPr marL="573753" indent="-99610" defTabSz="685122" fontAlgn="base">
              <a:spcBef>
                <a:spcPct val="0"/>
              </a:spcBef>
              <a:spcAft>
                <a:spcPct val="0"/>
              </a:spcAft>
              <a:buClr>
                <a:schemeClr val="tx2"/>
              </a:buClr>
              <a:buSzPct val="89000"/>
              <a:buFont typeface="Arial" charset="0"/>
              <a:buChar char="-"/>
              <a:defRPr sz="1224" baseline="0"/>
            </a:lvl6pPr>
            <a:lvl7pPr marL="573753" indent="-99610" defTabSz="685122" fontAlgn="base">
              <a:spcBef>
                <a:spcPct val="0"/>
              </a:spcBef>
              <a:spcAft>
                <a:spcPct val="0"/>
              </a:spcAft>
              <a:buClr>
                <a:schemeClr val="tx2"/>
              </a:buClr>
              <a:buSzPct val="89000"/>
              <a:buFont typeface="Arial" charset="0"/>
              <a:buChar char="-"/>
              <a:defRPr sz="1224" baseline="0"/>
            </a:lvl7pPr>
            <a:lvl8pPr marL="573753" indent="-99610" defTabSz="685122" fontAlgn="base">
              <a:spcBef>
                <a:spcPct val="0"/>
              </a:spcBef>
              <a:spcAft>
                <a:spcPct val="0"/>
              </a:spcAft>
              <a:buClr>
                <a:schemeClr val="tx2"/>
              </a:buClr>
              <a:buSzPct val="89000"/>
              <a:buFont typeface="Arial" charset="0"/>
              <a:buChar char="-"/>
              <a:defRPr sz="1224" baseline="0"/>
            </a:lvl8pPr>
            <a:lvl9pPr marL="573753" indent="-99610" defTabSz="685122" fontAlgn="base">
              <a:spcBef>
                <a:spcPct val="0"/>
              </a:spcBef>
              <a:spcAft>
                <a:spcPct val="0"/>
              </a:spcAft>
              <a:buClr>
                <a:schemeClr val="tx2"/>
              </a:buClr>
              <a:buSzPct val="89000"/>
              <a:buFont typeface="Arial" charset="0"/>
              <a:buChar char="-"/>
              <a:defRPr sz="1224" baseline="0"/>
            </a:lvl9pPr>
          </a:lstStyle>
          <a:p>
            <a:pPr marL="116619"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0065BD"/>
              </a:solidFill>
              <a:effectLst/>
              <a:uLnTx/>
              <a:uFillTx/>
              <a:latin typeface="Arial"/>
              <a:ea typeface="+mn-ea"/>
              <a:cs typeface="+mn-cs"/>
            </a:endParaRPr>
          </a:p>
        </p:txBody>
      </p:sp>
      <p:sp>
        <p:nvSpPr>
          <p:cNvPr id="132" name="Tick2 6">
            <a:extLst>
              <a:ext uri="{FF2B5EF4-FFF2-40B4-BE49-F238E27FC236}">
                <a16:creationId xmlns:a16="http://schemas.microsoft.com/office/drawing/2014/main" id="{7AFA5FA6-5ADD-432F-B9AC-66BE96EFB960}"/>
              </a:ext>
            </a:extLst>
          </p:cNvPr>
          <p:cNvSpPr>
            <a:spLocks/>
          </p:cNvSpPr>
          <p:nvPr>
            <p:custDataLst>
              <p:tags r:id="rId35"/>
            </p:custDataLst>
          </p:nvPr>
        </p:nvSpPr>
        <p:spPr>
          <a:xfrm>
            <a:off x="7751047" y="3265256"/>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714" b="0" i="0" u="none" strike="noStrike" kern="1200" cap="none" spc="0" normalizeH="0" baseline="0" noProof="0" dirty="0">
              <a:ln>
                <a:noFill/>
              </a:ln>
              <a:solidFill>
                <a:srgbClr val="000000"/>
              </a:solidFill>
              <a:effectLst/>
              <a:uLnTx/>
              <a:uFillTx/>
              <a:latin typeface="Arial"/>
              <a:ea typeface="+mn-ea"/>
              <a:cs typeface="+mn-cs"/>
            </a:endParaRPr>
          </a:p>
        </p:txBody>
      </p:sp>
      <p:pic>
        <p:nvPicPr>
          <p:cNvPr id="183" name="CustomIcon">
            <a:extLst>
              <a:ext uri="{FF2B5EF4-FFF2-40B4-BE49-F238E27FC236}">
                <a16:creationId xmlns:a16="http://schemas.microsoft.com/office/drawing/2014/main" id="{F1132DC4-DBFE-4ADC-8E7C-07B6C4D41A0C}"/>
              </a:ext>
            </a:extLst>
          </p:cNvPr>
          <p:cNvPicPr>
            <a:picLocks/>
          </p:cNvPicPr>
          <p:nvPr>
            <p:custDataLst>
              <p:tags r:id="rId36"/>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708420" y="4252140"/>
            <a:ext cx="219819" cy="219818"/>
          </a:xfrm>
          <a:prstGeom prst="rect">
            <a:avLst/>
          </a:prstGeom>
        </p:spPr>
      </p:pic>
      <p:pic>
        <p:nvPicPr>
          <p:cNvPr id="186" name="CustomIcon">
            <a:extLst>
              <a:ext uri="{FF2B5EF4-FFF2-40B4-BE49-F238E27FC236}">
                <a16:creationId xmlns:a16="http://schemas.microsoft.com/office/drawing/2014/main" id="{F1132DC4-DBFE-4ADC-8E7C-07B6C4D41A0C}"/>
              </a:ext>
            </a:extLst>
          </p:cNvPr>
          <p:cNvPicPr>
            <a:picLocks/>
          </p:cNvPicPr>
          <p:nvPr>
            <p:custDataLst>
              <p:tags r:id="rId37"/>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715751" y="4737617"/>
            <a:ext cx="219819" cy="219818"/>
          </a:xfrm>
          <a:prstGeom prst="rect">
            <a:avLst/>
          </a:prstGeom>
        </p:spPr>
      </p:pic>
      <p:pic>
        <p:nvPicPr>
          <p:cNvPr id="188" name="CustomIcon">
            <a:extLst>
              <a:ext uri="{FF2B5EF4-FFF2-40B4-BE49-F238E27FC236}">
                <a16:creationId xmlns:a16="http://schemas.microsoft.com/office/drawing/2014/main" id="{F1132DC4-DBFE-4ADC-8E7C-07B6C4D41A0C}"/>
              </a:ext>
            </a:extLst>
          </p:cNvPr>
          <p:cNvPicPr>
            <a:picLocks/>
          </p:cNvPicPr>
          <p:nvPr>
            <p:custDataLst>
              <p:tags r:id="rId38"/>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733542" y="5225386"/>
            <a:ext cx="219819" cy="219818"/>
          </a:xfrm>
          <a:prstGeom prst="rect">
            <a:avLst/>
          </a:prstGeom>
        </p:spPr>
      </p:pic>
      <p:pic>
        <p:nvPicPr>
          <p:cNvPr id="187" name="CustomIcon">
            <a:extLst>
              <a:ext uri="{FF2B5EF4-FFF2-40B4-BE49-F238E27FC236}">
                <a16:creationId xmlns:a16="http://schemas.microsoft.com/office/drawing/2014/main" id="{F1132DC4-DBFE-4ADC-8E7C-07B6C4D41A0C}"/>
              </a:ext>
            </a:extLst>
          </p:cNvPr>
          <p:cNvPicPr>
            <a:picLocks/>
          </p:cNvPicPr>
          <p:nvPr>
            <p:custDataLst>
              <p:tags r:id="rId39"/>
            </p:custDataLst>
          </p:nvPr>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flipH="1">
            <a:off x="7296789" y="3791449"/>
            <a:ext cx="219819" cy="219818"/>
          </a:xfrm>
          <a:prstGeom prst="rect">
            <a:avLst/>
          </a:prstGeom>
        </p:spPr>
      </p:pic>
      <p:pic>
        <p:nvPicPr>
          <p:cNvPr id="189" name="CustomIcon">
            <a:extLst>
              <a:ext uri="{FF2B5EF4-FFF2-40B4-BE49-F238E27FC236}">
                <a16:creationId xmlns:a16="http://schemas.microsoft.com/office/drawing/2014/main" id="{C28E2A77-E2E8-4227-BC17-3A9D271F746E}"/>
              </a:ext>
            </a:extLst>
          </p:cNvPr>
          <p:cNvPicPr>
            <a:picLocks/>
          </p:cNvPicPr>
          <p:nvPr>
            <p:custDataLst>
              <p:tags r:id="rId40"/>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296789" y="5643629"/>
            <a:ext cx="219819" cy="219818"/>
          </a:xfrm>
          <a:prstGeom prst="rect">
            <a:avLst/>
          </a:prstGeom>
        </p:spPr>
      </p:pic>
      <p:pic>
        <p:nvPicPr>
          <p:cNvPr id="197" name="CustomIcon">
            <a:extLst>
              <a:ext uri="{FF2B5EF4-FFF2-40B4-BE49-F238E27FC236}">
                <a16:creationId xmlns:a16="http://schemas.microsoft.com/office/drawing/2014/main" id="{C28E2A77-E2E8-4227-BC17-3A9D271F746E}"/>
              </a:ext>
            </a:extLst>
          </p:cNvPr>
          <p:cNvPicPr>
            <a:picLocks/>
          </p:cNvPicPr>
          <p:nvPr>
            <p:custDataLst>
              <p:tags r:id="rId41"/>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296789" y="6350467"/>
            <a:ext cx="219819" cy="219818"/>
          </a:xfrm>
          <a:prstGeom prst="rect">
            <a:avLst/>
          </a:prstGeom>
        </p:spPr>
      </p:pic>
      <p:pic>
        <p:nvPicPr>
          <p:cNvPr id="198" name="CustomIcon">
            <a:extLst>
              <a:ext uri="{FF2B5EF4-FFF2-40B4-BE49-F238E27FC236}">
                <a16:creationId xmlns:a16="http://schemas.microsoft.com/office/drawing/2014/main" id="{C28E2A77-E2E8-4227-BC17-3A9D271F746E}"/>
              </a:ext>
            </a:extLst>
          </p:cNvPr>
          <p:cNvPicPr>
            <a:picLocks/>
          </p:cNvPicPr>
          <p:nvPr>
            <p:custDataLst>
              <p:tags r:id="rId42"/>
            </p:custDataLst>
          </p:nvPr>
        </p:nvPicPr>
        <p:blipFill>
          <a:blip r:embed="rId62" cstate="print">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7296789" y="5958431"/>
            <a:ext cx="219819" cy="219818"/>
          </a:xfrm>
          <a:prstGeom prst="rect">
            <a:avLst/>
          </a:prstGeom>
        </p:spPr>
      </p:pic>
      <p:pic>
        <p:nvPicPr>
          <p:cNvPr id="190" name="CustomIcon">
            <a:extLst>
              <a:ext uri="{FF2B5EF4-FFF2-40B4-BE49-F238E27FC236}">
                <a16:creationId xmlns:a16="http://schemas.microsoft.com/office/drawing/2014/main" id="{53166D7E-3E83-6941-85B1-180D74C11C0C}"/>
              </a:ext>
            </a:extLst>
          </p:cNvPr>
          <p:cNvPicPr>
            <a:picLocks noChangeAspect="1"/>
          </p:cNvPicPr>
          <p:nvPr>
            <p:custDataLst>
              <p:tags r:id="rId43"/>
            </p:custDataLst>
          </p:nvPr>
        </p:nvPicPr>
        <p:blipFill>
          <a:blip r:embed="rId64" cstate="print">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flipH="1">
            <a:off x="9410516" y="478045"/>
            <a:ext cx="219819" cy="219818"/>
          </a:xfrm>
          <a:prstGeom prst="rect">
            <a:avLst/>
          </a:prstGeom>
        </p:spPr>
      </p:pic>
      <p:pic>
        <p:nvPicPr>
          <p:cNvPr id="164" name="Рисунок 163" descr="Изображение выглядит как объект, часы, поезд&#10;&#10;Автоматически созданное описание">
            <a:extLst>
              <a:ext uri="{FF2B5EF4-FFF2-40B4-BE49-F238E27FC236}">
                <a16:creationId xmlns:a16="http://schemas.microsoft.com/office/drawing/2014/main" id="{7D5DD4B3-557A-B74F-B3C4-E17D23A25CE1}"/>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rot="19806741">
            <a:off x="9892883" y="5262385"/>
            <a:ext cx="1996948" cy="676691"/>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2016062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C11BE2EB-250F-2042-B06E-209220530E51}"/>
              </a:ext>
            </a:extLst>
          </p:cNvPr>
          <p:cNvSpPr>
            <a:spLocks noGrp="1"/>
          </p:cNvSpPr>
          <p:nvPr>
            <p:ph type="title"/>
          </p:nvPr>
        </p:nvSpPr>
        <p:spPr>
          <a:xfrm>
            <a:off x="307131" y="116830"/>
            <a:ext cx="10515600" cy="1325563"/>
          </a:xfrm>
        </p:spPr>
        <p:txBody>
          <a:bodyPr/>
          <a:lstStyle/>
          <a:p>
            <a:r>
              <a:rPr lang="en-US" sz="3600" dirty="0">
                <a:latin typeface="Arial" panose="020B0604020202020204" pitchFamily="34" charset="0"/>
                <a:cs typeface="Arial" panose="020B0604020202020204" pitchFamily="34" charset="0"/>
              </a:rPr>
              <a:t>Change Management Governance</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Transformation Office</a:t>
            </a:r>
            <a:endParaRPr lang="ru-AZ" dirty="0">
              <a:latin typeface="Arial" panose="020B0604020202020204" pitchFamily="34" charset="0"/>
              <a:cs typeface="Arial" panose="020B0604020202020204" pitchFamily="34" charset="0"/>
            </a:endParaRPr>
          </a:p>
        </p:txBody>
      </p:sp>
      <p:graphicFrame>
        <p:nvGraphicFramePr>
          <p:cNvPr id="6" name="Схема 5">
            <a:extLst>
              <a:ext uri="{FF2B5EF4-FFF2-40B4-BE49-F238E27FC236}">
                <a16:creationId xmlns:a16="http://schemas.microsoft.com/office/drawing/2014/main" id="{F0D83911-5046-EA4E-8CE3-3C64477253DA}"/>
              </a:ext>
            </a:extLst>
          </p:cNvPr>
          <p:cNvGraphicFramePr/>
          <p:nvPr/>
        </p:nvGraphicFramePr>
        <p:xfrm>
          <a:off x="688181" y="891906"/>
          <a:ext cx="10815637" cy="31923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TrackerNum 3">
            <a:extLst>
              <a:ext uri="{FF2B5EF4-FFF2-40B4-BE49-F238E27FC236}">
                <a16:creationId xmlns:a16="http://schemas.microsoft.com/office/drawing/2014/main" id="{8A9B4E64-DF00-174D-8A9B-8102F5F1F8BA}"/>
              </a:ext>
            </a:extLst>
          </p:cNvPr>
          <p:cNvSpPr>
            <a:spLocks/>
          </p:cNvSpPr>
          <p:nvPr/>
        </p:nvSpPr>
        <p:spPr>
          <a:xfrm>
            <a:off x="763866" y="1772813"/>
            <a:ext cx="216157" cy="216157"/>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A</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 name="TitleTrackerNum 3">
            <a:extLst>
              <a:ext uri="{FF2B5EF4-FFF2-40B4-BE49-F238E27FC236}">
                <a16:creationId xmlns:a16="http://schemas.microsoft.com/office/drawing/2014/main" id="{A6CF36E7-5D1A-874E-B7DC-E82F095D1B9F}"/>
              </a:ext>
            </a:extLst>
          </p:cNvPr>
          <p:cNvSpPr>
            <a:spLocks/>
          </p:cNvSpPr>
          <p:nvPr/>
        </p:nvSpPr>
        <p:spPr>
          <a:xfrm>
            <a:off x="4579809" y="1772814"/>
            <a:ext cx="216157" cy="216157"/>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B</a:t>
            </a:r>
          </a:p>
        </p:txBody>
      </p:sp>
      <p:sp>
        <p:nvSpPr>
          <p:cNvPr id="9" name="TitleTrackerNum 3">
            <a:extLst>
              <a:ext uri="{FF2B5EF4-FFF2-40B4-BE49-F238E27FC236}">
                <a16:creationId xmlns:a16="http://schemas.microsoft.com/office/drawing/2014/main" id="{4FEB098F-0D35-FA4D-89CF-B6BC5EEA4245}"/>
              </a:ext>
            </a:extLst>
          </p:cNvPr>
          <p:cNvSpPr>
            <a:spLocks/>
          </p:cNvSpPr>
          <p:nvPr/>
        </p:nvSpPr>
        <p:spPr>
          <a:xfrm>
            <a:off x="8373333" y="1752813"/>
            <a:ext cx="216157" cy="216157"/>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C</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itleTrackerNum 3">
            <a:extLst>
              <a:ext uri="{FF2B5EF4-FFF2-40B4-BE49-F238E27FC236}">
                <a16:creationId xmlns:a16="http://schemas.microsoft.com/office/drawing/2014/main" id="{6C280D36-740E-834E-8DDE-D71561D93978}"/>
              </a:ext>
            </a:extLst>
          </p:cNvPr>
          <p:cNvSpPr>
            <a:spLocks/>
          </p:cNvSpPr>
          <p:nvPr/>
        </p:nvSpPr>
        <p:spPr>
          <a:xfrm>
            <a:off x="769249" y="4165379"/>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A1</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B8CB75CE-63F9-9345-8779-9F9A980E8D57}"/>
              </a:ext>
            </a:extLst>
          </p:cNvPr>
          <p:cNvSpPr txBox="1"/>
          <p:nvPr/>
        </p:nvSpPr>
        <p:spPr>
          <a:xfrm>
            <a:off x="1093249" y="4150825"/>
            <a:ext cx="1768433"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Design templates</a:t>
            </a:r>
            <a:endParaRPr lang="ru-AZ" sz="1600" dirty="0">
              <a:latin typeface="Arial" panose="020B0604020202020204" pitchFamily="34" charset="0"/>
              <a:cs typeface="Arial" panose="020B0604020202020204" pitchFamily="34" charset="0"/>
            </a:endParaRPr>
          </a:p>
        </p:txBody>
      </p:sp>
      <p:sp>
        <p:nvSpPr>
          <p:cNvPr id="12" name="TitleTrackerNum 3">
            <a:extLst>
              <a:ext uri="{FF2B5EF4-FFF2-40B4-BE49-F238E27FC236}">
                <a16:creationId xmlns:a16="http://schemas.microsoft.com/office/drawing/2014/main" id="{5E9B06D7-3783-324D-A238-C8396054B2CD}"/>
              </a:ext>
            </a:extLst>
          </p:cNvPr>
          <p:cNvSpPr>
            <a:spLocks/>
          </p:cNvSpPr>
          <p:nvPr/>
        </p:nvSpPr>
        <p:spPr>
          <a:xfrm>
            <a:off x="769249" y="4697998"/>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A2</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CB3DD20E-5570-6045-9E7D-61DE7B21BAE1}"/>
              </a:ext>
            </a:extLst>
          </p:cNvPr>
          <p:cNvSpPr txBox="1"/>
          <p:nvPr/>
        </p:nvSpPr>
        <p:spPr>
          <a:xfrm>
            <a:off x="1093249" y="4586455"/>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lignment of templates within TO</a:t>
            </a:r>
            <a:endParaRPr lang="ru-AZ" sz="1600" dirty="0">
              <a:latin typeface="Arial" panose="020B0604020202020204" pitchFamily="34" charset="0"/>
              <a:cs typeface="Arial" panose="020B0604020202020204" pitchFamily="34" charset="0"/>
            </a:endParaRPr>
          </a:p>
        </p:txBody>
      </p:sp>
      <p:sp>
        <p:nvSpPr>
          <p:cNvPr id="14" name="TitleTrackerNum 3">
            <a:extLst>
              <a:ext uri="{FF2B5EF4-FFF2-40B4-BE49-F238E27FC236}">
                <a16:creationId xmlns:a16="http://schemas.microsoft.com/office/drawing/2014/main" id="{0E5D02FE-88DC-9E4C-AEB9-7D402FE707AE}"/>
              </a:ext>
            </a:extLst>
          </p:cNvPr>
          <p:cNvSpPr>
            <a:spLocks/>
          </p:cNvSpPr>
          <p:nvPr/>
        </p:nvSpPr>
        <p:spPr>
          <a:xfrm>
            <a:off x="763866" y="5282773"/>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A3</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E7877617-4AF3-E940-8EB9-587ED49FD34E}"/>
              </a:ext>
            </a:extLst>
          </p:cNvPr>
          <p:cNvSpPr txBox="1"/>
          <p:nvPr/>
        </p:nvSpPr>
        <p:spPr>
          <a:xfrm>
            <a:off x="1091789" y="5169083"/>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lignment of templates within ExCom</a:t>
            </a:r>
            <a:endParaRPr lang="ru-AZ" sz="1600" dirty="0">
              <a:latin typeface="Arial" panose="020B0604020202020204" pitchFamily="34" charset="0"/>
              <a:cs typeface="Arial" panose="020B0604020202020204" pitchFamily="34" charset="0"/>
            </a:endParaRPr>
          </a:p>
        </p:txBody>
      </p:sp>
      <p:sp>
        <p:nvSpPr>
          <p:cNvPr id="24" name="TitleTrackerNum 3">
            <a:extLst>
              <a:ext uri="{FF2B5EF4-FFF2-40B4-BE49-F238E27FC236}">
                <a16:creationId xmlns:a16="http://schemas.microsoft.com/office/drawing/2014/main" id="{216C6FB5-CCA7-6F41-8495-C07445DB2E4A}"/>
              </a:ext>
            </a:extLst>
          </p:cNvPr>
          <p:cNvSpPr>
            <a:spLocks/>
          </p:cNvSpPr>
          <p:nvPr/>
        </p:nvSpPr>
        <p:spPr>
          <a:xfrm>
            <a:off x="4605416" y="4163560"/>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B1</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A6B51543-66C7-6447-865B-CA4D2F470A80}"/>
              </a:ext>
            </a:extLst>
          </p:cNvPr>
          <p:cNvSpPr txBox="1"/>
          <p:nvPr/>
        </p:nvSpPr>
        <p:spPr>
          <a:xfrm>
            <a:off x="4930876" y="4059373"/>
            <a:ext cx="2738250" cy="584775"/>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Data Collection from Project</a:t>
            </a:r>
          </a:p>
          <a:p>
            <a:r>
              <a:rPr lang="en-US" sz="1600" dirty="0">
                <a:latin typeface="Arial" panose="020B0604020202020204" pitchFamily="34" charset="0"/>
                <a:cs typeface="Arial" panose="020B0604020202020204" pitchFamily="34" charset="0"/>
              </a:rPr>
              <a:t>Owners</a:t>
            </a:r>
            <a:endParaRPr lang="ru-AZ" sz="1600" dirty="0">
              <a:latin typeface="Arial" panose="020B0604020202020204" pitchFamily="34" charset="0"/>
              <a:cs typeface="Arial" panose="020B0604020202020204" pitchFamily="34" charset="0"/>
            </a:endParaRPr>
          </a:p>
        </p:txBody>
      </p:sp>
      <p:sp>
        <p:nvSpPr>
          <p:cNvPr id="26" name="TitleTrackerNum 3">
            <a:extLst>
              <a:ext uri="{FF2B5EF4-FFF2-40B4-BE49-F238E27FC236}">
                <a16:creationId xmlns:a16="http://schemas.microsoft.com/office/drawing/2014/main" id="{B142B797-5867-1545-A27B-5BD9C30E1799}"/>
              </a:ext>
            </a:extLst>
          </p:cNvPr>
          <p:cNvSpPr>
            <a:spLocks/>
          </p:cNvSpPr>
          <p:nvPr/>
        </p:nvSpPr>
        <p:spPr>
          <a:xfrm>
            <a:off x="4605416" y="4696179"/>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B2</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94ADDA24-8B61-9F47-A90C-D714313AA01F}"/>
              </a:ext>
            </a:extLst>
          </p:cNvPr>
          <p:cNvSpPr txBox="1"/>
          <p:nvPr/>
        </p:nvSpPr>
        <p:spPr>
          <a:xfrm>
            <a:off x="4929416" y="4641081"/>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ata Verification &amp; Development of Charters </a:t>
            </a:r>
            <a:endParaRPr lang="ru-AZ" sz="1600" dirty="0">
              <a:latin typeface="Arial" panose="020B0604020202020204" pitchFamily="34" charset="0"/>
              <a:cs typeface="Arial" panose="020B0604020202020204" pitchFamily="34" charset="0"/>
            </a:endParaRPr>
          </a:p>
        </p:txBody>
      </p:sp>
      <p:sp>
        <p:nvSpPr>
          <p:cNvPr id="28" name="TitleTrackerNum 3">
            <a:extLst>
              <a:ext uri="{FF2B5EF4-FFF2-40B4-BE49-F238E27FC236}">
                <a16:creationId xmlns:a16="http://schemas.microsoft.com/office/drawing/2014/main" id="{2C97BEB4-C2CB-6140-936E-F8F699F88FB6}"/>
              </a:ext>
            </a:extLst>
          </p:cNvPr>
          <p:cNvSpPr>
            <a:spLocks/>
          </p:cNvSpPr>
          <p:nvPr/>
        </p:nvSpPr>
        <p:spPr>
          <a:xfrm>
            <a:off x="4605416" y="5339546"/>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B3</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685FFF1A-F3DB-1646-A4C8-ECF66B8DE7D6}"/>
              </a:ext>
            </a:extLst>
          </p:cNvPr>
          <p:cNvSpPr txBox="1"/>
          <p:nvPr/>
        </p:nvSpPr>
        <p:spPr>
          <a:xfrm>
            <a:off x="4929416" y="5302414"/>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tart Capability Development Trainings</a:t>
            </a:r>
            <a:endParaRPr lang="ru-AZ" sz="1600" dirty="0">
              <a:latin typeface="Arial" panose="020B0604020202020204" pitchFamily="34" charset="0"/>
              <a:cs typeface="Arial" panose="020B0604020202020204" pitchFamily="34" charset="0"/>
            </a:endParaRPr>
          </a:p>
        </p:txBody>
      </p:sp>
      <p:sp>
        <p:nvSpPr>
          <p:cNvPr id="30" name="TitleTrackerNum 3">
            <a:extLst>
              <a:ext uri="{FF2B5EF4-FFF2-40B4-BE49-F238E27FC236}">
                <a16:creationId xmlns:a16="http://schemas.microsoft.com/office/drawing/2014/main" id="{939A89E2-54D4-234B-A6B8-C88FF8EAE525}"/>
              </a:ext>
            </a:extLst>
          </p:cNvPr>
          <p:cNvSpPr>
            <a:spLocks/>
          </p:cNvSpPr>
          <p:nvPr/>
        </p:nvSpPr>
        <p:spPr>
          <a:xfrm>
            <a:off x="8187557" y="4133103"/>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C1</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9485DD9A-F37B-3747-B0B4-7C7DE869977D}"/>
              </a:ext>
            </a:extLst>
          </p:cNvPr>
          <p:cNvSpPr txBox="1"/>
          <p:nvPr/>
        </p:nvSpPr>
        <p:spPr>
          <a:xfrm>
            <a:off x="8511557" y="4122934"/>
            <a:ext cx="2381549"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PM Tool Implementation</a:t>
            </a:r>
            <a:endParaRPr lang="ru-AZ" sz="1600" dirty="0">
              <a:latin typeface="Arial" panose="020B0604020202020204" pitchFamily="34" charset="0"/>
              <a:cs typeface="Arial" panose="020B0604020202020204" pitchFamily="34" charset="0"/>
            </a:endParaRPr>
          </a:p>
        </p:txBody>
      </p:sp>
      <p:sp>
        <p:nvSpPr>
          <p:cNvPr id="32" name="TitleTrackerNum 3">
            <a:extLst>
              <a:ext uri="{FF2B5EF4-FFF2-40B4-BE49-F238E27FC236}">
                <a16:creationId xmlns:a16="http://schemas.microsoft.com/office/drawing/2014/main" id="{B682A63A-A906-CC48-A4E6-831069007117}"/>
              </a:ext>
            </a:extLst>
          </p:cNvPr>
          <p:cNvSpPr>
            <a:spLocks/>
          </p:cNvSpPr>
          <p:nvPr/>
        </p:nvSpPr>
        <p:spPr>
          <a:xfrm>
            <a:off x="8187557" y="4665722"/>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C2</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TextBox 32">
            <a:extLst>
              <a:ext uri="{FF2B5EF4-FFF2-40B4-BE49-F238E27FC236}">
                <a16:creationId xmlns:a16="http://schemas.microsoft.com/office/drawing/2014/main" id="{FCBA143E-0CEB-874E-B04D-BA4D025BAC2A}"/>
              </a:ext>
            </a:extLst>
          </p:cNvPr>
          <p:cNvSpPr txBox="1"/>
          <p:nvPr/>
        </p:nvSpPr>
        <p:spPr>
          <a:xfrm>
            <a:off x="8511557" y="4610624"/>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riving whole projects portfolio</a:t>
            </a:r>
            <a:endParaRPr lang="ru-AZ" sz="1600" dirty="0">
              <a:latin typeface="Arial" panose="020B0604020202020204" pitchFamily="34" charset="0"/>
              <a:cs typeface="Arial" panose="020B0604020202020204" pitchFamily="34" charset="0"/>
            </a:endParaRPr>
          </a:p>
        </p:txBody>
      </p:sp>
      <p:sp>
        <p:nvSpPr>
          <p:cNvPr id="34" name="TitleTrackerNum 3">
            <a:extLst>
              <a:ext uri="{FF2B5EF4-FFF2-40B4-BE49-F238E27FC236}">
                <a16:creationId xmlns:a16="http://schemas.microsoft.com/office/drawing/2014/main" id="{8D2187A8-A495-BB49-A587-220BE9B233F8}"/>
              </a:ext>
            </a:extLst>
          </p:cNvPr>
          <p:cNvSpPr>
            <a:spLocks/>
          </p:cNvSpPr>
          <p:nvPr/>
        </p:nvSpPr>
        <p:spPr>
          <a:xfrm>
            <a:off x="8187557" y="5309089"/>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C3</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040BAC73-14A3-1E46-8E88-89E00B5DAF24}"/>
              </a:ext>
            </a:extLst>
          </p:cNvPr>
          <p:cNvSpPr txBox="1"/>
          <p:nvPr/>
        </p:nvSpPr>
        <p:spPr>
          <a:xfrm>
            <a:off x="8511557" y="5271957"/>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Finalize Capability Development Trainings</a:t>
            </a:r>
            <a:endParaRPr lang="ru-AZ" sz="1600" dirty="0">
              <a:latin typeface="Arial" panose="020B0604020202020204" pitchFamily="34" charset="0"/>
              <a:cs typeface="Arial" panose="020B0604020202020204" pitchFamily="34" charset="0"/>
            </a:endParaRPr>
          </a:p>
        </p:txBody>
      </p:sp>
      <p:sp>
        <p:nvSpPr>
          <p:cNvPr id="36" name="TitleTrackerNum 3">
            <a:extLst>
              <a:ext uri="{FF2B5EF4-FFF2-40B4-BE49-F238E27FC236}">
                <a16:creationId xmlns:a16="http://schemas.microsoft.com/office/drawing/2014/main" id="{27AD3255-CF68-ED4B-9642-015DD779762F}"/>
              </a:ext>
            </a:extLst>
          </p:cNvPr>
          <p:cNvSpPr>
            <a:spLocks/>
          </p:cNvSpPr>
          <p:nvPr/>
        </p:nvSpPr>
        <p:spPr>
          <a:xfrm>
            <a:off x="4605416" y="6020045"/>
            <a:ext cx="324000" cy="324000"/>
          </a:xfrm>
          <a:prstGeom prst="ellipse">
            <a:avLst/>
          </a:prstGeom>
          <a:solidFill>
            <a:srgbClr val="FF4300"/>
          </a:solidFill>
          <a:ln w="952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marL="0" marR="0" lvl="0" indent="0" algn="ctr" defTabSz="1219146" rtl="0" eaLnBrk="1" fontAlgn="base" latinLnBrk="0" hangingPunct="1">
              <a:lnSpc>
                <a:spcPct val="100000"/>
              </a:lnSpc>
              <a:spcBef>
                <a:spcPct val="0"/>
              </a:spcBef>
              <a:spcAft>
                <a:spcPct val="0"/>
              </a:spcAft>
              <a:buClr>
                <a:srgbClr val="FFFFFF"/>
              </a:buClr>
              <a:buSzTx/>
              <a:buFontTx/>
              <a:buNone/>
              <a:tabLst/>
              <a:defRPr/>
            </a:pPr>
            <a:r>
              <a:rPr lang="en-US" sz="1000" b="1" dirty="0">
                <a:solidFill>
                  <a:srgbClr val="FFFFFF"/>
                </a:solidFill>
                <a:latin typeface="Arial"/>
              </a:rPr>
              <a:t>B3</a:t>
            </a: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FB314482-7551-8049-9823-C301F25F9A18}"/>
              </a:ext>
            </a:extLst>
          </p:cNvPr>
          <p:cNvSpPr txBox="1"/>
          <p:nvPr/>
        </p:nvSpPr>
        <p:spPr>
          <a:xfrm>
            <a:off x="4929416" y="5982913"/>
            <a:ext cx="292081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riving </a:t>
            </a:r>
            <a:r>
              <a:rPr lang="en-US" sz="1600" u="sng" dirty="0">
                <a:latin typeface="Arial" panose="020B0604020202020204" pitchFamily="34" charset="0"/>
                <a:cs typeface="Arial" panose="020B0604020202020204" pitchFamily="34" charset="0"/>
              </a:rPr>
              <a:t>new projects portfolio</a:t>
            </a:r>
            <a:r>
              <a:rPr lang="en-US" sz="1600" dirty="0">
                <a:latin typeface="Arial" panose="020B0604020202020204" pitchFamily="34" charset="0"/>
                <a:cs typeface="Arial" panose="020B0604020202020204" pitchFamily="34" charset="0"/>
              </a:rPr>
              <a:t>, support </a:t>
            </a:r>
            <a:r>
              <a:rPr lang="en-US" sz="1600" u="sng" dirty="0">
                <a:latin typeface="Arial" panose="020B0604020202020204" pitchFamily="34" charset="0"/>
                <a:cs typeface="Arial" panose="020B0604020202020204" pitchFamily="34" charset="0"/>
              </a:rPr>
              <a:t>old project portfolio</a:t>
            </a:r>
            <a:endParaRPr lang="ru-AZ" sz="1600"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1953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Old Projects Portfolio (1/2)</a:t>
            </a:r>
            <a:endParaRPr lang="x-none"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183038" y="1487584"/>
            <a:ext cx="1693775" cy="152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183038" y="1290780"/>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49856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lang="en-US" sz="1000" b="1" dirty="0">
                <a:solidFill>
                  <a:srgbClr val="FF4300"/>
                </a:solidFill>
                <a:latin typeface="Arial" panose="020B0604020202020204" pitchFamily="34" charset="0"/>
                <a:cs typeface="Arial" panose="020B0604020202020204" pitchFamily="34" charset="0"/>
              </a:rPr>
              <a:t>Delivery</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Date</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255289"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268708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cxnSp>
        <p:nvCxnSpPr>
          <p:cNvPr id="135" name="Straight Connector 297">
            <a:extLst>
              <a:ext uri="{FF2B5EF4-FFF2-40B4-BE49-F238E27FC236}">
                <a16:creationId xmlns:a16="http://schemas.microsoft.com/office/drawing/2014/main" id="{DC948F62-FE2B-FA4E-AE07-ED4C2A7103FF}"/>
              </a:ext>
            </a:extLst>
          </p:cNvPr>
          <p:cNvCxnSpPr>
            <a:cxnSpLocks/>
          </p:cNvCxnSpPr>
          <p:nvPr/>
        </p:nvCxnSpPr>
        <p:spPr>
          <a:xfrm>
            <a:off x="368345" y="3788290"/>
            <a:ext cx="11489680" cy="0"/>
          </a:xfrm>
          <a:prstGeom prst="line">
            <a:avLst/>
          </a:prstGeom>
          <a:noFill/>
          <a:ln w="9525" cap="flat" cmpd="sng" algn="ctr">
            <a:solidFill>
              <a:srgbClr val="808080"/>
            </a:solidFill>
            <a:prstDash val="sysDot"/>
          </a:ln>
          <a:effectLst/>
        </p:spPr>
      </p:cxnSp>
      <p:cxnSp>
        <p:nvCxnSpPr>
          <p:cNvPr id="136" name="Straight Connector 297">
            <a:extLst>
              <a:ext uri="{FF2B5EF4-FFF2-40B4-BE49-F238E27FC236}">
                <a16:creationId xmlns:a16="http://schemas.microsoft.com/office/drawing/2014/main" id="{7E2A64D8-EB45-4241-8DB2-D793D895A405}"/>
              </a:ext>
            </a:extLst>
          </p:cNvPr>
          <p:cNvCxnSpPr>
            <a:cxnSpLocks/>
          </p:cNvCxnSpPr>
          <p:nvPr/>
        </p:nvCxnSpPr>
        <p:spPr>
          <a:xfrm>
            <a:off x="388467" y="4371385"/>
            <a:ext cx="11489680" cy="0"/>
          </a:xfrm>
          <a:prstGeom prst="line">
            <a:avLst/>
          </a:prstGeom>
          <a:noFill/>
          <a:ln w="9525" cap="flat" cmpd="sng" algn="ctr">
            <a:solidFill>
              <a:srgbClr val="808080"/>
            </a:solidFill>
            <a:prstDash val="sysDot"/>
          </a:ln>
          <a:effectLst/>
        </p:spPr>
      </p:cxnSp>
      <p:cxnSp>
        <p:nvCxnSpPr>
          <p:cNvPr id="137" name="Straight Connector 297">
            <a:extLst>
              <a:ext uri="{FF2B5EF4-FFF2-40B4-BE49-F238E27FC236}">
                <a16:creationId xmlns:a16="http://schemas.microsoft.com/office/drawing/2014/main" id="{D61E2D48-4124-3744-A292-44036336F06B}"/>
              </a:ext>
            </a:extLst>
          </p:cNvPr>
          <p:cNvCxnSpPr>
            <a:cxnSpLocks/>
          </p:cNvCxnSpPr>
          <p:nvPr/>
        </p:nvCxnSpPr>
        <p:spPr>
          <a:xfrm>
            <a:off x="368345" y="4980985"/>
            <a:ext cx="11489680" cy="0"/>
          </a:xfrm>
          <a:prstGeom prst="line">
            <a:avLst/>
          </a:prstGeom>
          <a:noFill/>
          <a:ln w="9525" cap="flat" cmpd="sng" algn="ctr">
            <a:solidFill>
              <a:srgbClr val="808080"/>
            </a:solidFill>
            <a:prstDash val="sysDot"/>
          </a:ln>
          <a:effectLst/>
        </p:spPr>
      </p:cxnSp>
      <p:cxnSp>
        <p:nvCxnSpPr>
          <p:cNvPr id="138" name="Straight Connector 297">
            <a:extLst>
              <a:ext uri="{FF2B5EF4-FFF2-40B4-BE49-F238E27FC236}">
                <a16:creationId xmlns:a16="http://schemas.microsoft.com/office/drawing/2014/main" id="{002FD416-2DB7-954B-AFFA-3275FBD28F08}"/>
              </a:ext>
            </a:extLst>
          </p:cNvPr>
          <p:cNvCxnSpPr>
            <a:cxnSpLocks/>
          </p:cNvCxnSpPr>
          <p:nvPr/>
        </p:nvCxnSpPr>
        <p:spPr>
          <a:xfrm>
            <a:off x="351160" y="5590585"/>
            <a:ext cx="11489680" cy="0"/>
          </a:xfrm>
          <a:prstGeom prst="line">
            <a:avLst/>
          </a:prstGeom>
          <a:noFill/>
          <a:ln w="9525" cap="flat" cmpd="sng" algn="ctr">
            <a:solidFill>
              <a:srgbClr val="808080"/>
            </a:solidFill>
            <a:prstDash val="sysDot"/>
          </a:ln>
          <a:effectLst/>
        </p:spPr>
      </p:cxnSp>
      <p:cxnSp>
        <p:nvCxnSpPr>
          <p:cNvPr id="139" name="Straight Connector 297">
            <a:extLst>
              <a:ext uri="{FF2B5EF4-FFF2-40B4-BE49-F238E27FC236}">
                <a16:creationId xmlns:a16="http://schemas.microsoft.com/office/drawing/2014/main" id="{5A8A02A8-1D0B-004D-B73F-884063B0C947}"/>
              </a:ext>
            </a:extLst>
          </p:cNvPr>
          <p:cNvCxnSpPr>
            <a:cxnSpLocks/>
          </p:cNvCxnSpPr>
          <p:nvPr/>
        </p:nvCxnSpPr>
        <p:spPr>
          <a:xfrm>
            <a:off x="351160" y="6200185"/>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Delay/Roadblock/ </a:t>
            </a:r>
          </a:p>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4"/>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5"/>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6"/>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7"/>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8"/>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9"/>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20"/>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21"/>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2"/>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3"/>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flipH="1">
            <a:off x="7829465" y="526118"/>
            <a:ext cx="219819" cy="219818"/>
          </a:xfrm>
          <a:prstGeom prst="rect">
            <a:avLst/>
          </a:prstGeom>
        </p:spPr>
      </p:pic>
      <p:sp>
        <p:nvSpPr>
          <p:cNvPr id="194" name="Овал 193">
            <a:extLst>
              <a:ext uri="{FF2B5EF4-FFF2-40B4-BE49-F238E27FC236}">
                <a16:creationId xmlns:a16="http://schemas.microsoft.com/office/drawing/2014/main" id="{B9D5A251-A028-894A-B773-26E187102071}"/>
              </a:ext>
            </a:extLst>
          </p:cNvPr>
          <p:cNvSpPr/>
          <p:nvPr/>
        </p:nvSpPr>
        <p:spPr>
          <a:xfrm flipH="1">
            <a:off x="8096066" y="2189779"/>
            <a:ext cx="239132" cy="239132"/>
          </a:xfrm>
          <a:prstGeom prst="ellipse">
            <a:avLst/>
          </a:prstGeom>
          <a:solidFill>
            <a:srgbClr val="FF0000"/>
          </a:solidFill>
          <a:ln>
            <a:noFill/>
          </a:ln>
        </p:spPr>
        <p:txBody>
          <a:bodyPr/>
          <a:lstStyle/>
          <a:p>
            <a:pPr defTabSz="932958"/>
            <a:endParaRPr lang="x-none" sz="714">
              <a:solidFill>
                <a:srgbClr val="000000"/>
              </a:solidFill>
              <a:latin typeface="Arial" panose="020B060402020202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B4273E6A-B8A4-8541-909A-33F998B9A462}"/>
              </a:ext>
            </a:extLst>
          </p:cNvPr>
          <p:cNvSpPr/>
          <p:nvPr/>
        </p:nvSpPr>
        <p:spPr>
          <a:xfrm flipH="1">
            <a:off x="8096066" y="2754324"/>
            <a:ext cx="239132" cy="239132"/>
          </a:xfrm>
          <a:prstGeom prst="ellipse">
            <a:avLst/>
          </a:prstGeom>
          <a:solidFill>
            <a:srgbClr val="FFC1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96" name="Овал 195">
            <a:extLst>
              <a:ext uri="{FF2B5EF4-FFF2-40B4-BE49-F238E27FC236}">
                <a16:creationId xmlns:a16="http://schemas.microsoft.com/office/drawing/2014/main" id="{C3C91B57-C80D-0E40-92F5-D783B3491597}"/>
              </a:ext>
            </a:extLst>
          </p:cNvPr>
          <p:cNvSpPr/>
          <p:nvPr/>
        </p:nvSpPr>
        <p:spPr>
          <a:xfrm flipH="1">
            <a:off x="8096066" y="3339131"/>
            <a:ext cx="239132" cy="23913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532356" y="145068"/>
            <a:ext cx="268467" cy="268467"/>
          </a:xfrm>
          <a:prstGeom prst="rect">
            <a:avLst/>
          </a:prstGeom>
        </p:spPr>
      </p:pic>
      <p:sp>
        <p:nvSpPr>
          <p:cNvPr id="4" name="Прямоугольник 3">
            <a:extLst>
              <a:ext uri="{FF2B5EF4-FFF2-40B4-BE49-F238E27FC236}">
                <a16:creationId xmlns:a16="http://schemas.microsoft.com/office/drawing/2014/main" id="{56730683-FB9E-3041-9A34-5BDFD60E331A}"/>
              </a:ext>
            </a:extLst>
          </p:cNvPr>
          <p:cNvSpPr/>
          <p:nvPr/>
        </p:nvSpPr>
        <p:spPr>
          <a:xfrm>
            <a:off x="265602" y="1624453"/>
            <a:ext cx="1531188" cy="276999"/>
          </a:xfrm>
          <a:prstGeom prst="rect">
            <a:avLst/>
          </a:prstGeom>
        </p:spPr>
        <p:txBody>
          <a:bodyPr wrap="none">
            <a:spAutoFit/>
          </a:bodyPr>
          <a:lstStyle/>
          <a:p>
            <a:r>
              <a:rPr lang="x-none" sz="1200" dirty="0">
                <a:latin typeface="Arial" panose="020B0604020202020204" pitchFamily="34" charset="0"/>
                <a:cs typeface="Arial" panose="020B0604020202020204" pitchFamily="34" charset="0"/>
              </a:rPr>
              <a:t>Mobile Banking 2.0 </a:t>
            </a:r>
          </a:p>
        </p:txBody>
      </p:sp>
      <p:sp>
        <p:nvSpPr>
          <p:cNvPr id="59" name="Прямоугольник 58">
            <a:extLst>
              <a:ext uri="{FF2B5EF4-FFF2-40B4-BE49-F238E27FC236}">
                <a16:creationId xmlns:a16="http://schemas.microsoft.com/office/drawing/2014/main" id="{A18E05C2-521A-5E48-9661-883737D6D1CF}"/>
              </a:ext>
            </a:extLst>
          </p:cNvPr>
          <p:cNvSpPr/>
          <p:nvPr/>
        </p:nvSpPr>
        <p:spPr>
          <a:xfrm>
            <a:off x="265602" y="2156007"/>
            <a:ext cx="2084481"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iron</a:t>
            </a:r>
            <a:r>
              <a:rPr lang="en-US" sz="1200" dirty="0">
                <a:latin typeface="Arial" panose="020B0604020202020204" pitchFamily="34" charset="0"/>
                <a:cs typeface="Arial" panose="020B0604020202020204" pitchFamily="34" charset="0"/>
              </a:rPr>
              <a:t> KYC / AML / Embargo</a:t>
            </a:r>
            <a:endParaRPr lang="x-none" sz="1200" dirty="0">
              <a:latin typeface="Arial" panose="020B0604020202020204" pitchFamily="34" charset="0"/>
              <a:cs typeface="Arial" panose="020B0604020202020204" pitchFamily="34" charset="0"/>
            </a:endParaRPr>
          </a:p>
        </p:txBody>
      </p:sp>
      <p:sp>
        <p:nvSpPr>
          <p:cNvPr id="60" name="Прямоугольник 59">
            <a:extLst>
              <a:ext uri="{FF2B5EF4-FFF2-40B4-BE49-F238E27FC236}">
                <a16:creationId xmlns:a16="http://schemas.microsoft.com/office/drawing/2014/main" id="{827D9CE0-70E7-7844-8EE3-FE6EA9050BCC}"/>
              </a:ext>
            </a:extLst>
          </p:cNvPr>
          <p:cNvSpPr/>
          <p:nvPr/>
        </p:nvSpPr>
        <p:spPr>
          <a:xfrm>
            <a:off x="265602" y="2728765"/>
            <a:ext cx="201048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Processing Center Project </a:t>
            </a:r>
            <a:endParaRPr lang="x-none" sz="1200" dirty="0">
              <a:latin typeface="Arial" panose="020B0604020202020204" pitchFamily="34" charset="0"/>
              <a:cs typeface="Arial" panose="020B0604020202020204" pitchFamily="34" charset="0"/>
            </a:endParaRPr>
          </a:p>
        </p:txBody>
      </p:sp>
      <p:sp>
        <p:nvSpPr>
          <p:cNvPr id="61" name="Прямоугольник 60">
            <a:extLst>
              <a:ext uri="{FF2B5EF4-FFF2-40B4-BE49-F238E27FC236}">
                <a16:creationId xmlns:a16="http://schemas.microsoft.com/office/drawing/2014/main" id="{265D3CEE-4427-ED4C-803A-BF61235AC72D}"/>
              </a:ext>
            </a:extLst>
          </p:cNvPr>
          <p:cNvSpPr/>
          <p:nvPr/>
        </p:nvSpPr>
        <p:spPr>
          <a:xfrm>
            <a:off x="265602" y="3339131"/>
            <a:ext cx="201048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BPM Development - Credit</a:t>
            </a:r>
            <a:endParaRPr lang="x-none" sz="1200" dirty="0">
              <a:latin typeface="Arial" panose="020B0604020202020204" pitchFamily="34" charset="0"/>
              <a:cs typeface="Arial" panose="020B0604020202020204" pitchFamily="34" charset="0"/>
            </a:endParaRPr>
          </a:p>
        </p:txBody>
      </p:sp>
      <p:sp>
        <p:nvSpPr>
          <p:cNvPr id="62" name="Прямоугольник 61">
            <a:extLst>
              <a:ext uri="{FF2B5EF4-FFF2-40B4-BE49-F238E27FC236}">
                <a16:creationId xmlns:a16="http://schemas.microsoft.com/office/drawing/2014/main" id="{0E35B0CA-FFA5-2E4D-95F2-74CA8404A25B}"/>
              </a:ext>
            </a:extLst>
          </p:cNvPr>
          <p:cNvSpPr/>
          <p:nvPr/>
        </p:nvSpPr>
        <p:spPr>
          <a:xfrm>
            <a:off x="265602" y="3858815"/>
            <a:ext cx="1928733"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nstant Payment Systems</a:t>
            </a:r>
          </a:p>
          <a:p>
            <a:r>
              <a:rPr lang="en-US" sz="1200" i="1" dirty="0">
                <a:latin typeface="Arial" panose="020B0604020202020204" pitchFamily="34" charset="0"/>
                <a:cs typeface="Arial" panose="020B0604020202020204" pitchFamily="34" charset="0"/>
              </a:rPr>
              <a:t>Phase 1</a:t>
            </a:r>
            <a:endParaRPr lang="x-none" sz="1200" i="1" dirty="0">
              <a:latin typeface="Arial" panose="020B0604020202020204" pitchFamily="34" charset="0"/>
              <a:cs typeface="Arial" panose="020B0604020202020204" pitchFamily="34" charset="0"/>
            </a:endParaRPr>
          </a:p>
        </p:txBody>
      </p:sp>
      <p:sp>
        <p:nvSpPr>
          <p:cNvPr id="63" name="Прямоугольник 62">
            <a:extLst>
              <a:ext uri="{FF2B5EF4-FFF2-40B4-BE49-F238E27FC236}">
                <a16:creationId xmlns:a16="http://schemas.microsoft.com/office/drawing/2014/main" id="{0265E021-2DA2-FB4D-8DB6-196570EC9E59}"/>
              </a:ext>
            </a:extLst>
          </p:cNvPr>
          <p:cNvSpPr/>
          <p:nvPr/>
        </p:nvSpPr>
        <p:spPr>
          <a:xfrm>
            <a:off x="265602" y="4548990"/>
            <a:ext cx="126989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NFC Payments </a:t>
            </a:r>
            <a:endParaRPr lang="x-none" sz="1200" dirty="0">
              <a:latin typeface="Arial" panose="020B0604020202020204" pitchFamily="34" charset="0"/>
              <a:cs typeface="Arial" panose="020B0604020202020204" pitchFamily="34" charset="0"/>
            </a:endParaRPr>
          </a:p>
        </p:txBody>
      </p:sp>
      <p:sp>
        <p:nvSpPr>
          <p:cNvPr id="64" name="Прямоугольник 63">
            <a:extLst>
              <a:ext uri="{FF2B5EF4-FFF2-40B4-BE49-F238E27FC236}">
                <a16:creationId xmlns:a16="http://schemas.microsoft.com/office/drawing/2014/main" id="{7EFBAF61-3163-944C-B4CB-A6884805C7E8}"/>
              </a:ext>
            </a:extLst>
          </p:cNvPr>
          <p:cNvSpPr/>
          <p:nvPr/>
        </p:nvSpPr>
        <p:spPr>
          <a:xfrm>
            <a:off x="280593" y="5137356"/>
            <a:ext cx="1923925"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Business Continuity Plan </a:t>
            </a:r>
            <a:endParaRPr lang="x-none" sz="1200" dirty="0">
              <a:latin typeface="Arial" panose="020B0604020202020204" pitchFamily="34" charset="0"/>
              <a:cs typeface="Arial" panose="020B0604020202020204" pitchFamily="34" charset="0"/>
            </a:endParaRPr>
          </a:p>
        </p:txBody>
      </p:sp>
      <p:sp>
        <p:nvSpPr>
          <p:cNvPr id="65" name="Прямоугольник 64">
            <a:extLst>
              <a:ext uri="{FF2B5EF4-FFF2-40B4-BE49-F238E27FC236}">
                <a16:creationId xmlns:a16="http://schemas.microsoft.com/office/drawing/2014/main" id="{C27C7132-4856-3A43-B5DE-8FE7FCFDFE7C}"/>
              </a:ext>
            </a:extLst>
          </p:cNvPr>
          <p:cNvSpPr/>
          <p:nvPr/>
        </p:nvSpPr>
        <p:spPr>
          <a:xfrm>
            <a:off x="265602" y="5745582"/>
            <a:ext cx="228299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Corporate Internet Banking 2.0</a:t>
            </a:r>
            <a:endParaRPr lang="x-none" sz="1200" dirty="0">
              <a:latin typeface="Arial" panose="020B0604020202020204" pitchFamily="34" charset="0"/>
              <a:cs typeface="Arial" panose="020B0604020202020204" pitchFamily="34" charset="0"/>
            </a:endParaRPr>
          </a:p>
        </p:txBody>
      </p:sp>
      <p:sp>
        <p:nvSpPr>
          <p:cNvPr id="66" name="Прямоугольник 65">
            <a:extLst>
              <a:ext uri="{FF2B5EF4-FFF2-40B4-BE49-F238E27FC236}">
                <a16:creationId xmlns:a16="http://schemas.microsoft.com/office/drawing/2014/main" id="{CB3FAD31-743A-AD42-A8A2-EF79BB0A47A1}"/>
              </a:ext>
            </a:extLst>
          </p:cNvPr>
          <p:cNvSpPr/>
          <p:nvPr/>
        </p:nvSpPr>
        <p:spPr>
          <a:xfrm>
            <a:off x="265602" y="6367374"/>
            <a:ext cx="1609287"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Online Bank Account</a:t>
            </a:r>
            <a:endParaRPr lang="x-none" sz="1200" dirty="0">
              <a:latin typeface="Arial" panose="020B0604020202020204" pitchFamily="34" charset="0"/>
              <a:cs typeface="Arial" panose="020B0604020202020204" pitchFamily="34" charset="0"/>
            </a:endParaRPr>
          </a:p>
        </p:txBody>
      </p:sp>
      <p:sp>
        <p:nvSpPr>
          <p:cNvPr id="68" name="Прямоугольник 67">
            <a:extLst>
              <a:ext uri="{FF2B5EF4-FFF2-40B4-BE49-F238E27FC236}">
                <a16:creationId xmlns:a16="http://schemas.microsoft.com/office/drawing/2014/main" id="{1E87BCF8-903A-854D-9BFB-A8EBD2F900D3}"/>
              </a:ext>
            </a:extLst>
          </p:cNvPr>
          <p:cNvSpPr/>
          <p:nvPr/>
        </p:nvSpPr>
        <p:spPr>
          <a:xfrm>
            <a:off x="3118961" y="1643387"/>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x-none" sz="1200" dirty="0">
              <a:latin typeface="Arial" panose="020B0604020202020204" pitchFamily="34" charset="0"/>
              <a:cs typeface="Arial" panose="020B0604020202020204" pitchFamily="34" charset="0"/>
            </a:endParaRPr>
          </a:p>
        </p:txBody>
      </p:sp>
      <p:sp>
        <p:nvSpPr>
          <p:cNvPr id="69" name="Прямоугольник 68">
            <a:extLst>
              <a:ext uri="{FF2B5EF4-FFF2-40B4-BE49-F238E27FC236}">
                <a16:creationId xmlns:a16="http://schemas.microsoft.com/office/drawing/2014/main" id="{C8A12CDF-F312-D74B-9EA3-BD620162D1CC}"/>
              </a:ext>
            </a:extLst>
          </p:cNvPr>
          <p:cNvSpPr/>
          <p:nvPr/>
        </p:nvSpPr>
        <p:spPr>
          <a:xfrm>
            <a:off x="3118961" y="2174941"/>
            <a:ext cx="120738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ig Huseynov</a:t>
            </a:r>
            <a:endParaRPr lang="x-none" sz="1200" dirty="0">
              <a:latin typeface="Arial" panose="020B0604020202020204" pitchFamily="34" charset="0"/>
              <a:cs typeface="Arial" panose="020B0604020202020204" pitchFamily="34" charset="0"/>
            </a:endParaRPr>
          </a:p>
        </p:txBody>
      </p:sp>
      <p:sp>
        <p:nvSpPr>
          <p:cNvPr id="70" name="Прямоугольник 69">
            <a:extLst>
              <a:ext uri="{FF2B5EF4-FFF2-40B4-BE49-F238E27FC236}">
                <a16:creationId xmlns:a16="http://schemas.microsoft.com/office/drawing/2014/main" id="{77BB63CB-BC3F-A745-8B20-F9EE19E3BCF1}"/>
              </a:ext>
            </a:extLst>
          </p:cNvPr>
          <p:cNvSpPr/>
          <p:nvPr/>
        </p:nvSpPr>
        <p:spPr>
          <a:xfrm>
            <a:off x="3118961" y="2747699"/>
            <a:ext cx="1207382"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Faig</a:t>
            </a:r>
            <a:r>
              <a:rPr lang="en-US" sz="1200" dirty="0">
                <a:latin typeface="Arial" panose="020B0604020202020204" pitchFamily="34" charset="0"/>
                <a:cs typeface="Arial" panose="020B0604020202020204" pitchFamily="34" charset="0"/>
              </a:rPr>
              <a:t> Huseynov</a:t>
            </a:r>
            <a:endParaRPr lang="x-none" sz="1200" dirty="0">
              <a:latin typeface="Arial" panose="020B0604020202020204" pitchFamily="34" charset="0"/>
              <a:cs typeface="Arial" panose="020B0604020202020204" pitchFamily="34" charset="0"/>
            </a:endParaRPr>
          </a:p>
        </p:txBody>
      </p:sp>
      <p:sp>
        <p:nvSpPr>
          <p:cNvPr id="71" name="Прямоугольник 70">
            <a:extLst>
              <a:ext uri="{FF2B5EF4-FFF2-40B4-BE49-F238E27FC236}">
                <a16:creationId xmlns:a16="http://schemas.microsoft.com/office/drawing/2014/main" id="{1E856BFC-4BB3-2A4E-BC72-BFD42E06605A}"/>
              </a:ext>
            </a:extLst>
          </p:cNvPr>
          <p:cNvSpPr/>
          <p:nvPr/>
        </p:nvSpPr>
        <p:spPr>
          <a:xfrm>
            <a:off x="3118961" y="3358065"/>
            <a:ext cx="1165255"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rid </a:t>
            </a:r>
            <a:r>
              <a:rPr lang="en-US" sz="1200" dirty="0" err="1">
                <a:latin typeface="Arial" panose="020B0604020202020204" pitchFamily="34" charset="0"/>
                <a:cs typeface="Arial" panose="020B0604020202020204" pitchFamily="34" charset="0"/>
              </a:rPr>
              <a:t>Abushov</a:t>
            </a:r>
            <a:endParaRPr lang="x-none" sz="1200" dirty="0">
              <a:latin typeface="Arial" panose="020B0604020202020204" pitchFamily="34" charset="0"/>
              <a:cs typeface="Arial" panose="020B0604020202020204" pitchFamily="34" charset="0"/>
            </a:endParaRPr>
          </a:p>
        </p:txBody>
      </p:sp>
      <p:sp>
        <p:nvSpPr>
          <p:cNvPr id="73" name="Прямоугольник 72">
            <a:extLst>
              <a:ext uri="{FF2B5EF4-FFF2-40B4-BE49-F238E27FC236}">
                <a16:creationId xmlns:a16="http://schemas.microsoft.com/office/drawing/2014/main" id="{6ED5A786-5370-5548-83D3-44CA08B99A40}"/>
              </a:ext>
            </a:extLst>
          </p:cNvPr>
          <p:cNvSpPr/>
          <p:nvPr/>
        </p:nvSpPr>
        <p:spPr>
          <a:xfrm>
            <a:off x="3118961" y="4567924"/>
            <a:ext cx="101341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gor Okayev</a:t>
            </a:r>
            <a:endParaRPr lang="x-none" sz="1200" dirty="0">
              <a:latin typeface="Arial" panose="020B0604020202020204" pitchFamily="34" charset="0"/>
              <a:cs typeface="Arial" panose="020B0604020202020204" pitchFamily="34" charset="0"/>
            </a:endParaRPr>
          </a:p>
        </p:txBody>
      </p:sp>
      <p:sp>
        <p:nvSpPr>
          <p:cNvPr id="74" name="Прямоугольник 73">
            <a:extLst>
              <a:ext uri="{FF2B5EF4-FFF2-40B4-BE49-F238E27FC236}">
                <a16:creationId xmlns:a16="http://schemas.microsoft.com/office/drawing/2014/main" id="{6237BE89-2AE1-2940-BEB3-28EBE5F061FC}"/>
              </a:ext>
            </a:extLst>
          </p:cNvPr>
          <p:cNvSpPr/>
          <p:nvPr/>
        </p:nvSpPr>
        <p:spPr>
          <a:xfrm>
            <a:off x="3118961" y="5156290"/>
            <a:ext cx="117602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Tural Hasanov</a:t>
            </a:r>
            <a:endParaRPr lang="x-none" sz="1200" dirty="0">
              <a:latin typeface="Arial" panose="020B0604020202020204" pitchFamily="34" charset="0"/>
              <a:cs typeface="Arial" panose="020B0604020202020204" pitchFamily="34" charset="0"/>
            </a:endParaRPr>
          </a:p>
        </p:txBody>
      </p:sp>
      <p:sp>
        <p:nvSpPr>
          <p:cNvPr id="75" name="Прямоугольник 74">
            <a:extLst>
              <a:ext uri="{FF2B5EF4-FFF2-40B4-BE49-F238E27FC236}">
                <a16:creationId xmlns:a16="http://schemas.microsoft.com/office/drawing/2014/main" id="{40A1EEE6-C176-5849-AD74-2B43E876F741}"/>
              </a:ext>
            </a:extLst>
          </p:cNvPr>
          <p:cNvSpPr/>
          <p:nvPr/>
        </p:nvSpPr>
        <p:spPr>
          <a:xfrm>
            <a:off x="3118961" y="5753343"/>
            <a:ext cx="101341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gor </a:t>
            </a:r>
            <a:r>
              <a:rPr lang="en-US" sz="1200" dirty="0" err="1">
                <a:latin typeface="Arial" panose="020B0604020202020204" pitchFamily="34" charset="0"/>
                <a:cs typeface="Arial" panose="020B0604020202020204" pitchFamily="34" charset="0"/>
              </a:rPr>
              <a:t>Okayev</a:t>
            </a:r>
            <a:endParaRPr lang="x-none" sz="1200" dirty="0">
              <a:latin typeface="Arial" panose="020B0604020202020204" pitchFamily="34" charset="0"/>
              <a:cs typeface="Arial" panose="020B0604020202020204" pitchFamily="34" charset="0"/>
            </a:endParaRPr>
          </a:p>
        </p:txBody>
      </p:sp>
      <p:sp>
        <p:nvSpPr>
          <p:cNvPr id="76" name="Прямоугольник 75">
            <a:extLst>
              <a:ext uri="{FF2B5EF4-FFF2-40B4-BE49-F238E27FC236}">
                <a16:creationId xmlns:a16="http://schemas.microsoft.com/office/drawing/2014/main" id="{F0280438-F41E-E143-B9FD-257C7BC3431E}"/>
              </a:ext>
            </a:extLst>
          </p:cNvPr>
          <p:cNvSpPr/>
          <p:nvPr/>
        </p:nvSpPr>
        <p:spPr>
          <a:xfrm>
            <a:off x="3118961" y="6386308"/>
            <a:ext cx="122661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imov</a:t>
            </a:r>
            <a:endParaRPr lang="x-none" sz="1200" dirty="0">
              <a:latin typeface="Arial" panose="020B0604020202020204" pitchFamily="34" charset="0"/>
              <a:cs typeface="Arial" panose="020B0604020202020204" pitchFamily="34" charset="0"/>
            </a:endParaRPr>
          </a:p>
        </p:txBody>
      </p:sp>
      <p:sp>
        <p:nvSpPr>
          <p:cNvPr id="88" name="Прямоугольник 87">
            <a:extLst>
              <a:ext uri="{FF2B5EF4-FFF2-40B4-BE49-F238E27FC236}">
                <a16:creationId xmlns:a16="http://schemas.microsoft.com/office/drawing/2014/main" id="{FCFB9C44-D9CA-CF47-B333-DCE726993DBD}"/>
              </a:ext>
            </a:extLst>
          </p:cNvPr>
          <p:cNvSpPr/>
          <p:nvPr/>
        </p:nvSpPr>
        <p:spPr>
          <a:xfrm>
            <a:off x="4911519" y="1632215"/>
            <a:ext cx="1236236"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ımov</a:t>
            </a:r>
            <a:endParaRPr lang="x-none" sz="1200" dirty="0">
              <a:latin typeface="Arial" panose="020B0604020202020204" pitchFamily="34" charset="0"/>
              <a:cs typeface="Arial" panose="020B0604020202020204" pitchFamily="34" charset="0"/>
            </a:endParaRPr>
          </a:p>
        </p:txBody>
      </p:sp>
      <p:sp>
        <p:nvSpPr>
          <p:cNvPr id="89" name="Прямоугольник 88">
            <a:extLst>
              <a:ext uri="{FF2B5EF4-FFF2-40B4-BE49-F238E27FC236}">
                <a16:creationId xmlns:a16="http://schemas.microsoft.com/office/drawing/2014/main" id="{756F98C2-34FD-7249-A338-32C8B0FB29E4}"/>
              </a:ext>
            </a:extLst>
          </p:cNvPr>
          <p:cNvSpPr/>
          <p:nvPr/>
        </p:nvSpPr>
        <p:spPr>
          <a:xfrm>
            <a:off x="4911519" y="2163769"/>
            <a:ext cx="1188146"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Lala </a:t>
            </a:r>
            <a:r>
              <a:rPr lang="en-US" sz="1200" dirty="0" err="1">
                <a:latin typeface="Arial" panose="020B0604020202020204" pitchFamily="34" charset="0"/>
                <a:cs typeface="Arial" panose="020B0604020202020204" pitchFamily="34" charset="0"/>
              </a:rPr>
              <a:t>Hadjiyeva</a:t>
            </a:r>
            <a:endParaRPr lang="x-none" sz="1200" dirty="0">
              <a:latin typeface="Arial" panose="020B0604020202020204" pitchFamily="34" charset="0"/>
              <a:cs typeface="Arial" panose="020B0604020202020204" pitchFamily="34" charset="0"/>
            </a:endParaRPr>
          </a:p>
        </p:txBody>
      </p:sp>
      <p:sp>
        <p:nvSpPr>
          <p:cNvPr id="90" name="Прямоугольник 89">
            <a:extLst>
              <a:ext uri="{FF2B5EF4-FFF2-40B4-BE49-F238E27FC236}">
                <a16:creationId xmlns:a16="http://schemas.microsoft.com/office/drawing/2014/main" id="{97D1004D-5595-7140-9914-249B6AE01AD1}"/>
              </a:ext>
            </a:extLst>
          </p:cNvPr>
          <p:cNvSpPr/>
          <p:nvPr/>
        </p:nvSpPr>
        <p:spPr>
          <a:xfrm>
            <a:off x="4911519" y="2736527"/>
            <a:ext cx="1249060"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evd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ajiyeva</a:t>
            </a:r>
            <a:endParaRPr lang="x-none" sz="1200" dirty="0">
              <a:latin typeface="Arial" panose="020B0604020202020204" pitchFamily="34" charset="0"/>
              <a:cs typeface="Arial" panose="020B0604020202020204" pitchFamily="34" charset="0"/>
            </a:endParaRPr>
          </a:p>
        </p:txBody>
      </p:sp>
      <p:sp>
        <p:nvSpPr>
          <p:cNvPr id="91" name="Прямоугольник 90">
            <a:extLst>
              <a:ext uri="{FF2B5EF4-FFF2-40B4-BE49-F238E27FC236}">
                <a16:creationId xmlns:a16="http://schemas.microsoft.com/office/drawing/2014/main" id="{C20F6849-9246-9244-A458-F35BBA6223B1}"/>
              </a:ext>
            </a:extLst>
          </p:cNvPr>
          <p:cNvSpPr/>
          <p:nvPr/>
        </p:nvSpPr>
        <p:spPr>
          <a:xfrm>
            <a:off x="4911519" y="3285715"/>
            <a:ext cx="1293944"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Oleg Kucherov</a:t>
            </a:r>
          </a:p>
          <a:p>
            <a:r>
              <a:rPr lang="en-US" sz="1200" dirty="0">
                <a:latin typeface="Arial" panose="020B0604020202020204" pitchFamily="34" charset="0"/>
                <a:cs typeface="Arial" panose="020B0604020202020204" pitchFamily="34" charset="0"/>
              </a:rPr>
              <a:t>Heybat Gadirov </a:t>
            </a:r>
          </a:p>
        </p:txBody>
      </p:sp>
      <p:sp>
        <p:nvSpPr>
          <p:cNvPr id="92" name="Прямоугольник 91">
            <a:extLst>
              <a:ext uri="{FF2B5EF4-FFF2-40B4-BE49-F238E27FC236}">
                <a16:creationId xmlns:a16="http://schemas.microsoft.com/office/drawing/2014/main" id="{22D2AF71-D629-6C49-AAF6-294228EA9796}"/>
              </a:ext>
            </a:extLst>
          </p:cNvPr>
          <p:cNvSpPr/>
          <p:nvPr/>
        </p:nvSpPr>
        <p:spPr>
          <a:xfrm>
            <a:off x="4911519" y="3959177"/>
            <a:ext cx="1189749"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Ram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Usubov</a:t>
            </a:r>
            <a:endParaRPr lang="x-none" sz="1200" dirty="0">
              <a:latin typeface="Arial" panose="020B0604020202020204" pitchFamily="34" charset="0"/>
              <a:cs typeface="Arial" panose="020B0604020202020204" pitchFamily="34" charset="0"/>
            </a:endParaRPr>
          </a:p>
        </p:txBody>
      </p:sp>
      <p:sp>
        <p:nvSpPr>
          <p:cNvPr id="93" name="Прямоугольник 92">
            <a:extLst>
              <a:ext uri="{FF2B5EF4-FFF2-40B4-BE49-F238E27FC236}">
                <a16:creationId xmlns:a16="http://schemas.microsoft.com/office/drawing/2014/main" id="{B0CF5B27-EF47-D84C-83CF-1E6A7D53E88E}"/>
              </a:ext>
            </a:extLst>
          </p:cNvPr>
          <p:cNvSpPr/>
          <p:nvPr/>
        </p:nvSpPr>
        <p:spPr>
          <a:xfrm>
            <a:off x="4911519" y="4556752"/>
            <a:ext cx="1249060"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evd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ajiyeva</a:t>
            </a:r>
            <a:endParaRPr lang="x-none" sz="1200" dirty="0">
              <a:latin typeface="Arial" panose="020B0604020202020204" pitchFamily="34" charset="0"/>
              <a:cs typeface="Arial" panose="020B0604020202020204" pitchFamily="34" charset="0"/>
            </a:endParaRPr>
          </a:p>
        </p:txBody>
      </p:sp>
      <p:sp>
        <p:nvSpPr>
          <p:cNvPr id="94" name="Прямоугольник 93">
            <a:extLst>
              <a:ext uri="{FF2B5EF4-FFF2-40B4-BE49-F238E27FC236}">
                <a16:creationId xmlns:a16="http://schemas.microsoft.com/office/drawing/2014/main" id="{F7795ABD-7059-1B4F-B6F9-9DC403FDD73D}"/>
              </a:ext>
            </a:extLst>
          </p:cNvPr>
          <p:cNvSpPr/>
          <p:nvPr/>
        </p:nvSpPr>
        <p:spPr>
          <a:xfrm>
            <a:off x="4891751" y="5102614"/>
            <a:ext cx="1665841" cy="461665"/>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Sofy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osayeva</a:t>
            </a: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Shahin </a:t>
            </a:r>
            <a:r>
              <a:rPr lang="en-US" sz="1200" dirty="0" err="1">
                <a:latin typeface="Arial" panose="020B0604020202020204" pitchFamily="34" charset="0"/>
                <a:cs typeface="Arial" panose="020B0604020202020204" pitchFamily="34" charset="0"/>
              </a:rPr>
              <a:t>Mirabutalubov</a:t>
            </a:r>
            <a:endParaRPr lang="x-none" sz="1200" dirty="0">
              <a:latin typeface="Arial" panose="020B0604020202020204" pitchFamily="34" charset="0"/>
              <a:cs typeface="Arial" panose="020B0604020202020204" pitchFamily="34" charset="0"/>
            </a:endParaRPr>
          </a:p>
        </p:txBody>
      </p:sp>
      <p:sp>
        <p:nvSpPr>
          <p:cNvPr id="95" name="Прямоугольник 94">
            <a:extLst>
              <a:ext uri="{FF2B5EF4-FFF2-40B4-BE49-F238E27FC236}">
                <a16:creationId xmlns:a16="http://schemas.microsoft.com/office/drawing/2014/main" id="{61DFEA96-3C21-9941-85EB-0FE159C094BE}"/>
              </a:ext>
            </a:extLst>
          </p:cNvPr>
          <p:cNvSpPr/>
          <p:nvPr/>
        </p:nvSpPr>
        <p:spPr>
          <a:xfrm>
            <a:off x="4911519" y="5649718"/>
            <a:ext cx="1414170" cy="461665"/>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mir Mustafayev</a:t>
            </a:r>
          </a:p>
          <a:p>
            <a:r>
              <a:rPr lang="en-US" sz="1200" dirty="0" err="1">
                <a:latin typeface="Arial" panose="020B0604020202020204" pitchFamily="34" charset="0"/>
                <a:cs typeface="Arial" panose="020B0604020202020204" pitchFamily="34" charset="0"/>
              </a:rPr>
              <a:t>Nurlan</a:t>
            </a:r>
            <a:r>
              <a:rPr lang="en-US" sz="1200" dirty="0">
                <a:latin typeface="Arial" panose="020B0604020202020204" pitchFamily="34" charset="0"/>
                <a:cs typeface="Arial" panose="020B0604020202020204" pitchFamily="34" charset="0"/>
              </a:rPr>
              <a:t> Mammadli</a:t>
            </a:r>
            <a:endParaRPr lang="x-none" sz="1200" dirty="0">
              <a:latin typeface="Arial" panose="020B0604020202020204" pitchFamily="34" charset="0"/>
              <a:cs typeface="Arial" panose="020B0604020202020204" pitchFamily="34" charset="0"/>
            </a:endParaRPr>
          </a:p>
        </p:txBody>
      </p:sp>
      <p:sp>
        <p:nvSpPr>
          <p:cNvPr id="96" name="Прямоугольник 95">
            <a:extLst>
              <a:ext uri="{FF2B5EF4-FFF2-40B4-BE49-F238E27FC236}">
                <a16:creationId xmlns:a16="http://schemas.microsoft.com/office/drawing/2014/main" id="{2752A3F3-6D1F-5B44-BBEB-61E458DB399F}"/>
              </a:ext>
            </a:extLst>
          </p:cNvPr>
          <p:cNvSpPr/>
          <p:nvPr/>
        </p:nvSpPr>
        <p:spPr>
          <a:xfrm>
            <a:off x="4911519" y="6375136"/>
            <a:ext cx="1274708"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Elch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Jabbarov</a:t>
            </a:r>
            <a:endParaRPr lang="x-none" sz="1200" dirty="0">
              <a:latin typeface="Arial" panose="020B0604020202020204" pitchFamily="34" charset="0"/>
              <a:cs typeface="Arial" panose="020B0604020202020204" pitchFamily="34" charset="0"/>
            </a:endParaRPr>
          </a:p>
        </p:txBody>
      </p:sp>
      <p:sp>
        <p:nvSpPr>
          <p:cNvPr id="97" name="Прямоугольник 96">
            <a:extLst>
              <a:ext uri="{FF2B5EF4-FFF2-40B4-BE49-F238E27FC236}">
                <a16:creationId xmlns:a16="http://schemas.microsoft.com/office/drawing/2014/main" id="{C32D6EAF-A21D-3541-9CAB-09A783C3E338}"/>
              </a:ext>
            </a:extLst>
          </p:cNvPr>
          <p:cNvSpPr/>
          <p:nvPr/>
        </p:nvSpPr>
        <p:spPr>
          <a:xfrm>
            <a:off x="3118961" y="3935116"/>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x-none" sz="1200" dirty="0">
              <a:latin typeface="Arial" panose="020B0604020202020204" pitchFamily="34" charset="0"/>
              <a:cs typeface="Arial" panose="020B0604020202020204" pitchFamily="34" charset="0"/>
            </a:endParaRPr>
          </a:p>
        </p:txBody>
      </p:sp>
      <p:sp>
        <p:nvSpPr>
          <p:cNvPr id="98" name="Овал 97">
            <a:extLst>
              <a:ext uri="{FF2B5EF4-FFF2-40B4-BE49-F238E27FC236}">
                <a16:creationId xmlns:a16="http://schemas.microsoft.com/office/drawing/2014/main" id="{913F5644-DF72-4D4B-A70A-AC80ADB6D306}"/>
              </a:ext>
            </a:extLst>
          </p:cNvPr>
          <p:cNvSpPr/>
          <p:nvPr/>
        </p:nvSpPr>
        <p:spPr>
          <a:xfrm flipH="1">
            <a:off x="8096066" y="4554409"/>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99" name="Овал 98">
            <a:extLst>
              <a:ext uri="{FF2B5EF4-FFF2-40B4-BE49-F238E27FC236}">
                <a16:creationId xmlns:a16="http://schemas.microsoft.com/office/drawing/2014/main" id="{7D3759E6-0532-E44F-8B2E-5A1534EFF975}"/>
              </a:ext>
            </a:extLst>
          </p:cNvPr>
          <p:cNvSpPr/>
          <p:nvPr/>
        </p:nvSpPr>
        <p:spPr>
          <a:xfrm flipH="1">
            <a:off x="8093673" y="5178730"/>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00" name="Овал 99">
            <a:extLst>
              <a:ext uri="{FF2B5EF4-FFF2-40B4-BE49-F238E27FC236}">
                <a16:creationId xmlns:a16="http://schemas.microsoft.com/office/drawing/2014/main" id="{1FFB573C-EC10-FB4D-A98A-AFC854155C1C}"/>
              </a:ext>
            </a:extLst>
          </p:cNvPr>
          <p:cNvSpPr/>
          <p:nvPr/>
        </p:nvSpPr>
        <p:spPr>
          <a:xfrm flipH="1">
            <a:off x="8105247" y="5745582"/>
            <a:ext cx="239132" cy="239132"/>
          </a:xfrm>
          <a:prstGeom prst="ellipse">
            <a:avLst/>
          </a:prstGeom>
          <a:solidFill>
            <a:srgbClr val="FF0000"/>
          </a:solidFill>
          <a:ln>
            <a:noFill/>
          </a:ln>
        </p:spPr>
        <p:txBody>
          <a:bodyPr/>
          <a:lstStyle/>
          <a:p>
            <a:pPr defTabSz="932958"/>
            <a:endParaRPr lang="x-none" sz="714">
              <a:solidFill>
                <a:srgbClr val="000000"/>
              </a:solidFill>
              <a:latin typeface="Arial" panose="020B0604020202020204" pitchFamily="34" charset="0"/>
              <a:cs typeface="Arial" panose="020B0604020202020204" pitchFamily="34" charset="0"/>
            </a:endParaRPr>
          </a:p>
        </p:txBody>
      </p:sp>
      <p:sp>
        <p:nvSpPr>
          <p:cNvPr id="101" name="Овал 100">
            <a:extLst>
              <a:ext uri="{FF2B5EF4-FFF2-40B4-BE49-F238E27FC236}">
                <a16:creationId xmlns:a16="http://schemas.microsoft.com/office/drawing/2014/main" id="{CBDA07B0-A7E8-0B4F-B699-F6C1CF68C84C}"/>
              </a:ext>
            </a:extLst>
          </p:cNvPr>
          <p:cNvSpPr/>
          <p:nvPr/>
        </p:nvSpPr>
        <p:spPr>
          <a:xfrm flipH="1">
            <a:off x="8077312" y="6405241"/>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02" name="Прямоугольник 91">
            <a:extLst>
              <a:ext uri="{FF2B5EF4-FFF2-40B4-BE49-F238E27FC236}">
                <a16:creationId xmlns:a16="http://schemas.microsoft.com/office/drawing/2014/main" id="{22D2AF71-D629-6C49-AAF6-294228EA9796}"/>
              </a:ext>
            </a:extLst>
          </p:cNvPr>
          <p:cNvSpPr/>
          <p:nvPr/>
        </p:nvSpPr>
        <p:spPr>
          <a:xfrm>
            <a:off x="6463905" y="3871495"/>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August 2019</a:t>
            </a:r>
            <a:endParaRPr lang="x-none" sz="1200" dirty="0">
              <a:latin typeface="Arial" panose="020B0604020202020204" pitchFamily="34" charset="0"/>
              <a:cs typeface="Arial" panose="020B0604020202020204" pitchFamily="34" charset="0"/>
            </a:endParaRPr>
          </a:p>
        </p:txBody>
      </p:sp>
      <p:sp>
        <p:nvSpPr>
          <p:cNvPr id="103" name="Прямоугольник 91">
            <a:extLst>
              <a:ext uri="{FF2B5EF4-FFF2-40B4-BE49-F238E27FC236}">
                <a16:creationId xmlns:a16="http://schemas.microsoft.com/office/drawing/2014/main" id="{22D2AF71-D629-6C49-AAF6-294228EA9796}"/>
              </a:ext>
            </a:extLst>
          </p:cNvPr>
          <p:cNvSpPr/>
          <p:nvPr/>
        </p:nvSpPr>
        <p:spPr>
          <a:xfrm>
            <a:off x="7255289" y="3875864"/>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October2020</a:t>
            </a:r>
            <a:endParaRPr lang="x-none" sz="1200" dirty="0">
              <a:latin typeface="Arial" panose="020B0604020202020204" pitchFamily="34" charset="0"/>
              <a:cs typeface="Arial" panose="020B0604020202020204" pitchFamily="34" charset="0"/>
            </a:endParaRPr>
          </a:p>
        </p:txBody>
      </p:sp>
      <p:sp>
        <p:nvSpPr>
          <p:cNvPr id="104" name="Прямоугольник 91">
            <a:extLst>
              <a:ext uri="{FF2B5EF4-FFF2-40B4-BE49-F238E27FC236}">
                <a16:creationId xmlns:a16="http://schemas.microsoft.com/office/drawing/2014/main" id="{22D2AF71-D629-6C49-AAF6-294228EA9796}"/>
              </a:ext>
            </a:extLst>
          </p:cNvPr>
          <p:cNvSpPr/>
          <p:nvPr/>
        </p:nvSpPr>
        <p:spPr>
          <a:xfrm>
            <a:off x="6463905" y="5115767"/>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Ma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105" name="Прямоугольник 91">
            <a:extLst>
              <a:ext uri="{FF2B5EF4-FFF2-40B4-BE49-F238E27FC236}">
                <a16:creationId xmlns:a16="http://schemas.microsoft.com/office/drawing/2014/main" id="{22D2AF71-D629-6C49-AAF6-294228EA9796}"/>
              </a:ext>
            </a:extLst>
          </p:cNvPr>
          <p:cNvSpPr/>
          <p:nvPr/>
        </p:nvSpPr>
        <p:spPr>
          <a:xfrm>
            <a:off x="7255289" y="5115767"/>
            <a:ext cx="1005752"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December</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106" name="Прямоугольник 91">
            <a:extLst>
              <a:ext uri="{FF2B5EF4-FFF2-40B4-BE49-F238E27FC236}">
                <a16:creationId xmlns:a16="http://schemas.microsoft.com/office/drawing/2014/main" id="{22D2AF71-D629-6C49-AAF6-294228EA9796}"/>
              </a:ext>
            </a:extLst>
          </p:cNvPr>
          <p:cNvSpPr/>
          <p:nvPr/>
        </p:nvSpPr>
        <p:spPr>
          <a:xfrm>
            <a:off x="6463905" y="1548958"/>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October2019</a:t>
            </a:r>
            <a:endParaRPr lang="x-none" sz="1200" dirty="0">
              <a:latin typeface="Arial" panose="020B0604020202020204" pitchFamily="34" charset="0"/>
              <a:cs typeface="Arial" panose="020B0604020202020204" pitchFamily="34" charset="0"/>
            </a:endParaRPr>
          </a:p>
        </p:txBody>
      </p:sp>
      <p:sp>
        <p:nvSpPr>
          <p:cNvPr id="107" name="Прямоугольник 91">
            <a:extLst>
              <a:ext uri="{FF2B5EF4-FFF2-40B4-BE49-F238E27FC236}">
                <a16:creationId xmlns:a16="http://schemas.microsoft.com/office/drawing/2014/main" id="{22D2AF71-D629-6C49-AAF6-294228EA9796}"/>
              </a:ext>
            </a:extLst>
          </p:cNvPr>
          <p:cNvSpPr/>
          <p:nvPr/>
        </p:nvSpPr>
        <p:spPr>
          <a:xfrm>
            <a:off x="7255289" y="1544642"/>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Ma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109" name="Tick2 6">
            <a:extLst>
              <a:ext uri="{FF2B5EF4-FFF2-40B4-BE49-F238E27FC236}">
                <a16:creationId xmlns:a16="http://schemas.microsoft.com/office/drawing/2014/main" id="{C1648B56-249A-C048-8CB4-92DADB6C5EEB}"/>
              </a:ext>
            </a:extLst>
          </p:cNvPr>
          <p:cNvSpPr>
            <a:spLocks/>
          </p:cNvSpPr>
          <p:nvPr>
            <p:custDataLst>
              <p:tags r:id="rId12"/>
            </p:custDataLst>
          </p:nvPr>
        </p:nvSpPr>
        <p:spPr>
          <a:xfrm>
            <a:off x="8137992" y="1660963"/>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10" name="Tick2 6">
            <a:extLst>
              <a:ext uri="{FF2B5EF4-FFF2-40B4-BE49-F238E27FC236}">
                <a16:creationId xmlns:a16="http://schemas.microsoft.com/office/drawing/2014/main" id="{C1648B56-249A-C048-8CB4-92DADB6C5EEB}"/>
              </a:ext>
            </a:extLst>
          </p:cNvPr>
          <p:cNvSpPr>
            <a:spLocks/>
          </p:cNvSpPr>
          <p:nvPr>
            <p:custDataLst>
              <p:tags r:id="rId13"/>
            </p:custDataLst>
          </p:nvPr>
        </p:nvSpPr>
        <p:spPr>
          <a:xfrm>
            <a:off x="8137991" y="3994298"/>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8" name="Прямоугольник 91">
            <a:extLst>
              <a:ext uri="{FF2B5EF4-FFF2-40B4-BE49-F238E27FC236}">
                <a16:creationId xmlns:a16="http://schemas.microsoft.com/office/drawing/2014/main" id="{22D2AF71-D629-6C49-AAF6-294228EA9796}"/>
              </a:ext>
            </a:extLst>
          </p:cNvPr>
          <p:cNvSpPr/>
          <p:nvPr/>
        </p:nvSpPr>
        <p:spPr>
          <a:xfrm>
            <a:off x="6463905" y="2107426"/>
            <a:ext cx="819887"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February2019</a:t>
            </a:r>
            <a:endParaRPr lang="x-none" sz="1200" dirty="0">
              <a:latin typeface="Arial" panose="020B0604020202020204" pitchFamily="34" charset="0"/>
              <a:cs typeface="Arial" panose="020B0604020202020204" pitchFamily="34" charset="0"/>
            </a:endParaRPr>
          </a:p>
        </p:txBody>
      </p:sp>
      <p:sp>
        <p:nvSpPr>
          <p:cNvPr id="111" name="Прямоугольник 91">
            <a:extLst>
              <a:ext uri="{FF2B5EF4-FFF2-40B4-BE49-F238E27FC236}">
                <a16:creationId xmlns:a16="http://schemas.microsoft.com/office/drawing/2014/main" id="{22D2AF71-D629-6C49-AAF6-294228EA9796}"/>
              </a:ext>
            </a:extLst>
          </p:cNvPr>
          <p:cNvSpPr/>
          <p:nvPr/>
        </p:nvSpPr>
        <p:spPr>
          <a:xfrm>
            <a:off x="7255289" y="2111671"/>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Ma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127" name="Прямоугольник 91">
            <a:extLst>
              <a:ext uri="{FF2B5EF4-FFF2-40B4-BE49-F238E27FC236}">
                <a16:creationId xmlns:a16="http://schemas.microsoft.com/office/drawing/2014/main" id="{22D2AF71-D629-6C49-AAF6-294228EA9796}"/>
              </a:ext>
            </a:extLst>
          </p:cNvPr>
          <p:cNvSpPr/>
          <p:nvPr/>
        </p:nvSpPr>
        <p:spPr>
          <a:xfrm>
            <a:off x="6463905" y="2684114"/>
            <a:ext cx="819887"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January</a:t>
            </a:r>
          </a:p>
          <a:p>
            <a:r>
              <a:rPr lang="en-US" sz="1200" dirty="0">
                <a:latin typeface="Arial" panose="020B0604020202020204" pitchFamily="34" charset="0"/>
                <a:cs typeface="Arial" panose="020B0604020202020204" pitchFamily="34" charset="0"/>
              </a:rPr>
              <a:t>2019</a:t>
            </a:r>
            <a:endParaRPr lang="x-none" sz="1200" dirty="0">
              <a:latin typeface="Arial" panose="020B0604020202020204" pitchFamily="34" charset="0"/>
              <a:cs typeface="Arial" panose="020B0604020202020204" pitchFamily="34" charset="0"/>
            </a:endParaRPr>
          </a:p>
        </p:txBody>
      </p:sp>
      <p:sp>
        <p:nvSpPr>
          <p:cNvPr id="128" name="Прямоугольник 91">
            <a:extLst>
              <a:ext uri="{FF2B5EF4-FFF2-40B4-BE49-F238E27FC236}">
                <a16:creationId xmlns:a16="http://schemas.microsoft.com/office/drawing/2014/main" id="{22D2AF71-D629-6C49-AAF6-294228EA9796}"/>
              </a:ext>
            </a:extLst>
          </p:cNvPr>
          <p:cNvSpPr/>
          <p:nvPr/>
        </p:nvSpPr>
        <p:spPr>
          <a:xfrm>
            <a:off x="7212527" y="2710399"/>
            <a:ext cx="819887"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January</a:t>
            </a:r>
          </a:p>
          <a:p>
            <a:r>
              <a:rPr lang="en-US" sz="1200" dirty="0">
                <a:latin typeface="Arial" panose="020B0604020202020204" pitchFamily="34" charset="0"/>
                <a:cs typeface="Arial" panose="020B0604020202020204" pitchFamily="34" charset="0"/>
              </a:rPr>
              <a:t>2021</a:t>
            </a:r>
            <a:endParaRPr lang="x-none" sz="1200" dirty="0">
              <a:latin typeface="Arial" panose="020B0604020202020204" pitchFamily="34" charset="0"/>
              <a:cs typeface="Arial" panose="020B0604020202020204" pitchFamily="34" charset="0"/>
            </a:endParaRPr>
          </a:p>
        </p:txBody>
      </p:sp>
      <p:sp>
        <p:nvSpPr>
          <p:cNvPr id="129" name="Прямоугольник 91">
            <a:extLst>
              <a:ext uri="{FF2B5EF4-FFF2-40B4-BE49-F238E27FC236}">
                <a16:creationId xmlns:a16="http://schemas.microsoft.com/office/drawing/2014/main" id="{22D2AF71-D629-6C49-AAF6-294228EA9796}"/>
              </a:ext>
            </a:extLst>
          </p:cNvPr>
          <p:cNvSpPr/>
          <p:nvPr/>
        </p:nvSpPr>
        <p:spPr>
          <a:xfrm>
            <a:off x="6463905" y="3270857"/>
            <a:ext cx="977955"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December</a:t>
            </a:r>
          </a:p>
          <a:p>
            <a:r>
              <a:rPr lang="en-US" sz="1200" dirty="0">
                <a:latin typeface="Arial" panose="020B0604020202020204" pitchFamily="34" charset="0"/>
                <a:cs typeface="Arial" panose="020B0604020202020204" pitchFamily="34" charset="0"/>
              </a:rPr>
              <a:t>2019</a:t>
            </a:r>
            <a:endParaRPr lang="x-none" sz="1200" dirty="0">
              <a:latin typeface="Arial" panose="020B0604020202020204" pitchFamily="34" charset="0"/>
              <a:cs typeface="Arial" panose="020B0604020202020204" pitchFamily="34" charset="0"/>
            </a:endParaRPr>
          </a:p>
        </p:txBody>
      </p:sp>
      <p:sp>
        <p:nvSpPr>
          <p:cNvPr id="132" name="Прямоугольник 91">
            <a:extLst>
              <a:ext uri="{FF2B5EF4-FFF2-40B4-BE49-F238E27FC236}">
                <a16:creationId xmlns:a16="http://schemas.microsoft.com/office/drawing/2014/main" id="{22D2AF71-D629-6C49-AAF6-294228EA9796}"/>
              </a:ext>
            </a:extLst>
          </p:cNvPr>
          <p:cNvSpPr/>
          <p:nvPr/>
        </p:nvSpPr>
        <p:spPr>
          <a:xfrm>
            <a:off x="6450789" y="4446653"/>
            <a:ext cx="738381"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Januar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140" name="Прямоугольник 91">
            <a:extLst>
              <a:ext uri="{FF2B5EF4-FFF2-40B4-BE49-F238E27FC236}">
                <a16:creationId xmlns:a16="http://schemas.microsoft.com/office/drawing/2014/main" id="{22D2AF71-D629-6C49-AAF6-294228EA9796}"/>
              </a:ext>
            </a:extLst>
          </p:cNvPr>
          <p:cNvSpPr/>
          <p:nvPr/>
        </p:nvSpPr>
        <p:spPr>
          <a:xfrm>
            <a:off x="7242173" y="4446653"/>
            <a:ext cx="1005752"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January</a:t>
            </a:r>
          </a:p>
          <a:p>
            <a:r>
              <a:rPr lang="en-US" sz="1200" dirty="0">
                <a:latin typeface="Arial" panose="020B0604020202020204" pitchFamily="34" charset="0"/>
                <a:cs typeface="Arial" panose="020B0604020202020204" pitchFamily="34" charset="0"/>
              </a:rPr>
              <a:t>2021</a:t>
            </a:r>
            <a:endParaRPr lang="x-none" sz="1200" dirty="0">
              <a:latin typeface="Arial" panose="020B0604020202020204" pitchFamily="34" charset="0"/>
              <a:cs typeface="Arial" panose="020B0604020202020204" pitchFamily="34" charset="0"/>
            </a:endParaRPr>
          </a:p>
        </p:txBody>
      </p:sp>
      <p:sp>
        <p:nvSpPr>
          <p:cNvPr id="141" name="Прямоугольник 91">
            <a:extLst>
              <a:ext uri="{FF2B5EF4-FFF2-40B4-BE49-F238E27FC236}">
                <a16:creationId xmlns:a16="http://schemas.microsoft.com/office/drawing/2014/main" id="{22D2AF71-D629-6C49-AAF6-294228EA9796}"/>
              </a:ext>
            </a:extLst>
          </p:cNvPr>
          <p:cNvSpPr/>
          <p:nvPr/>
        </p:nvSpPr>
        <p:spPr>
          <a:xfrm>
            <a:off x="6557592" y="6293974"/>
            <a:ext cx="824617"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Februar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sp>
        <p:nvSpPr>
          <p:cNvPr id="3" name="TextBox 2"/>
          <p:cNvSpPr txBox="1"/>
          <p:nvPr/>
        </p:nvSpPr>
        <p:spPr>
          <a:xfrm>
            <a:off x="8565384" y="5089165"/>
            <a:ext cx="3371033"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Hardware installment in Mingacevir is done and configuration of systems is underway. </a:t>
            </a:r>
          </a:p>
        </p:txBody>
      </p:sp>
      <p:sp>
        <p:nvSpPr>
          <p:cNvPr id="142" name="TextBox 141"/>
          <p:cNvSpPr txBox="1"/>
          <p:nvPr/>
        </p:nvSpPr>
        <p:spPr>
          <a:xfrm>
            <a:off x="8565383" y="6367373"/>
            <a:ext cx="33710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T implementation just begun. </a:t>
            </a:r>
          </a:p>
        </p:txBody>
      </p:sp>
      <p:sp>
        <p:nvSpPr>
          <p:cNvPr id="130" name="TextBox 129">
            <a:extLst>
              <a:ext uri="{FF2B5EF4-FFF2-40B4-BE49-F238E27FC236}">
                <a16:creationId xmlns:a16="http://schemas.microsoft.com/office/drawing/2014/main" id="{E63B4316-EF73-314D-BC1B-A5511062B604}"/>
              </a:ext>
            </a:extLst>
          </p:cNvPr>
          <p:cNvSpPr txBox="1"/>
          <p:nvPr/>
        </p:nvSpPr>
        <p:spPr>
          <a:xfrm>
            <a:off x="8565383" y="1618412"/>
            <a:ext cx="33710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Post-launch assessment is not performed</a:t>
            </a:r>
          </a:p>
        </p:txBody>
      </p:sp>
      <p:sp>
        <p:nvSpPr>
          <p:cNvPr id="143" name="TextBox 142">
            <a:extLst>
              <a:ext uri="{FF2B5EF4-FFF2-40B4-BE49-F238E27FC236}">
                <a16:creationId xmlns:a16="http://schemas.microsoft.com/office/drawing/2014/main" id="{BED22091-1105-D14A-8118-BA9E2A811EA3}"/>
              </a:ext>
            </a:extLst>
          </p:cNvPr>
          <p:cNvSpPr txBox="1"/>
          <p:nvPr/>
        </p:nvSpPr>
        <p:spPr>
          <a:xfrm>
            <a:off x="8524508" y="3941517"/>
            <a:ext cx="33710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Post-launch assessment is not performed</a:t>
            </a:r>
          </a:p>
        </p:txBody>
      </p:sp>
      <p:sp>
        <p:nvSpPr>
          <p:cNvPr id="144" name="TextBox 143">
            <a:extLst>
              <a:ext uri="{FF2B5EF4-FFF2-40B4-BE49-F238E27FC236}">
                <a16:creationId xmlns:a16="http://schemas.microsoft.com/office/drawing/2014/main" id="{CFDA5085-6D83-7A4C-A2BA-9665E7E64E86}"/>
              </a:ext>
            </a:extLst>
          </p:cNvPr>
          <p:cNvSpPr txBox="1"/>
          <p:nvPr/>
        </p:nvSpPr>
        <p:spPr>
          <a:xfrm>
            <a:off x="8555365" y="2076860"/>
            <a:ext cx="3371033"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Development of reporting module need high priority</a:t>
            </a:r>
          </a:p>
        </p:txBody>
      </p:sp>
      <p:sp>
        <p:nvSpPr>
          <p:cNvPr id="145" name="TextBox 144">
            <a:extLst>
              <a:ext uri="{FF2B5EF4-FFF2-40B4-BE49-F238E27FC236}">
                <a16:creationId xmlns:a16="http://schemas.microsoft.com/office/drawing/2014/main" id="{93B024FC-9A01-B34E-ACD1-2A2BA04C993A}"/>
              </a:ext>
            </a:extLst>
          </p:cNvPr>
          <p:cNvSpPr txBox="1"/>
          <p:nvPr/>
        </p:nvSpPr>
        <p:spPr>
          <a:xfrm>
            <a:off x="8542433" y="5675612"/>
            <a:ext cx="3371033"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Couldn’t receive information due to fact that neither plan nor any planning is done</a:t>
            </a:r>
          </a:p>
        </p:txBody>
      </p:sp>
    </p:spTree>
    <p:extLst>
      <p:ext uri="{BB962C8B-B14F-4D97-AF65-F5344CB8AC3E}">
        <p14:creationId xmlns:p14="http://schemas.microsoft.com/office/powerpoint/2010/main" val="3694972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Old Projects Portfolio (2/2)</a:t>
            </a:r>
            <a:endParaRPr lang="x-none"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183038" y="1487584"/>
            <a:ext cx="1693775" cy="152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183038" y="1290780"/>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498562"/>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Duration</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327484"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268708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Delay/Roadblock/ </a:t>
            </a:r>
          </a:p>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1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20"/>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1"/>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2"/>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flipH="1">
            <a:off x="7829465" y="526118"/>
            <a:ext cx="219819" cy="219818"/>
          </a:xfrm>
          <a:prstGeom prst="rect">
            <a:avLst/>
          </a:prstGeom>
        </p:spPr>
      </p:pic>
      <p:sp>
        <p:nvSpPr>
          <p:cNvPr id="194" name="Овал 193">
            <a:extLst>
              <a:ext uri="{FF2B5EF4-FFF2-40B4-BE49-F238E27FC236}">
                <a16:creationId xmlns:a16="http://schemas.microsoft.com/office/drawing/2014/main" id="{B9D5A251-A028-894A-B773-26E187102071}"/>
              </a:ext>
            </a:extLst>
          </p:cNvPr>
          <p:cNvSpPr/>
          <p:nvPr/>
        </p:nvSpPr>
        <p:spPr>
          <a:xfrm flipH="1">
            <a:off x="8096066" y="1622615"/>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96" name="Овал 195">
            <a:extLst>
              <a:ext uri="{FF2B5EF4-FFF2-40B4-BE49-F238E27FC236}">
                <a16:creationId xmlns:a16="http://schemas.microsoft.com/office/drawing/2014/main" id="{C3C91B57-C80D-0E40-92F5-D783B3491597}"/>
              </a:ext>
            </a:extLst>
          </p:cNvPr>
          <p:cNvSpPr/>
          <p:nvPr/>
        </p:nvSpPr>
        <p:spPr>
          <a:xfrm flipH="1">
            <a:off x="8096066" y="2771967"/>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532356" y="145068"/>
            <a:ext cx="268467" cy="268467"/>
          </a:xfrm>
          <a:prstGeom prst="rect">
            <a:avLst/>
          </a:prstGeom>
        </p:spPr>
      </p:pic>
      <p:sp>
        <p:nvSpPr>
          <p:cNvPr id="4" name="Прямоугольник 3">
            <a:extLst>
              <a:ext uri="{FF2B5EF4-FFF2-40B4-BE49-F238E27FC236}">
                <a16:creationId xmlns:a16="http://schemas.microsoft.com/office/drawing/2014/main" id="{56730683-FB9E-3041-9A34-5BDFD60E331A}"/>
              </a:ext>
            </a:extLst>
          </p:cNvPr>
          <p:cNvSpPr/>
          <p:nvPr/>
        </p:nvSpPr>
        <p:spPr>
          <a:xfrm>
            <a:off x="265602" y="1624453"/>
            <a:ext cx="113845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Digital Branch</a:t>
            </a:r>
            <a:endParaRPr lang="x-none" sz="1200" dirty="0">
              <a:latin typeface="Arial" panose="020B0604020202020204" pitchFamily="34" charset="0"/>
              <a:cs typeface="Arial" panose="020B0604020202020204" pitchFamily="34" charset="0"/>
            </a:endParaRPr>
          </a:p>
        </p:txBody>
      </p:sp>
      <p:sp>
        <p:nvSpPr>
          <p:cNvPr id="59" name="Прямоугольник 58">
            <a:extLst>
              <a:ext uri="{FF2B5EF4-FFF2-40B4-BE49-F238E27FC236}">
                <a16:creationId xmlns:a16="http://schemas.microsoft.com/office/drawing/2014/main" id="{A18E05C2-521A-5E48-9661-883737D6D1CF}"/>
              </a:ext>
            </a:extLst>
          </p:cNvPr>
          <p:cNvSpPr/>
          <p:nvPr/>
        </p:nvSpPr>
        <p:spPr>
          <a:xfrm>
            <a:off x="265602" y="2156007"/>
            <a:ext cx="1019831"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Marketplace</a:t>
            </a:r>
            <a:endParaRPr lang="x-none" sz="1200" dirty="0">
              <a:latin typeface="Arial" panose="020B0604020202020204" pitchFamily="34" charset="0"/>
              <a:cs typeface="Arial" panose="020B0604020202020204" pitchFamily="34" charset="0"/>
            </a:endParaRPr>
          </a:p>
        </p:txBody>
      </p:sp>
      <p:sp>
        <p:nvSpPr>
          <p:cNvPr id="60" name="Прямоугольник 59">
            <a:extLst>
              <a:ext uri="{FF2B5EF4-FFF2-40B4-BE49-F238E27FC236}">
                <a16:creationId xmlns:a16="http://schemas.microsoft.com/office/drawing/2014/main" id="{827D9CE0-70E7-7844-8EE3-FE6EA9050BCC}"/>
              </a:ext>
            </a:extLst>
          </p:cNvPr>
          <p:cNvSpPr/>
          <p:nvPr/>
        </p:nvSpPr>
        <p:spPr>
          <a:xfrm>
            <a:off x="265602" y="2728765"/>
            <a:ext cx="1846980"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U</a:t>
            </a:r>
            <a:r>
              <a:rPr lang="en-US" sz="1200" dirty="0">
                <a:latin typeface="Arial" panose="020B0604020202020204" pitchFamily="34" charset="0"/>
                <a:cs typeface="Arial" panose="020B0604020202020204" pitchFamily="34" charset="0"/>
              </a:rPr>
              <a:t>’Loan (Payday) Project</a:t>
            </a:r>
          </a:p>
        </p:txBody>
      </p:sp>
      <p:sp>
        <p:nvSpPr>
          <p:cNvPr id="68" name="Прямоугольник 67">
            <a:extLst>
              <a:ext uri="{FF2B5EF4-FFF2-40B4-BE49-F238E27FC236}">
                <a16:creationId xmlns:a16="http://schemas.microsoft.com/office/drawing/2014/main" id="{1E87BCF8-903A-854D-9BFB-A8EBD2F900D3}"/>
              </a:ext>
            </a:extLst>
          </p:cNvPr>
          <p:cNvSpPr/>
          <p:nvPr/>
        </p:nvSpPr>
        <p:spPr>
          <a:xfrm>
            <a:off x="3118961" y="1643387"/>
            <a:ext cx="1013419" cy="276999"/>
          </a:xfrm>
          <a:prstGeom prst="rect">
            <a:avLst/>
          </a:prstGeom>
        </p:spPr>
        <p:txBody>
          <a:bodyPr wrap="none">
            <a:spAutoFit/>
          </a:bodyPr>
          <a:lstStyle/>
          <a:p>
            <a:r>
              <a:rPr lang="az-Latn-AZ" sz="1200" dirty="0">
                <a:latin typeface="Arial" panose="020B0604020202020204" pitchFamily="34" charset="0"/>
                <a:cs typeface="Arial" panose="020B0604020202020204" pitchFamily="34" charset="0"/>
              </a:rPr>
              <a:t>İgor Okayev</a:t>
            </a:r>
            <a:endParaRPr lang="x-none" sz="1200" dirty="0">
              <a:latin typeface="Arial" panose="020B0604020202020204" pitchFamily="34" charset="0"/>
              <a:cs typeface="Arial" panose="020B0604020202020204" pitchFamily="34" charset="0"/>
            </a:endParaRPr>
          </a:p>
        </p:txBody>
      </p:sp>
      <p:sp>
        <p:nvSpPr>
          <p:cNvPr id="69" name="Прямоугольник 68">
            <a:extLst>
              <a:ext uri="{FF2B5EF4-FFF2-40B4-BE49-F238E27FC236}">
                <a16:creationId xmlns:a16="http://schemas.microsoft.com/office/drawing/2014/main" id="{C8A12CDF-F312-D74B-9EA3-BD620162D1CC}"/>
              </a:ext>
            </a:extLst>
          </p:cNvPr>
          <p:cNvSpPr/>
          <p:nvPr/>
        </p:nvSpPr>
        <p:spPr>
          <a:xfrm>
            <a:off x="3118961" y="2174941"/>
            <a:ext cx="101341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Igor </a:t>
            </a:r>
            <a:r>
              <a:rPr lang="en-US" sz="1200" dirty="0" err="1">
                <a:latin typeface="Arial" panose="020B0604020202020204" pitchFamily="34" charset="0"/>
                <a:cs typeface="Arial" panose="020B0604020202020204" pitchFamily="34" charset="0"/>
              </a:rPr>
              <a:t>Okayev</a:t>
            </a:r>
            <a:endParaRPr lang="x-none" sz="1200" dirty="0">
              <a:latin typeface="Arial" panose="020B0604020202020204" pitchFamily="34" charset="0"/>
              <a:cs typeface="Arial" panose="020B0604020202020204" pitchFamily="34" charset="0"/>
            </a:endParaRPr>
          </a:p>
        </p:txBody>
      </p:sp>
      <p:sp>
        <p:nvSpPr>
          <p:cNvPr id="70" name="Прямоугольник 69">
            <a:extLst>
              <a:ext uri="{FF2B5EF4-FFF2-40B4-BE49-F238E27FC236}">
                <a16:creationId xmlns:a16="http://schemas.microsoft.com/office/drawing/2014/main" id="{77BB63CB-BC3F-A745-8B20-F9EE19E3BCF1}"/>
              </a:ext>
            </a:extLst>
          </p:cNvPr>
          <p:cNvSpPr/>
          <p:nvPr/>
        </p:nvSpPr>
        <p:spPr>
          <a:xfrm>
            <a:off x="3118961" y="2747699"/>
            <a:ext cx="122661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imov</a:t>
            </a:r>
            <a:endParaRPr lang="x-none" sz="1200" dirty="0">
              <a:latin typeface="Arial" panose="020B0604020202020204" pitchFamily="34" charset="0"/>
              <a:cs typeface="Arial" panose="020B0604020202020204" pitchFamily="34" charset="0"/>
            </a:endParaRPr>
          </a:p>
        </p:txBody>
      </p:sp>
      <p:sp>
        <p:nvSpPr>
          <p:cNvPr id="88" name="Прямоугольник 87">
            <a:extLst>
              <a:ext uri="{FF2B5EF4-FFF2-40B4-BE49-F238E27FC236}">
                <a16:creationId xmlns:a16="http://schemas.microsoft.com/office/drawing/2014/main" id="{FCFB9C44-D9CA-CF47-B333-DCE726993DBD}"/>
              </a:ext>
            </a:extLst>
          </p:cNvPr>
          <p:cNvSpPr/>
          <p:nvPr/>
        </p:nvSpPr>
        <p:spPr>
          <a:xfrm>
            <a:off x="4911519" y="1538747"/>
            <a:ext cx="1274708" cy="461665"/>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Heyba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adirov</a:t>
            </a:r>
            <a:endParaRPr lang="en-US" sz="1200" dirty="0">
              <a:latin typeface="Arial" panose="020B0604020202020204" pitchFamily="34" charset="0"/>
              <a:cs typeface="Arial" panose="020B0604020202020204" pitchFamily="34" charset="0"/>
            </a:endParaRPr>
          </a:p>
          <a:p>
            <a:r>
              <a:rPr lang="en-US" sz="1200" dirty="0" err="1">
                <a:latin typeface="Arial" panose="020B0604020202020204" pitchFamily="34" charset="0"/>
                <a:cs typeface="Arial" panose="020B0604020202020204" pitchFamily="34" charset="0"/>
              </a:rPr>
              <a:t>Elchi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Jabbarov</a:t>
            </a:r>
            <a:endParaRPr lang="x-none" sz="1200" dirty="0">
              <a:latin typeface="Arial" panose="020B0604020202020204" pitchFamily="34" charset="0"/>
              <a:cs typeface="Arial" panose="020B0604020202020204" pitchFamily="34" charset="0"/>
            </a:endParaRPr>
          </a:p>
        </p:txBody>
      </p:sp>
      <p:sp>
        <p:nvSpPr>
          <p:cNvPr id="89" name="Прямоугольник 88">
            <a:extLst>
              <a:ext uri="{FF2B5EF4-FFF2-40B4-BE49-F238E27FC236}">
                <a16:creationId xmlns:a16="http://schemas.microsoft.com/office/drawing/2014/main" id="{756F98C2-34FD-7249-A338-32C8B0FB29E4}"/>
              </a:ext>
            </a:extLst>
          </p:cNvPr>
          <p:cNvSpPr/>
          <p:nvPr/>
        </p:nvSpPr>
        <p:spPr>
          <a:xfrm>
            <a:off x="4911519" y="2163769"/>
            <a:ext cx="122661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attar </a:t>
            </a:r>
            <a:r>
              <a:rPr lang="en-US" sz="1200" dirty="0" err="1">
                <a:latin typeface="Arial" panose="020B0604020202020204" pitchFamily="34" charset="0"/>
                <a:cs typeface="Arial" panose="020B0604020202020204" pitchFamily="34" charset="0"/>
              </a:rPr>
              <a:t>Kazimov</a:t>
            </a:r>
            <a:endParaRPr lang="x-none" sz="1200" dirty="0">
              <a:latin typeface="Arial" panose="020B0604020202020204" pitchFamily="34" charset="0"/>
              <a:cs typeface="Arial" panose="020B0604020202020204" pitchFamily="34" charset="0"/>
            </a:endParaRPr>
          </a:p>
        </p:txBody>
      </p:sp>
      <p:sp>
        <p:nvSpPr>
          <p:cNvPr id="90" name="Прямоугольник 89">
            <a:extLst>
              <a:ext uri="{FF2B5EF4-FFF2-40B4-BE49-F238E27FC236}">
                <a16:creationId xmlns:a16="http://schemas.microsoft.com/office/drawing/2014/main" id="{97D1004D-5595-7140-9914-249B6AE01AD1}"/>
              </a:ext>
            </a:extLst>
          </p:cNvPr>
          <p:cNvSpPr/>
          <p:nvPr/>
        </p:nvSpPr>
        <p:spPr>
          <a:xfrm>
            <a:off x="4911519" y="2736527"/>
            <a:ext cx="944041" cy="276999"/>
          </a:xfrm>
          <a:prstGeom prst="rect">
            <a:avLst/>
          </a:prstGeom>
        </p:spPr>
        <p:txBody>
          <a:bodyPr wrap="none">
            <a:spAutoFit/>
          </a:bodyPr>
          <a:lstStyle/>
          <a:p>
            <a:r>
              <a:rPr lang="en-US" sz="1200" dirty="0" err="1">
                <a:latin typeface="Arial" panose="020B0604020202020204" pitchFamily="34" charset="0"/>
                <a:cs typeface="Arial" panose="020B0604020202020204" pitchFamily="34" charset="0"/>
              </a:rPr>
              <a:t>Zaur</a:t>
            </a:r>
            <a:r>
              <a:rPr lang="en-US" sz="1200" dirty="0">
                <a:latin typeface="Arial" panose="020B0604020202020204" pitchFamily="34" charset="0"/>
                <a:cs typeface="Arial" panose="020B0604020202020204" pitchFamily="34" charset="0"/>
              </a:rPr>
              <a:t> Aliyev</a:t>
            </a:r>
          </a:p>
        </p:txBody>
      </p:sp>
      <p:sp>
        <p:nvSpPr>
          <p:cNvPr id="3" name="Rectangle 2"/>
          <p:cNvSpPr/>
          <p:nvPr/>
        </p:nvSpPr>
        <p:spPr>
          <a:xfrm>
            <a:off x="8606118" y="2071435"/>
            <a:ext cx="3371033" cy="430887"/>
          </a:xfrm>
          <a:prstGeom prst="rect">
            <a:avLst/>
          </a:prstGeom>
        </p:spPr>
        <p:txBody>
          <a:bodyPr wrap="square">
            <a:spAutoFit/>
          </a:bodyPr>
          <a:lstStyle/>
          <a:p>
            <a:r>
              <a:rPr lang="en-US" sz="1100" dirty="0">
                <a:latin typeface="Arial" panose="020B0604020202020204" pitchFamily="34" charset="0"/>
                <a:cs typeface="Arial" panose="020B0604020202020204" pitchFamily="34" charset="0"/>
              </a:rPr>
              <a:t>Business case/Financial Model have been presented, waiting for comments from stakeholders</a:t>
            </a:r>
          </a:p>
        </p:txBody>
      </p:sp>
      <p:sp>
        <p:nvSpPr>
          <p:cNvPr id="93" name="TextBox 92"/>
          <p:cNvSpPr txBox="1"/>
          <p:nvPr/>
        </p:nvSpPr>
        <p:spPr>
          <a:xfrm>
            <a:off x="8606118" y="2743531"/>
            <a:ext cx="33710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Pre-project stage</a:t>
            </a:r>
          </a:p>
        </p:txBody>
      </p:sp>
      <p:sp>
        <p:nvSpPr>
          <p:cNvPr id="94" name="Прямоугольник 91">
            <a:extLst>
              <a:ext uri="{FF2B5EF4-FFF2-40B4-BE49-F238E27FC236}">
                <a16:creationId xmlns:a16="http://schemas.microsoft.com/office/drawing/2014/main" id="{22D2AF71-D629-6C49-AAF6-294228EA9796}"/>
              </a:ext>
            </a:extLst>
          </p:cNvPr>
          <p:cNvSpPr/>
          <p:nvPr/>
        </p:nvSpPr>
        <p:spPr>
          <a:xfrm>
            <a:off x="6502867" y="1545222"/>
            <a:ext cx="824617"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February</a:t>
            </a:r>
          </a:p>
          <a:p>
            <a:r>
              <a:rPr lang="en-US" sz="1200" dirty="0">
                <a:latin typeface="Arial" panose="020B0604020202020204" pitchFamily="34" charset="0"/>
                <a:cs typeface="Arial" panose="020B0604020202020204" pitchFamily="34" charset="0"/>
              </a:rPr>
              <a:t>2020</a:t>
            </a:r>
            <a:endParaRPr lang="x-none" sz="1200" dirty="0">
              <a:latin typeface="Arial" panose="020B0604020202020204" pitchFamily="34" charset="0"/>
              <a:cs typeface="Arial" panose="020B0604020202020204" pitchFamily="34" charset="0"/>
            </a:endParaRPr>
          </a:p>
        </p:txBody>
      </p:sp>
      <p:pic>
        <p:nvPicPr>
          <p:cNvPr id="62" name="CustomIcon">
            <a:extLst>
              <a:ext uri="{FF2B5EF4-FFF2-40B4-BE49-F238E27FC236}">
                <a16:creationId xmlns:a16="http://schemas.microsoft.com/office/drawing/2014/main" id="{76C406DE-4A27-E349-A2F3-67B8EEACF8A4}"/>
              </a:ext>
            </a:extLst>
          </p:cNvPr>
          <p:cNvPicPr>
            <a:picLocks/>
          </p:cNvPicPr>
          <p:nvPr>
            <p:custDataLst>
              <p:tags r:id="rId12"/>
            </p:custDataLst>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8082324" y="2163769"/>
            <a:ext cx="219819" cy="219818"/>
          </a:xfrm>
          <a:prstGeom prst="rect">
            <a:avLst/>
          </a:prstGeom>
        </p:spPr>
      </p:pic>
    </p:spTree>
    <p:extLst>
      <p:ext uri="{BB962C8B-B14F-4D97-AF65-F5344CB8AC3E}">
        <p14:creationId xmlns:p14="http://schemas.microsoft.com/office/powerpoint/2010/main" val="3451017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65602" y="66923"/>
            <a:ext cx="10515600" cy="1325563"/>
          </a:xfrm>
        </p:spPr>
        <p:txBody>
          <a:bodyPr/>
          <a:lstStyle/>
          <a:p>
            <a:r>
              <a:rPr lang="en-US" sz="3600" dirty="0">
                <a:latin typeface="Arial" panose="020B0604020202020204" pitchFamily="34" charset="0"/>
                <a:cs typeface="Arial" panose="020B0604020202020204" pitchFamily="34" charset="0"/>
              </a:rPr>
              <a:t>Overview</a:t>
            </a:r>
            <a:br>
              <a:rPr lang="en-US"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New Projects Portfolio</a:t>
            </a:r>
            <a:endParaRPr lang="x-none" dirty="0">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31FADEBC-AAD4-3C4C-86C8-03840F22BA9F}"/>
              </a:ext>
            </a:extLst>
          </p:cNvPr>
          <p:cNvSpPr txBox="1">
            <a:spLocks/>
          </p:cNvSpPr>
          <p:nvPr/>
        </p:nvSpPr>
        <p:spPr>
          <a:xfrm>
            <a:off x="368345" y="1301046"/>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a:t>
            </a:r>
          </a:p>
        </p:txBody>
      </p:sp>
      <p:cxnSp>
        <p:nvCxnSpPr>
          <p:cNvPr id="113" name="Straight Connector 300">
            <a:extLst>
              <a:ext uri="{FF2B5EF4-FFF2-40B4-BE49-F238E27FC236}">
                <a16:creationId xmlns:a16="http://schemas.microsoft.com/office/drawing/2014/main" id="{C0BFA5D1-26BE-5548-B9CC-2BB1B1111D85}"/>
              </a:ext>
            </a:extLst>
          </p:cNvPr>
          <p:cNvCxnSpPr>
            <a:cxnSpLocks/>
          </p:cNvCxnSpPr>
          <p:nvPr>
            <p:custDataLst>
              <p:tags r:id="rId1"/>
            </p:custDataLst>
          </p:nvPr>
        </p:nvCxnSpPr>
        <p:spPr bwMode="gray">
          <a:xfrm>
            <a:off x="3183038" y="1487584"/>
            <a:ext cx="1693775" cy="152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320FA4F-E3A5-7644-A13D-95CB7E41CCDF}"/>
              </a:ext>
            </a:extLst>
          </p:cNvPr>
          <p:cNvSpPr txBox="1">
            <a:spLocks/>
          </p:cNvSpPr>
          <p:nvPr/>
        </p:nvSpPr>
        <p:spPr>
          <a:xfrm>
            <a:off x="3183038" y="1290780"/>
            <a:ext cx="852119"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Sponsor </a:t>
            </a:r>
          </a:p>
        </p:txBody>
      </p:sp>
      <p:cxnSp>
        <p:nvCxnSpPr>
          <p:cNvPr id="115" name="Straight Connector 303">
            <a:extLst>
              <a:ext uri="{FF2B5EF4-FFF2-40B4-BE49-F238E27FC236}">
                <a16:creationId xmlns:a16="http://schemas.microsoft.com/office/drawing/2014/main" id="{56B1E190-1B42-FD4F-B0B5-43D7D025BFBF}"/>
              </a:ext>
            </a:extLst>
          </p:cNvPr>
          <p:cNvCxnSpPr>
            <a:cxnSpLocks/>
          </p:cNvCxnSpPr>
          <p:nvPr>
            <p:custDataLst>
              <p:tags r:id="rId2"/>
            </p:custDataLst>
          </p:nvPr>
        </p:nvCxnSpPr>
        <p:spPr bwMode="gray">
          <a:xfrm>
            <a:off x="6585006" y="1509579"/>
            <a:ext cx="57762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4092AA0-1733-7549-B696-89FBAB1BE8D5}"/>
              </a:ext>
            </a:extLst>
          </p:cNvPr>
          <p:cNvSpPr txBox="1">
            <a:spLocks/>
          </p:cNvSpPr>
          <p:nvPr/>
        </p:nvSpPr>
        <p:spPr>
          <a:xfrm>
            <a:off x="6585008" y="1289471"/>
            <a:ext cx="657165" cy="205968"/>
          </a:xfrm>
          <a:prstGeom prst="rect">
            <a:avLst/>
          </a:prstGeom>
          <a:ln>
            <a:noFill/>
          </a:ln>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rted</a:t>
            </a:r>
          </a:p>
        </p:txBody>
      </p:sp>
      <p:sp>
        <p:nvSpPr>
          <p:cNvPr id="117" name="TextBox 116">
            <a:extLst>
              <a:ext uri="{FF2B5EF4-FFF2-40B4-BE49-F238E27FC236}">
                <a16:creationId xmlns:a16="http://schemas.microsoft.com/office/drawing/2014/main" id="{DA2DC37C-CA8C-2545-B31A-54CAFEC87532}"/>
              </a:ext>
            </a:extLst>
          </p:cNvPr>
          <p:cNvSpPr txBox="1">
            <a:spLocks/>
          </p:cNvSpPr>
          <p:nvPr/>
        </p:nvSpPr>
        <p:spPr>
          <a:xfrm>
            <a:off x="7327484" y="1205941"/>
            <a:ext cx="511421" cy="27798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Estimated</a:t>
            </a:r>
          </a:p>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Duration</a:t>
            </a:r>
          </a:p>
        </p:txBody>
      </p:sp>
      <p:cxnSp>
        <p:nvCxnSpPr>
          <p:cNvPr id="118" name="Straight Connector 307">
            <a:extLst>
              <a:ext uri="{FF2B5EF4-FFF2-40B4-BE49-F238E27FC236}">
                <a16:creationId xmlns:a16="http://schemas.microsoft.com/office/drawing/2014/main" id="{D55AC3A7-FABB-384A-A3C0-BBD20C249E66}"/>
              </a:ext>
            </a:extLst>
          </p:cNvPr>
          <p:cNvCxnSpPr>
            <a:cxnSpLocks/>
          </p:cNvCxnSpPr>
          <p:nvPr>
            <p:custDataLst>
              <p:tags r:id="rId3"/>
            </p:custDataLst>
          </p:nvPr>
        </p:nvCxnSpPr>
        <p:spPr bwMode="gray">
          <a:xfrm>
            <a:off x="7327484" y="1498562"/>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2289DC1-4D1C-0C4D-A4B2-A79A7154E833}"/>
              </a:ext>
            </a:extLst>
          </p:cNvPr>
          <p:cNvSpPr txBox="1">
            <a:spLocks/>
          </p:cNvSpPr>
          <p:nvPr/>
        </p:nvSpPr>
        <p:spPr>
          <a:xfrm>
            <a:off x="2438400" y="1301046"/>
            <a:ext cx="3657600" cy="182880"/>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endPar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endParaRPr>
          </a:p>
        </p:txBody>
      </p:sp>
      <p:cxnSp>
        <p:nvCxnSpPr>
          <p:cNvPr id="120" name="Straight Connector 98">
            <a:extLst>
              <a:ext uri="{FF2B5EF4-FFF2-40B4-BE49-F238E27FC236}">
                <a16:creationId xmlns:a16="http://schemas.microsoft.com/office/drawing/2014/main" id="{34429665-A6E4-1441-A335-1F49B4366FB9}"/>
              </a:ext>
            </a:extLst>
          </p:cNvPr>
          <p:cNvCxnSpPr>
            <a:cxnSpLocks/>
          </p:cNvCxnSpPr>
          <p:nvPr>
            <p:custDataLst>
              <p:tags r:id="rId4"/>
            </p:custDataLst>
          </p:nvPr>
        </p:nvCxnSpPr>
        <p:spPr bwMode="gray">
          <a:xfrm>
            <a:off x="357060" y="1498562"/>
            <a:ext cx="268708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1" name="Straight Connector 99">
            <a:extLst>
              <a:ext uri="{FF2B5EF4-FFF2-40B4-BE49-F238E27FC236}">
                <a16:creationId xmlns:a16="http://schemas.microsoft.com/office/drawing/2014/main" id="{DCED96B7-EF49-F04F-BCF1-B061304F5BC4}"/>
              </a:ext>
            </a:extLst>
          </p:cNvPr>
          <p:cNvCxnSpPr>
            <a:cxnSpLocks/>
          </p:cNvCxnSpPr>
          <p:nvPr>
            <p:custDataLst>
              <p:tags r:id="rId5"/>
            </p:custDataLst>
          </p:nvPr>
        </p:nvCxnSpPr>
        <p:spPr bwMode="gray">
          <a:xfrm>
            <a:off x="4992313" y="1496068"/>
            <a:ext cx="1464718"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ED7C0DB-A0F7-1F4F-9B17-1CA208E4EE0A}"/>
              </a:ext>
            </a:extLst>
          </p:cNvPr>
          <p:cNvSpPr txBox="1">
            <a:spLocks/>
          </p:cNvSpPr>
          <p:nvPr/>
        </p:nvSpPr>
        <p:spPr>
          <a:xfrm>
            <a:off x="8013087" y="1165622"/>
            <a:ext cx="511421" cy="317737"/>
          </a:xfrm>
          <a:prstGeom prst="rect">
            <a:avLst/>
          </a:prstGeom>
        </p:spPr>
        <p:txBody>
          <a:bodyPr vert="horz" wrap="none"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Status</a:t>
            </a:r>
          </a:p>
        </p:txBody>
      </p:sp>
      <p:cxnSp>
        <p:nvCxnSpPr>
          <p:cNvPr id="123" name="Straight Connector 149">
            <a:extLst>
              <a:ext uri="{FF2B5EF4-FFF2-40B4-BE49-F238E27FC236}">
                <a16:creationId xmlns:a16="http://schemas.microsoft.com/office/drawing/2014/main" id="{0A0AB1C1-2EA2-444B-9F75-7106D45C0453}"/>
              </a:ext>
            </a:extLst>
          </p:cNvPr>
          <p:cNvCxnSpPr>
            <a:cxnSpLocks/>
          </p:cNvCxnSpPr>
          <p:nvPr>
            <p:custDataLst>
              <p:tags r:id="rId6"/>
            </p:custDataLst>
          </p:nvPr>
        </p:nvCxnSpPr>
        <p:spPr bwMode="gray">
          <a:xfrm>
            <a:off x="8013087" y="1497993"/>
            <a:ext cx="51142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259D84D6-4ACF-6440-8907-CCDB8B1B6454}"/>
              </a:ext>
            </a:extLst>
          </p:cNvPr>
          <p:cNvSpPr txBox="1">
            <a:spLocks/>
          </p:cNvSpPr>
          <p:nvPr/>
        </p:nvSpPr>
        <p:spPr>
          <a:xfrm>
            <a:off x="4992313" y="1304936"/>
            <a:ext cx="1451167" cy="182881"/>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Project Manager</a:t>
            </a:r>
          </a:p>
        </p:txBody>
      </p:sp>
      <p:cxnSp>
        <p:nvCxnSpPr>
          <p:cNvPr id="125" name="Straight Connector 99">
            <a:extLst>
              <a:ext uri="{FF2B5EF4-FFF2-40B4-BE49-F238E27FC236}">
                <a16:creationId xmlns:a16="http://schemas.microsoft.com/office/drawing/2014/main" id="{AA9C021B-0654-9A45-B1A4-3A223A7EA8E3}"/>
              </a:ext>
            </a:extLst>
          </p:cNvPr>
          <p:cNvCxnSpPr>
            <a:cxnSpLocks/>
          </p:cNvCxnSpPr>
          <p:nvPr>
            <p:custDataLst>
              <p:tags r:id="rId7"/>
            </p:custDataLst>
          </p:nvPr>
        </p:nvCxnSpPr>
        <p:spPr bwMode="gray">
          <a:xfrm>
            <a:off x="8655063" y="1490462"/>
            <a:ext cx="3191677"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68BB6BA7-76DE-AD45-B2E0-8472E04AA795}"/>
              </a:ext>
            </a:extLst>
          </p:cNvPr>
          <p:cNvSpPr txBox="1">
            <a:spLocks/>
          </p:cNvSpPr>
          <p:nvPr/>
        </p:nvSpPr>
        <p:spPr>
          <a:xfrm>
            <a:off x="8655063" y="1280804"/>
            <a:ext cx="841248" cy="182880"/>
          </a:xfrm>
          <a:prstGeom prst="rect">
            <a:avLst/>
          </a:prstGeom>
        </p:spPr>
        <p:txBody>
          <a:bodyPr vert="horz" lIns="0" tIns="0" rIns="0" bIns="18658" rtlCol="0" anchor="b" anchorCtr="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marL="0" marR="0" lvl="0" indent="0" algn="l" defTabSz="913489" rtl="0" eaLnBrk="1" fontAlgn="auto" latinLnBrk="0" hangingPunct="1">
              <a:lnSpc>
                <a:spcPct val="100000"/>
              </a:lnSpc>
              <a:spcBef>
                <a:spcPts val="0"/>
              </a:spcBef>
              <a:spcAft>
                <a:spcPts val="0"/>
              </a:spcAft>
              <a:buClr>
                <a:srgbClr val="002960"/>
              </a:buClr>
              <a:buSzPct val="100000"/>
              <a:buFontTx/>
              <a:buNone/>
              <a:tabLst/>
              <a:defRPr/>
            </a:pPr>
            <a:r>
              <a:rPr kumimoji="0" lang="en-US" sz="1000" b="1" i="0" u="none" strike="noStrike" kern="1200" cap="none" spc="0" normalizeH="0" baseline="0" noProof="0" dirty="0">
                <a:ln>
                  <a:noFill/>
                </a:ln>
                <a:solidFill>
                  <a:srgbClr val="FF4300"/>
                </a:solidFill>
                <a:effectLst/>
                <a:uLnTx/>
                <a:uFillTx/>
                <a:latin typeface="Arial" panose="020B0604020202020204" pitchFamily="34" charset="0"/>
                <a:cs typeface="Arial" panose="020B0604020202020204" pitchFamily="34" charset="0"/>
              </a:rPr>
              <a:t>Comments</a:t>
            </a:r>
          </a:p>
        </p:txBody>
      </p:sp>
      <p:cxnSp>
        <p:nvCxnSpPr>
          <p:cNvPr id="131" name="Straight Connector 297">
            <a:extLst>
              <a:ext uri="{FF2B5EF4-FFF2-40B4-BE49-F238E27FC236}">
                <a16:creationId xmlns:a16="http://schemas.microsoft.com/office/drawing/2014/main" id="{41B2C1B3-270B-C64C-972B-652436C27D0C}"/>
              </a:ext>
            </a:extLst>
          </p:cNvPr>
          <p:cNvCxnSpPr>
            <a:cxnSpLocks/>
          </p:cNvCxnSpPr>
          <p:nvPr/>
        </p:nvCxnSpPr>
        <p:spPr>
          <a:xfrm>
            <a:off x="357060" y="2025750"/>
            <a:ext cx="11489680" cy="0"/>
          </a:xfrm>
          <a:prstGeom prst="line">
            <a:avLst/>
          </a:prstGeom>
          <a:noFill/>
          <a:ln w="9525" cap="flat" cmpd="sng" algn="ctr">
            <a:solidFill>
              <a:srgbClr val="808080"/>
            </a:solidFill>
            <a:prstDash val="sysDot"/>
          </a:ln>
          <a:effectLst/>
        </p:spPr>
      </p:cxnSp>
      <p:cxnSp>
        <p:nvCxnSpPr>
          <p:cNvPr id="133" name="Straight Connector 297">
            <a:extLst>
              <a:ext uri="{FF2B5EF4-FFF2-40B4-BE49-F238E27FC236}">
                <a16:creationId xmlns:a16="http://schemas.microsoft.com/office/drawing/2014/main" id="{F2442CEC-A02E-704F-8285-1C1DF87C3EA0}"/>
              </a:ext>
            </a:extLst>
          </p:cNvPr>
          <p:cNvCxnSpPr>
            <a:cxnSpLocks/>
          </p:cNvCxnSpPr>
          <p:nvPr/>
        </p:nvCxnSpPr>
        <p:spPr>
          <a:xfrm>
            <a:off x="351160" y="2562464"/>
            <a:ext cx="11489680" cy="0"/>
          </a:xfrm>
          <a:prstGeom prst="line">
            <a:avLst/>
          </a:prstGeom>
          <a:noFill/>
          <a:ln w="9525" cap="flat" cmpd="sng" algn="ctr">
            <a:solidFill>
              <a:srgbClr val="808080"/>
            </a:solidFill>
            <a:prstDash val="sysDot"/>
          </a:ln>
          <a:effectLst/>
        </p:spPr>
      </p:cxnSp>
      <p:cxnSp>
        <p:nvCxnSpPr>
          <p:cNvPr id="134" name="Straight Connector 297">
            <a:extLst>
              <a:ext uri="{FF2B5EF4-FFF2-40B4-BE49-F238E27FC236}">
                <a16:creationId xmlns:a16="http://schemas.microsoft.com/office/drawing/2014/main" id="{414E09A7-8C94-494F-9450-EC4360C87E59}"/>
              </a:ext>
            </a:extLst>
          </p:cNvPr>
          <p:cNvCxnSpPr>
            <a:cxnSpLocks/>
          </p:cNvCxnSpPr>
          <p:nvPr/>
        </p:nvCxnSpPr>
        <p:spPr>
          <a:xfrm>
            <a:off x="351160" y="3178690"/>
            <a:ext cx="11489680" cy="0"/>
          </a:xfrm>
          <a:prstGeom prst="line">
            <a:avLst/>
          </a:prstGeom>
          <a:noFill/>
          <a:ln w="9525" cap="flat" cmpd="sng" algn="ctr">
            <a:solidFill>
              <a:srgbClr val="808080"/>
            </a:solidFill>
            <a:prstDash val="sysDot"/>
          </a:ln>
          <a:effectLst/>
        </p:spPr>
      </p:cxnSp>
      <p:cxnSp>
        <p:nvCxnSpPr>
          <p:cNvPr id="135" name="Straight Connector 297">
            <a:extLst>
              <a:ext uri="{FF2B5EF4-FFF2-40B4-BE49-F238E27FC236}">
                <a16:creationId xmlns:a16="http://schemas.microsoft.com/office/drawing/2014/main" id="{DC948F62-FE2B-FA4E-AE07-ED4C2A7103FF}"/>
              </a:ext>
            </a:extLst>
          </p:cNvPr>
          <p:cNvCxnSpPr>
            <a:cxnSpLocks/>
          </p:cNvCxnSpPr>
          <p:nvPr/>
        </p:nvCxnSpPr>
        <p:spPr>
          <a:xfrm>
            <a:off x="368345" y="3788290"/>
            <a:ext cx="11489680" cy="0"/>
          </a:xfrm>
          <a:prstGeom prst="line">
            <a:avLst/>
          </a:prstGeom>
          <a:noFill/>
          <a:ln w="9525" cap="flat" cmpd="sng" algn="ctr">
            <a:solidFill>
              <a:srgbClr val="808080"/>
            </a:solidFill>
            <a:prstDash val="sysDot"/>
          </a:ln>
          <a:effectLst/>
        </p:spPr>
      </p:cxnSp>
      <p:cxnSp>
        <p:nvCxnSpPr>
          <p:cNvPr id="136" name="Straight Connector 297">
            <a:extLst>
              <a:ext uri="{FF2B5EF4-FFF2-40B4-BE49-F238E27FC236}">
                <a16:creationId xmlns:a16="http://schemas.microsoft.com/office/drawing/2014/main" id="{7E2A64D8-EB45-4241-8DB2-D793D895A405}"/>
              </a:ext>
            </a:extLst>
          </p:cNvPr>
          <p:cNvCxnSpPr>
            <a:cxnSpLocks/>
          </p:cNvCxnSpPr>
          <p:nvPr/>
        </p:nvCxnSpPr>
        <p:spPr>
          <a:xfrm>
            <a:off x="388467" y="4371385"/>
            <a:ext cx="11489680" cy="0"/>
          </a:xfrm>
          <a:prstGeom prst="line">
            <a:avLst/>
          </a:prstGeom>
          <a:noFill/>
          <a:ln w="9525" cap="flat" cmpd="sng" algn="ctr">
            <a:solidFill>
              <a:srgbClr val="808080"/>
            </a:solidFill>
            <a:prstDash val="sysDot"/>
          </a:ln>
          <a:effectLst/>
        </p:spPr>
      </p:cxnSp>
      <p:cxnSp>
        <p:nvCxnSpPr>
          <p:cNvPr id="137" name="Straight Connector 297">
            <a:extLst>
              <a:ext uri="{FF2B5EF4-FFF2-40B4-BE49-F238E27FC236}">
                <a16:creationId xmlns:a16="http://schemas.microsoft.com/office/drawing/2014/main" id="{D61E2D48-4124-3744-A292-44036336F06B}"/>
              </a:ext>
            </a:extLst>
          </p:cNvPr>
          <p:cNvCxnSpPr>
            <a:cxnSpLocks/>
          </p:cNvCxnSpPr>
          <p:nvPr/>
        </p:nvCxnSpPr>
        <p:spPr>
          <a:xfrm>
            <a:off x="368345" y="4980985"/>
            <a:ext cx="11489680" cy="0"/>
          </a:xfrm>
          <a:prstGeom prst="line">
            <a:avLst/>
          </a:prstGeom>
          <a:noFill/>
          <a:ln w="9525" cap="flat" cmpd="sng" algn="ctr">
            <a:solidFill>
              <a:srgbClr val="808080"/>
            </a:solidFill>
            <a:prstDash val="sysDot"/>
          </a:ln>
          <a:effectLst/>
        </p:spPr>
      </p:cxnSp>
      <p:cxnSp>
        <p:nvCxnSpPr>
          <p:cNvPr id="138" name="Straight Connector 297">
            <a:extLst>
              <a:ext uri="{FF2B5EF4-FFF2-40B4-BE49-F238E27FC236}">
                <a16:creationId xmlns:a16="http://schemas.microsoft.com/office/drawing/2014/main" id="{002FD416-2DB7-954B-AFFA-3275FBD28F08}"/>
              </a:ext>
            </a:extLst>
          </p:cNvPr>
          <p:cNvCxnSpPr>
            <a:cxnSpLocks/>
          </p:cNvCxnSpPr>
          <p:nvPr/>
        </p:nvCxnSpPr>
        <p:spPr>
          <a:xfrm>
            <a:off x="351160" y="5590585"/>
            <a:ext cx="11489680" cy="0"/>
          </a:xfrm>
          <a:prstGeom prst="line">
            <a:avLst/>
          </a:prstGeom>
          <a:noFill/>
          <a:ln w="9525" cap="flat" cmpd="sng" algn="ctr">
            <a:solidFill>
              <a:srgbClr val="808080"/>
            </a:solidFill>
            <a:prstDash val="sysDot"/>
          </a:ln>
          <a:effectLst/>
        </p:spPr>
      </p:cxnSp>
      <p:cxnSp>
        <p:nvCxnSpPr>
          <p:cNvPr id="139" name="Straight Connector 297">
            <a:extLst>
              <a:ext uri="{FF2B5EF4-FFF2-40B4-BE49-F238E27FC236}">
                <a16:creationId xmlns:a16="http://schemas.microsoft.com/office/drawing/2014/main" id="{5A8A02A8-1D0B-004D-B73F-884063B0C947}"/>
              </a:ext>
            </a:extLst>
          </p:cNvPr>
          <p:cNvCxnSpPr>
            <a:cxnSpLocks/>
          </p:cNvCxnSpPr>
          <p:nvPr/>
        </p:nvCxnSpPr>
        <p:spPr>
          <a:xfrm>
            <a:off x="351160" y="6200185"/>
            <a:ext cx="11489680" cy="0"/>
          </a:xfrm>
          <a:prstGeom prst="line">
            <a:avLst/>
          </a:prstGeom>
          <a:noFill/>
          <a:ln w="9525" cap="flat" cmpd="sng" algn="ctr">
            <a:solidFill>
              <a:srgbClr val="808080"/>
            </a:solidFill>
            <a:prstDash val="sysDot"/>
          </a:ln>
          <a:effectLst/>
        </p:spPr>
      </p:cxnSp>
      <p:pic>
        <p:nvPicPr>
          <p:cNvPr id="170" name="CustomIcon">
            <a:extLst>
              <a:ext uri="{FF2B5EF4-FFF2-40B4-BE49-F238E27FC236}">
                <a16:creationId xmlns:a16="http://schemas.microsoft.com/office/drawing/2014/main" id="{A2CCD88F-3E2D-E349-B8B6-61FFBD9BFD3F}"/>
              </a:ext>
            </a:extLst>
          </p:cNvPr>
          <p:cNvPicPr>
            <a:picLocks/>
          </p:cNvPicPr>
          <p:nvPr>
            <p:custDataLst>
              <p:tags r:id="rId8"/>
            </p:custDataLst>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flipH="1">
            <a:off x="9351704" y="200380"/>
            <a:ext cx="219819" cy="219818"/>
          </a:xfrm>
          <a:prstGeom prst="rect">
            <a:avLst/>
          </a:prstGeom>
        </p:spPr>
      </p:pic>
      <p:sp>
        <p:nvSpPr>
          <p:cNvPr id="171" name="TextBox 170">
            <a:extLst>
              <a:ext uri="{FF2B5EF4-FFF2-40B4-BE49-F238E27FC236}">
                <a16:creationId xmlns:a16="http://schemas.microsoft.com/office/drawing/2014/main" id="{82F914A3-61E5-E84F-8FE9-F833EE61F8D1}"/>
              </a:ext>
            </a:extLst>
          </p:cNvPr>
          <p:cNvSpPr txBox="1">
            <a:spLocks/>
          </p:cNvSpPr>
          <p:nvPr/>
        </p:nvSpPr>
        <p:spPr>
          <a:xfrm>
            <a:off x="9618127" y="255334"/>
            <a:ext cx="68812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ed/Ongoing</a:t>
            </a:r>
          </a:p>
        </p:txBody>
      </p:sp>
      <p:sp>
        <p:nvSpPr>
          <p:cNvPr id="172" name="TextBox 171">
            <a:extLst>
              <a:ext uri="{FF2B5EF4-FFF2-40B4-BE49-F238E27FC236}">
                <a16:creationId xmlns:a16="http://schemas.microsoft.com/office/drawing/2014/main" id="{C9A3B174-D6A2-E34A-87ED-00DB4C0FD273}"/>
              </a:ext>
            </a:extLst>
          </p:cNvPr>
          <p:cNvSpPr txBox="1">
            <a:spLocks/>
          </p:cNvSpPr>
          <p:nvPr/>
        </p:nvSpPr>
        <p:spPr>
          <a:xfrm>
            <a:off x="9618127" y="576951"/>
            <a:ext cx="68812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Completed</a:t>
            </a:r>
          </a:p>
        </p:txBody>
      </p:sp>
      <p:sp>
        <p:nvSpPr>
          <p:cNvPr id="173" name="Tick2 6">
            <a:extLst>
              <a:ext uri="{FF2B5EF4-FFF2-40B4-BE49-F238E27FC236}">
                <a16:creationId xmlns:a16="http://schemas.microsoft.com/office/drawing/2014/main" id="{C1648B56-249A-C048-8CB4-92DADB6C5EEB}"/>
              </a:ext>
            </a:extLst>
          </p:cNvPr>
          <p:cNvSpPr>
            <a:spLocks/>
          </p:cNvSpPr>
          <p:nvPr>
            <p:custDataLst>
              <p:tags r:id="rId9"/>
            </p:custDataLst>
          </p:nvPr>
        </p:nvSpPr>
        <p:spPr>
          <a:xfrm>
            <a:off x="9351704" y="521997"/>
            <a:ext cx="219819" cy="219818"/>
          </a:xfrm>
          <a:custGeom>
            <a:avLst/>
            <a:gdLst/>
            <a:ahLst/>
            <a:cxnLst/>
            <a:rect l="0" t="0" r="0" b="0"/>
            <a:pathLst>
              <a:path w="429015" h="407000">
                <a:moveTo>
                  <a:pt x="418148" y="0"/>
                </a:moveTo>
                <a:lnTo>
                  <a:pt x="418148" y="0"/>
                </a:lnTo>
                <a:lnTo>
                  <a:pt x="429014" y="15381"/>
                </a:lnTo>
                <a:lnTo>
                  <a:pt x="429014" y="15381"/>
                </a:lnTo>
                <a:lnTo>
                  <a:pt x="420687" y="21873"/>
                </a:lnTo>
                <a:lnTo>
                  <a:pt x="412360" y="28647"/>
                </a:lnTo>
                <a:lnTo>
                  <a:pt x="403613" y="36127"/>
                </a:lnTo>
                <a:lnTo>
                  <a:pt x="395003" y="43606"/>
                </a:lnTo>
                <a:lnTo>
                  <a:pt x="386113" y="51791"/>
                </a:lnTo>
                <a:lnTo>
                  <a:pt x="377222" y="60400"/>
                </a:lnTo>
                <a:lnTo>
                  <a:pt x="368331" y="69291"/>
                </a:lnTo>
                <a:lnTo>
                  <a:pt x="359158" y="78605"/>
                </a:lnTo>
                <a:lnTo>
                  <a:pt x="349845" y="88483"/>
                </a:lnTo>
                <a:lnTo>
                  <a:pt x="340530" y="98644"/>
                </a:lnTo>
                <a:lnTo>
                  <a:pt x="331075" y="109369"/>
                </a:lnTo>
                <a:lnTo>
                  <a:pt x="321337" y="120376"/>
                </a:lnTo>
                <a:lnTo>
                  <a:pt x="311741" y="131808"/>
                </a:lnTo>
                <a:lnTo>
                  <a:pt x="301863" y="143663"/>
                </a:lnTo>
                <a:lnTo>
                  <a:pt x="291702" y="156083"/>
                </a:lnTo>
                <a:lnTo>
                  <a:pt x="281682" y="168783"/>
                </a:lnTo>
                <a:lnTo>
                  <a:pt x="281682" y="168783"/>
                </a:lnTo>
                <a:lnTo>
                  <a:pt x="271803" y="181625"/>
                </a:lnTo>
                <a:lnTo>
                  <a:pt x="262207" y="194326"/>
                </a:lnTo>
                <a:lnTo>
                  <a:pt x="252609" y="207168"/>
                </a:lnTo>
                <a:lnTo>
                  <a:pt x="243718" y="219588"/>
                </a:lnTo>
                <a:lnTo>
                  <a:pt x="234829" y="232147"/>
                </a:lnTo>
                <a:lnTo>
                  <a:pt x="226502" y="244566"/>
                </a:lnTo>
                <a:lnTo>
                  <a:pt x="218176" y="256703"/>
                </a:lnTo>
                <a:lnTo>
                  <a:pt x="210273" y="268840"/>
                </a:lnTo>
                <a:lnTo>
                  <a:pt x="202794" y="280976"/>
                </a:lnTo>
                <a:lnTo>
                  <a:pt x="195456" y="292971"/>
                </a:lnTo>
                <a:lnTo>
                  <a:pt x="188540" y="304685"/>
                </a:lnTo>
                <a:lnTo>
                  <a:pt x="181907" y="316398"/>
                </a:lnTo>
                <a:lnTo>
                  <a:pt x="175416" y="327969"/>
                </a:lnTo>
                <a:lnTo>
                  <a:pt x="169348" y="339401"/>
                </a:lnTo>
                <a:lnTo>
                  <a:pt x="163703" y="350832"/>
                </a:lnTo>
                <a:lnTo>
                  <a:pt x="158058" y="362263"/>
                </a:lnTo>
                <a:lnTo>
                  <a:pt x="135196" y="377645"/>
                </a:lnTo>
                <a:lnTo>
                  <a:pt x="135196" y="377645"/>
                </a:lnTo>
                <a:lnTo>
                  <a:pt x="122071" y="386817"/>
                </a:lnTo>
                <a:lnTo>
                  <a:pt x="111205" y="394862"/>
                </a:lnTo>
                <a:lnTo>
                  <a:pt x="102738" y="401495"/>
                </a:lnTo>
                <a:lnTo>
                  <a:pt x="99351" y="404600"/>
                </a:lnTo>
                <a:lnTo>
                  <a:pt x="96387" y="406999"/>
                </a:lnTo>
                <a:lnTo>
                  <a:pt x="96387" y="406999"/>
                </a:lnTo>
                <a:lnTo>
                  <a:pt x="95258" y="403048"/>
                </a:lnTo>
                <a:lnTo>
                  <a:pt x="93988" y="398673"/>
                </a:lnTo>
                <a:lnTo>
                  <a:pt x="90178" y="387806"/>
                </a:lnTo>
                <a:lnTo>
                  <a:pt x="85096" y="374682"/>
                </a:lnTo>
                <a:lnTo>
                  <a:pt x="79028" y="359299"/>
                </a:lnTo>
                <a:lnTo>
                  <a:pt x="70279" y="339260"/>
                </a:lnTo>
                <a:lnTo>
                  <a:pt x="70279" y="339260"/>
                </a:lnTo>
                <a:lnTo>
                  <a:pt x="65622" y="328816"/>
                </a:lnTo>
                <a:lnTo>
                  <a:pt x="61106" y="319079"/>
                </a:lnTo>
                <a:lnTo>
                  <a:pt x="56590" y="310047"/>
                </a:lnTo>
                <a:lnTo>
                  <a:pt x="52357" y="301580"/>
                </a:lnTo>
                <a:lnTo>
                  <a:pt x="47982" y="294100"/>
                </a:lnTo>
                <a:lnTo>
                  <a:pt x="43889" y="287044"/>
                </a:lnTo>
                <a:lnTo>
                  <a:pt x="39656" y="280976"/>
                </a:lnTo>
                <a:lnTo>
                  <a:pt x="35704" y="275190"/>
                </a:lnTo>
                <a:lnTo>
                  <a:pt x="35704" y="275190"/>
                </a:lnTo>
                <a:lnTo>
                  <a:pt x="31753" y="270250"/>
                </a:lnTo>
                <a:lnTo>
                  <a:pt x="27518" y="266018"/>
                </a:lnTo>
                <a:lnTo>
                  <a:pt x="23144" y="261783"/>
                </a:lnTo>
                <a:lnTo>
                  <a:pt x="18769" y="258114"/>
                </a:lnTo>
                <a:lnTo>
                  <a:pt x="14253" y="255009"/>
                </a:lnTo>
                <a:lnTo>
                  <a:pt x="9737" y="252045"/>
                </a:lnTo>
                <a:lnTo>
                  <a:pt x="4939" y="249787"/>
                </a:lnTo>
                <a:lnTo>
                  <a:pt x="0" y="247953"/>
                </a:lnTo>
                <a:lnTo>
                  <a:pt x="0" y="247953"/>
                </a:lnTo>
                <a:lnTo>
                  <a:pt x="4234" y="243578"/>
                </a:lnTo>
                <a:lnTo>
                  <a:pt x="8326" y="239627"/>
                </a:lnTo>
                <a:lnTo>
                  <a:pt x="12279" y="235957"/>
                </a:lnTo>
                <a:lnTo>
                  <a:pt x="16370" y="232288"/>
                </a:lnTo>
                <a:lnTo>
                  <a:pt x="20322" y="229325"/>
                </a:lnTo>
                <a:lnTo>
                  <a:pt x="24273" y="226502"/>
                </a:lnTo>
                <a:lnTo>
                  <a:pt x="28084" y="223821"/>
                </a:lnTo>
                <a:lnTo>
                  <a:pt x="32034" y="221281"/>
                </a:lnTo>
                <a:lnTo>
                  <a:pt x="35845" y="219445"/>
                </a:lnTo>
                <a:lnTo>
                  <a:pt x="39656" y="217611"/>
                </a:lnTo>
                <a:lnTo>
                  <a:pt x="43325" y="216060"/>
                </a:lnTo>
                <a:lnTo>
                  <a:pt x="46853" y="214931"/>
                </a:lnTo>
                <a:lnTo>
                  <a:pt x="50663" y="213942"/>
                </a:lnTo>
                <a:lnTo>
                  <a:pt x="54332" y="213238"/>
                </a:lnTo>
                <a:lnTo>
                  <a:pt x="57719" y="212813"/>
                </a:lnTo>
                <a:lnTo>
                  <a:pt x="61247" y="212672"/>
                </a:lnTo>
                <a:lnTo>
                  <a:pt x="61247" y="212672"/>
                </a:lnTo>
                <a:lnTo>
                  <a:pt x="62659" y="212672"/>
                </a:lnTo>
                <a:lnTo>
                  <a:pt x="64212" y="212813"/>
                </a:lnTo>
                <a:lnTo>
                  <a:pt x="65622" y="213238"/>
                </a:lnTo>
                <a:lnTo>
                  <a:pt x="67176" y="213520"/>
                </a:lnTo>
                <a:lnTo>
                  <a:pt x="70420" y="214931"/>
                </a:lnTo>
                <a:lnTo>
                  <a:pt x="73526" y="216624"/>
                </a:lnTo>
                <a:lnTo>
                  <a:pt x="76631" y="218882"/>
                </a:lnTo>
                <a:lnTo>
                  <a:pt x="79876" y="221703"/>
                </a:lnTo>
                <a:lnTo>
                  <a:pt x="83120" y="224950"/>
                </a:lnTo>
                <a:lnTo>
                  <a:pt x="86368" y="228760"/>
                </a:lnTo>
                <a:lnTo>
                  <a:pt x="89754" y="233135"/>
                </a:lnTo>
                <a:lnTo>
                  <a:pt x="93000" y="237792"/>
                </a:lnTo>
                <a:lnTo>
                  <a:pt x="96387" y="243155"/>
                </a:lnTo>
                <a:lnTo>
                  <a:pt x="99915" y="248800"/>
                </a:lnTo>
                <a:lnTo>
                  <a:pt x="103443" y="255291"/>
                </a:lnTo>
                <a:lnTo>
                  <a:pt x="106830" y="262206"/>
                </a:lnTo>
                <a:lnTo>
                  <a:pt x="110499" y="269405"/>
                </a:lnTo>
                <a:lnTo>
                  <a:pt x="114027" y="277164"/>
                </a:lnTo>
                <a:lnTo>
                  <a:pt x="123765" y="298757"/>
                </a:lnTo>
                <a:lnTo>
                  <a:pt x="123765" y="298757"/>
                </a:lnTo>
                <a:lnTo>
                  <a:pt x="130397" y="287750"/>
                </a:lnTo>
                <a:lnTo>
                  <a:pt x="137313" y="277025"/>
                </a:lnTo>
                <a:lnTo>
                  <a:pt x="144510" y="266018"/>
                </a:lnTo>
                <a:lnTo>
                  <a:pt x="151707" y="255150"/>
                </a:lnTo>
                <a:lnTo>
                  <a:pt x="159328" y="244284"/>
                </a:lnTo>
                <a:lnTo>
                  <a:pt x="167090" y="233558"/>
                </a:lnTo>
                <a:lnTo>
                  <a:pt x="175275" y="222692"/>
                </a:lnTo>
                <a:lnTo>
                  <a:pt x="183319" y="212109"/>
                </a:lnTo>
                <a:lnTo>
                  <a:pt x="191928" y="201382"/>
                </a:lnTo>
                <a:lnTo>
                  <a:pt x="200676" y="190657"/>
                </a:lnTo>
                <a:lnTo>
                  <a:pt x="209568" y="180214"/>
                </a:lnTo>
                <a:lnTo>
                  <a:pt x="218882" y="169487"/>
                </a:lnTo>
                <a:lnTo>
                  <a:pt x="228337" y="159045"/>
                </a:lnTo>
                <a:lnTo>
                  <a:pt x="237792" y="148461"/>
                </a:lnTo>
                <a:lnTo>
                  <a:pt x="247952" y="138018"/>
                </a:lnTo>
                <a:lnTo>
                  <a:pt x="257973" y="127575"/>
                </a:lnTo>
                <a:lnTo>
                  <a:pt x="257973" y="127575"/>
                </a:lnTo>
                <a:lnTo>
                  <a:pt x="268275" y="117273"/>
                </a:lnTo>
                <a:lnTo>
                  <a:pt x="278436" y="107395"/>
                </a:lnTo>
                <a:lnTo>
                  <a:pt x="288597" y="97798"/>
                </a:lnTo>
                <a:lnTo>
                  <a:pt x="298757" y="88483"/>
                </a:lnTo>
                <a:lnTo>
                  <a:pt x="308918" y="79593"/>
                </a:lnTo>
                <a:lnTo>
                  <a:pt x="318938" y="70843"/>
                </a:lnTo>
                <a:lnTo>
                  <a:pt x="328958" y="62235"/>
                </a:lnTo>
                <a:lnTo>
                  <a:pt x="338979" y="54050"/>
                </a:lnTo>
                <a:lnTo>
                  <a:pt x="349138" y="46287"/>
                </a:lnTo>
                <a:lnTo>
                  <a:pt x="359016" y="38667"/>
                </a:lnTo>
                <a:lnTo>
                  <a:pt x="368896" y="31470"/>
                </a:lnTo>
                <a:lnTo>
                  <a:pt x="378915" y="24696"/>
                </a:lnTo>
                <a:lnTo>
                  <a:pt x="388794" y="18063"/>
                </a:lnTo>
                <a:lnTo>
                  <a:pt x="398673" y="11712"/>
                </a:lnTo>
                <a:lnTo>
                  <a:pt x="408268" y="5643"/>
                </a:lnTo>
                <a:lnTo>
                  <a:pt x="418148" y="0"/>
                </a:lnTo>
                <a:close/>
              </a:path>
            </a:pathLst>
          </a:custGeom>
          <a:solidFill>
            <a:srgbClr val="00B050"/>
          </a:solidFill>
          <a:ln w="9525" cap="flat" cmpd="sng" algn="ctr">
            <a:noFill/>
            <a:prstDash val="solid"/>
          </a:ln>
          <a:effectLst/>
        </p:spPr>
        <p:txBody>
          <a:bodyPr rtlCol="0" anchor="ctr">
            <a:noAutofit/>
          </a:bodyPr>
          <a:lstStyle/>
          <a:p>
            <a:pPr marL="0" marR="0" lvl="0" indent="0" algn="ctr"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 name="TextBox 173">
            <a:extLst>
              <a:ext uri="{FF2B5EF4-FFF2-40B4-BE49-F238E27FC236}">
                <a16:creationId xmlns:a16="http://schemas.microsoft.com/office/drawing/2014/main" id="{1E2515C9-9112-BC4D-86B4-A1550CED23CD}"/>
              </a:ext>
            </a:extLst>
          </p:cNvPr>
          <p:cNvSpPr txBox="1">
            <a:spLocks/>
          </p:cNvSpPr>
          <p:nvPr/>
        </p:nvSpPr>
        <p:spPr>
          <a:xfrm>
            <a:off x="8125174" y="521999"/>
            <a:ext cx="1089395" cy="219817"/>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Delay/Roadblock/ </a:t>
            </a:r>
          </a:p>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equires further alignment</a:t>
            </a:r>
          </a:p>
        </p:txBody>
      </p:sp>
      <p:sp>
        <p:nvSpPr>
          <p:cNvPr id="175" name="TextBox 174">
            <a:extLst>
              <a:ext uri="{FF2B5EF4-FFF2-40B4-BE49-F238E27FC236}">
                <a16:creationId xmlns:a16="http://schemas.microsoft.com/office/drawing/2014/main" id="{A71EA323-BBA6-C347-AE17-04DC5164582D}"/>
              </a:ext>
            </a:extLst>
          </p:cNvPr>
          <p:cNvSpPr txBox="1">
            <a:spLocks/>
          </p:cNvSpPr>
          <p:nvPr/>
        </p:nvSpPr>
        <p:spPr>
          <a:xfrm>
            <a:off x="8125174" y="255334"/>
            <a:ext cx="1089395"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Starting later</a:t>
            </a:r>
          </a:p>
        </p:txBody>
      </p:sp>
      <p:grpSp>
        <p:nvGrpSpPr>
          <p:cNvPr id="14" name="Группа 13">
            <a:extLst>
              <a:ext uri="{FF2B5EF4-FFF2-40B4-BE49-F238E27FC236}">
                <a16:creationId xmlns:a16="http://schemas.microsoft.com/office/drawing/2014/main" id="{FF2A5DBB-144D-734F-9778-DF164AE35DE9}"/>
              </a:ext>
            </a:extLst>
          </p:cNvPr>
          <p:cNvGrpSpPr/>
          <p:nvPr/>
        </p:nvGrpSpPr>
        <p:grpSpPr>
          <a:xfrm>
            <a:off x="6952883" y="233666"/>
            <a:ext cx="749201" cy="483916"/>
            <a:chOff x="8533934" y="185593"/>
            <a:chExt cx="749201" cy="483916"/>
          </a:xfrm>
        </p:grpSpPr>
        <p:sp>
          <p:nvSpPr>
            <p:cNvPr id="176" name="Freeform 96">
              <a:extLst>
                <a:ext uri="{FF2B5EF4-FFF2-40B4-BE49-F238E27FC236}">
                  <a16:creationId xmlns:a16="http://schemas.microsoft.com/office/drawing/2014/main" id="{6358F3D5-E7A4-2046-BB35-AD0E6AAA6591}"/>
                </a:ext>
              </a:extLst>
            </p:cNvPr>
            <p:cNvSpPr>
              <a:spLocks/>
            </p:cNvSpPr>
            <p:nvPr>
              <p:custDataLst>
                <p:tags r:id="rId14"/>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7" name="Freeform 96">
              <a:extLst>
                <a:ext uri="{FF2B5EF4-FFF2-40B4-BE49-F238E27FC236}">
                  <a16:creationId xmlns:a16="http://schemas.microsoft.com/office/drawing/2014/main" id="{474C2630-0077-9F46-BD57-2DA26FCE0E64}"/>
                </a:ext>
              </a:extLst>
            </p:cNvPr>
            <p:cNvSpPr>
              <a:spLocks/>
            </p:cNvSpPr>
            <p:nvPr>
              <p:custDataLst>
                <p:tags r:id="rId15"/>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8" name="Freeform 97">
              <a:extLst>
                <a:ext uri="{FF2B5EF4-FFF2-40B4-BE49-F238E27FC236}">
                  <a16:creationId xmlns:a16="http://schemas.microsoft.com/office/drawing/2014/main" id="{D6138520-ED77-444C-B972-6DF990CEF98A}"/>
                </a:ext>
              </a:extLst>
            </p:cNvPr>
            <p:cNvSpPr>
              <a:spLocks/>
            </p:cNvSpPr>
            <p:nvPr>
              <p:custDataLst>
                <p:tags r:id="rId16"/>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9" name="Freeform 96">
              <a:extLst>
                <a:ext uri="{FF2B5EF4-FFF2-40B4-BE49-F238E27FC236}">
                  <a16:creationId xmlns:a16="http://schemas.microsoft.com/office/drawing/2014/main" id="{F69CB70F-84BC-7349-854F-836C35F005D6}"/>
                </a:ext>
              </a:extLst>
            </p:cNvPr>
            <p:cNvSpPr>
              <a:spLocks/>
            </p:cNvSpPr>
            <p:nvPr>
              <p:custDataLst>
                <p:tags r:id="rId17"/>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0" name="Freeform 96">
              <a:extLst>
                <a:ext uri="{FF2B5EF4-FFF2-40B4-BE49-F238E27FC236}">
                  <a16:creationId xmlns:a16="http://schemas.microsoft.com/office/drawing/2014/main" id="{D637F766-D59F-3A4E-BD94-0B3276DDB20D}"/>
                </a:ext>
              </a:extLst>
            </p:cNvPr>
            <p:cNvSpPr>
              <a:spLocks/>
            </p:cNvSpPr>
            <p:nvPr>
              <p:custDataLst>
                <p:tags r:id="rId18"/>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1" name="Freeform 97">
              <a:extLst>
                <a:ext uri="{FF2B5EF4-FFF2-40B4-BE49-F238E27FC236}">
                  <a16:creationId xmlns:a16="http://schemas.microsoft.com/office/drawing/2014/main" id="{1ADEA6E6-B40F-E145-9934-CDE582B5948A}"/>
                </a:ext>
              </a:extLst>
            </p:cNvPr>
            <p:cNvSpPr>
              <a:spLocks/>
            </p:cNvSpPr>
            <p:nvPr>
              <p:custDataLst>
                <p:tags r:id="rId19"/>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2" name="Freeform 95">
              <a:extLst>
                <a:ext uri="{FF2B5EF4-FFF2-40B4-BE49-F238E27FC236}">
                  <a16:creationId xmlns:a16="http://schemas.microsoft.com/office/drawing/2014/main" id="{9457746D-1C29-4B43-9CDB-406E7D13DF83}"/>
                </a:ext>
              </a:extLst>
            </p:cNvPr>
            <p:cNvSpPr>
              <a:spLocks/>
            </p:cNvSpPr>
            <p:nvPr>
              <p:custDataLst>
                <p:tags r:id="rId20"/>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3" name="Freeform 98">
              <a:extLst>
                <a:ext uri="{FF2B5EF4-FFF2-40B4-BE49-F238E27FC236}">
                  <a16:creationId xmlns:a16="http://schemas.microsoft.com/office/drawing/2014/main" id="{70EBFF6B-0A04-0F40-9B1E-3BC6FF3911D6}"/>
                </a:ext>
              </a:extLst>
            </p:cNvPr>
            <p:cNvSpPr>
              <a:spLocks/>
            </p:cNvSpPr>
            <p:nvPr>
              <p:custDataLst>
                <p:tags r:id="rId21"/>
              </p:custDataLst>
            </p:nvPr>
          </p:nvSpPr>
          <p:spPr bwMode="gray">
            <a:xfrm>
              <a:off x="8632038" y="217180"/>
              <a:ext cx="110367" cy="113714"/>
            </a:xfrm>
            <a:custGeom>
              <a:avLst/>
              <a:gdLst>
                <a:gd name="T0" fmla="*/ 0 w 270"/>
                <a:gd name="T1" fmla="*/ 135 h 270"/>
                <a:gd name="T2" fmla="*/ 3 w 270"/>
                <a:gd name="T3" fmla="*/ 108 h 270"/>
                <a:gd name="T4" fmla="*/ 11 w 270"/>
                <a:gd name="T5" fmla="*/ 82 h 270"/>
                <a:gd name="T6" fmla="*/ 24 w 270"/>
                <a:gd name="T7" fmla="*/ 60 h 270"/>
                <a:gd name="T8" fmla="*/ 40 w 270"/>
                <a:gd name="T9" fmla="*/ 40 h 270"/>
                <a:gd name="T10" fmla="*/ 59 w 270"/>
                <a:gd name="T11" fmla="*/ 24 h 270"/>
                <a:gd name="T12" fmla="*/ 82 w 270"/>
                <a:gd name="T13" fmla="*/ 11 h 270"/>
                <a:gd name="T14" fmla="*/ 108 w 270"/>
                <a:gd name="T15" fmla="*/ 2 h 270"/>
                <a:gd name="T16" fmla="*/ 135 w 270"/>
                <a:gd name="T17" fmla="*/ 0 h 270"/>
                <a:gd name="T18" fmla="*/ 162 w 270"/>
                <a:gd name="T19" fmla="*/ 2 h 270"/>
                <a:gd name="T20" fmla="*/ 188 w 270"/>
                <a:gd name="T21" fmla="*/ 11 h 270"/>
                <a:gd name="T22" fmla="*/ 211 w 270"/>
                <a:gd name="T23" fmla="*/ 24 h 270"/>
                <a:gd name="T24" fmla="*/ 231 w 270"/>
                <a:gd name="T25" fmla="*/ 40 h 270"/>
                <a:gd name="T26" fmla="*/ 247 w 270"/>
                <a:gd name="T27" fmla="*/ 60 h 270"/>
                <a:gd name="T28" fmla="*/ 259 w 270"/>
                <a:gd name="T29" fmla="*/ 82 h 270"/>
                <a:gd name="T30" fmla="*/ 268 w 270"/>
                <a:gd name="T31" fmla="*/ 108 h 270"/>
                <a:gd name="T32" fmla="*/ 270 w 270"/>
                <a:gd name="T33" fmla="*/ 135 h 270"/>
                <a:gd name="T34" fmla="*/ 268 w 270"/>
                <a:gd name="T35" fmla="*/ 162 h 270"/>
                <a:gd name="T36" fmla="*/ 259 w 270"/>
                <a:gd name="T37" fmla="*/ 188 h 270"/>
                <a:gd name="T38" fmla="*/ 247 w 270"/>
                <a:gd name="T39" fmla="*/ 211 h 270"/>
                <a:gd name="T40" fmla="*/ 231 w 270"/>
                <a:gd name="T41" fmla="*/ 230 h 270"/>
                <a:gd name="T42" fmla="*/ 211 w 270"/>
                <a:gd name="T43" fmla="*/ 246 h 270"/>
                <a:gd name="T44" fmla="*/ 188 w 270"/>
                <a:gd name="T45" fmla="*/ 259 h 270"/>
                <a:gd name="T46" fmla="*/ 162 w 270"/>
                <a:gd name="T47" fmla="*/ 267 h 270"/>
                <a:gd name="T48" fmla="*/ 135 w 270"/>
                <a:gd name="T49" fmla="*/ 270 h 270"/>
                <a:gd name="T50" fmla="*/ 108 w 270"/>
                <a:gd name="T51" fmla="*/ 267 h 270"/>
                <a:gd name="T52" fmla="*/ 82 w 270"/>
                <a:gd name="T53" fmla="*/ 259 h 270"/>
                <a:gd name="T54" fmla="*/ 59 w 270"/>
                <a:gd name="T55" fmla="*/ 246 h 270"/>
                <a:gd name="T56" fmla="*/ 40 w 270"/>
                <a:gd name="T57" fmla="*/ 230 h 270"/>
                <a:gd name="T58" fmla="*/ 24 w 270"/>
                <a:gd name="T59" fmla="*/ 211 h 270"/>
                <a:gd name="T60" fmla="*/ 11 w 270"/>
                <a:gd name="T61" fmla="*/ 188 h 270"/>
                <a:gd name="T62" fmla="*/ 3 w 270"/>
                <a:gd name="T63" fmla="*/ 162 h 270"/>
                <a:gd name="T64" fmla="*/ 0 w 270"/>
                <a:gd name="T65" fmla="*/ 135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0">
                  <a:moveTo>
                    <a:pt x="0" y="135"/>
                  </a:moveTo>
                  <a:lnTo>
                    <a:pt x="3" y="108"/>
                  </a:lnTo>
                  <a:lnTo>
                    <a:pt x="11" y="82"/>
                  </a:lnTo>
                  <a:lnTo>
                    <a:pt x="24" y="60"/>
                  </a:lnTo>
                  <a:lnTo>
                    <a:pt x="40" y="40"/>
                  </a:lnTo>
                  <a:lnTo>
                    <a:pt x="59" y="24"/>
                  </a:lnTo>
                  <a:lnTo>
                    <a:pt x="82" y="11"/>
                  </a:lnTo>
                  <a:lnTo>
                    <a:pt x="108" y="2"/>
                  </a:lnTo>
                  <a:lnTo>
                    <a:pt x="135" y="0"/>
                  </a:lnTo>
                  <a:lnTo>
                    <a:pt x="162" y="2"/>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0"/>
                  </a:lnTo>
                  <a:lnTo>
                    <a:pt x="211" y="246"/>
                  </a:lnTo>
                  <a:lnTo>
                    <a:pt x="188" y="259"/>
                  </a:lnTo>
                  <a:lnTo>
                    <a:pt x="162" y="267"/>
                  </a:lnTo>
                  <a:lnTo>
                    <a:pt x="135" y="270"/>
                  </a:lnTo>
                  <a:lnTo>
                    <a:pt x="108" y="267"/>
                  </a:lnTo>
                  <a:lnTo>
                    <a:pt x="82" y="259"/>
                  </a:lnTo>
                  <a:lnTo>
                    <a:pt x="59" y="246"/>
                  </a:lnTo>
                  <a:lnTo>
                    <a:pt x="40" y="230"/>
                  </a:lnTo>
                  <a:lnTo>
                    <a:pt x="24" y="211"/>
                  </a:lnTo>
                  <a:lnTo>
                    <a:pt x="11" y="188"/>
                  </a:lnTo>
                  <a:lnTo>
                    <a:pt x="3" y="162"/>
                  </a:lnTo>
                  <a:lnTo>
                    <a:pt x="0" y="135"/>
                  </a:lnTo>
                  <a:close/>
                </a:path>
              </a:pathLst>
            </a:custGeom>
            <a:solidFill>
              <a:srgbClr val="FF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4" name="Freeform 103">
              <a:extLst>
                <a:ext uri="{FF2B5EF4-FFF2-40B4-BE49-F238E27FC236}">
                  <a16:creationId xmlns:a16="http://schemas.microsoft.com/office/drawing/2014/main" id="{61E38385-3C8C-E443-A787-A8D69D29A4A2}"/>
                </a:ext>
              </a:extLst>
            </p:cNvPr>
            <p:cNvSpPr>
              <a:spLocks/>
            </p:cNvSpPr>
            <p:nvPr>
              <p:custDataLst>
                <p:tags r:id="rId22"/>
              </p:custDataLst>
            </p:nvPr>
          </p:nvSpPr>
          <p:spPr bwMode="gray">
            <a:xfrm>
              <a:off x="8632038" y="367535"/>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FFC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5" name="Freeform 108">
              <a:extLst>
                <a:ext uri="{FF2B5EF4-FFF2-40B4-BE49-F238E27FC236}">
                  <a16:creationId xmlns:a16="http://schemas.microsoft.com/office/drawing/2014/main" id="{62FBDC94-E1BB-6045-AA27-37414E83C173}"/>
                </a:ext>
              </a:extLst>
            </p:cNvPr>
            <p:cNvSpPr>
              <a:spLocks/>
            </p:cNvSpPr>
            <p:nvPr>
              <p:custDataLst>
                <p:tags r:id="rId23"/>
              </p:custDataLst>
            </p:nvPr>
          </p:nvSpPr>
          <p:spPr bwMode="gray">
            <a:xfrm>
              <a:off x="8632038" y="524205"/>
              <a:ext cx="110367" cy="113714"/>
            </a:xfrm>
            <a:custGeom>
              <a:avLst/>
              <a:gdLst>
                <a:gd name="T0" fmla="*/ 0 w 270"/>
                <a:gd name="T1" fmla="*/ 134 h 269"/>
                <a:gd name="T2" fmla="*/ 3 w 270"/>
                <a:gd name="T3" fmla="*/ 107 h 269"/>
                <a:gd name="T4" fmla="*/ 11 w 270"/>
                <a:gd name="T5" fmla="*/ 82 h 269"/>
                <a:gd name="T6" fmla="*/ 24 w 270"/>
                <a:gd name="T7" fmla="*/ 58 h 269"/>
                <a:gd name="T8" fmla="*/ 40 w 270"/>
                <a:gd name="T9" fmla="*/ 38 h 269"/>
                <a:gd name="T10" fmla="*/ 59 w 270"/>
                <a:gd name="T11" fmla="*/ 23 h 269"/>
                <a:gd name="T12" fmla="*/ 82 w 270"/>
                <a:gd name="T13" fmla="*/ 10 h 269"/>
                <a:gd name="T14" fmla="*/ 108 w 270"/>
                <a:gd name="T15" fmla="*/ 2 h 269"/>
                <a:gd name="T16" fmla="*/ 135 w 270"/>
                <a:gd name="T17" fmla="*/ 0 h 269"/>
                <a:gd name="T18" fmla="*/ 162 w 270"/>
                <a:gd name="T19" fmla="*/ 2 h 269"/>
                <a:gd name="T20" fmla="*/ 188 w 270"/>
                <a:gd name="T21" fmla="*/ 10 h 269"/>
                <a:gd name="T22" fmla="*/ 211 w 270"/>
                <a:gd name="T23" fmla="*/ 23 h 269"/>
                <a:gd name="T24" fmla="*/ 231 w 270"/>
                <a:gd name="T25" fmla="*/ 38 h 269"/>
                <a:gd name="T26" fmla="*/ 247 w 270"/>
                <a:gd name="T27" fmla="*/ 58 h 269"/>
                <a:gd name="T28" fmla="*/ 259 w 270"/>
                <a:gd name="T29" fmla="*/ 82 h 269"/>
                <a:gd name="T30" fmla="*/ 268 w 270"/>
                <a:gd name="T31" fmla="*/ 107 h 269"/>
                <a:gd name="T32" fmla="*/ 270 w 270"/>
                <a:gd name="T33" fmla="*/ 134 h 269"/>
                <a:gd name="T34" fmla="*/ 268 w 270"/>
                <a:gd name="T35" fmla="*/ 161 h 269"/>
                <a:gd name="T36" fmla="*/ 259 w 270"/>
                <a:gd name="T37" fmla="*/ 187 h 269"/>
                <a:gd name="T38" fmla="*/ 247 w 270"/>
                <a:gd name="T39" fmla="*/ 210 h 269"/>
                <a:gd name="T40" fmla="*/ 231 w 270"/>
                <a:gd name="T41" fmla="*/ 229 h 269"/>
                <a:gd name="T42" fmla="*/ 211 w 270"/>
                <a:gd name="T43" fmla="*/ 246 h 269"/>
                <a:gd name="T44" fmla="*/ 188 w 270"/>
                <a:gd name="T45" fmla="*/ 258 h 269"/>
                <a:gd name="T46" fmla="*/ 162 w 270"/>
                <a:gd name="T47" fmla="*/ 267 h 269"/>
                <a:gd name="T48" fmla="*/ 135 w 270"/>
                <a:gd name="T49" fmla="*/ 269 h 269"/>
                <a:gd name="T50" fmla="*/ 108 w 270"/>
                <a:gd name="T51" fmla="*/ 267 h 269"/>
                <a:gd name="T52" fmla="*/ 82 w 270"/>
                <a:gd name="T53" fmla="*/ 258 h 269"/>
                <a:gd name="T54" fmla="*/ 59 w 270"/>
                <a:gd name="T55" fmla="*/ 246 h 269"/>
                <a:gd name="T56" fmla="*/ 40 w 270"/>
                <a:gd name="T57" fmla="*/ 229 h 269"/>
                <a:gd name="T58" fmla="*/ 24 w 270"/>
                <a:gd name="T59" fmla="*/ 210 h 269"/>
                <a:gd name="T60" fmla="*/ 11 w 270"/>
                <a:gd name="T61" fmla="*/ 187 h 269"/>
                <a:gd name="T62" fmla="*/ 3 w 270"/>
                <a:gd name="T63" fmla="*/ 161 h 269"/>
                <a:gd name="T64" fmla="*/ 0 w 270"/>
                <a:gd name="T65" fmla="*/ 13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69">
                  <a:moveTo>
                    <a:pt x="0" y="134"/>
                  </a:moveTo>
                  <a:lnTo>
                    <a:pt x="3" y="107"/>
                  </a:lnTo>
                  <a:lnTo>
                    <a:pt x="11" y="82"/>
                  </a:lnTo>
                  <a:lnTo>
                    <a:pt x="24" y="58"/>
                  </a:lnTo>
                  <a:lnTo>
                    <a:pt x="40" y="38"/>
                  </a:lnTo>
                  <a:lnTo>
                    <a:pt x="59" y="23"/>
                  </a:lnTo>
                  <a:lnTo>
                    <a:pt x="82" y="10"/>
                  </a:lnTo>
                  <a:lnTo>
                    <a:pt x="108" y="2"/>
                  </a:lnTo>
                  <a:lnTo>
                    <a:pt x="135" y="0"/>
                  </a:lnTo>
                  <a:lnTo>
                    <a:pt x="162" y="2"/>
                  </a:lnTo>
                  <a:lnTo>
                    <a:pt x="188" y="10"/>
                  </a:lnTo>
                  <a:lnTo>
                    <a:pt x="211" y="23"/>
                  </a:lnTo>
                  <a:lnTo>
                    <a:pt x="231" y="38"/>
                  </a:lnTo>
                  <a:lnTo>
                    <a:pt x="247" y="58"/>
                  </a:lnTo>
                  <a:lnTo>
                    <a:pt x="259" y="82"/>
                  </a:lnTo>
                  <a:lnTo>
                    <a:pt x="268" y="107"/>
                  </a:lnTo>
                  <a:lnTo>
                    <a:pt x="270" y="134"/>
                  </a:lnTo>
                  <a:lnTo>
                    <a:pt x="268" y="161"/>
                  </a:lnTo>
                  <a:lnTo>
                    <a:pt x="259" y="187"/>
                  </a:lnTo>
                  <a:lnTo>
                    <a:pt x="247" y="210"/>
                  </a:lnTo>
                  <a:lnTo>
                    <a:pt x="231" y="229"/>
                  </a:lnTo>
                  <a:lnTo>
                    <a:pt x="211" y="246"/>
                  </a:lnTo>
                  <a:lnTo>
                    <a:pt x="188" y="258"/>
                  </a:lnTo>
                  <a:lnTo>
                    <a:pt x="162" y="267"/>
                  </a:lnTo>
                  <a:lnTo>
                    <a:pt x="135" y="269"/>
                  </a:lnTo>
                  <a:lnTo>
                    <a:pt x="108" y="267"/>
                  </a:lnTo>
                  <a:lnTo>
                    <a:pt x="82" y="258"/>
                  </a:lnTo>
                  <a:lnTo>
                    <a:pt x="59" y="246"/>
                  </a:lnTo>
                  <a:lnTo>
                    <a:pt x="40" y="229"/>
                  </a:lnTo>
                  <a:lnTo>
                    <a:pt x="24" y="210"/>
                  </a:lnTo>
                  <a:lnTo>
                    <a:pt x="11" y="187"/>
                  </a:lnTo>
                  <a:lnTo>
                    <a:pt x="3" y="161"/>
                  </a:lnTo>
                  <a:lnTo>
                    <a:pt x="0" y="134"/>
                  </a:lnTo>
                  <a:close/>
                </a:path>
              </a:pathLst>
            </a:custGeom>
            <a:solidFill>
              <a:srgbClr val="00B050"/>
            </a:solidFill>
            <a:ln>
              <a:noFill/>
            </a:ln>
          </p:spPr>
          <p:txBody>
            <a:bodyPr vert="horz" wrap="square" lIns="93295" tIns="46649" rIns="93295" bIns="46649" numCol="1" anchor="t" anchorCtr="0" compatLnSpc="1">
              <a:prstTxWarp prst="textNoShape">
                <a:avLst/>
              </a:prstTxWarp>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86" name="TextBox 185">
              <a:extLst>
                <a:ext uri="{FF2B5EF4-FFF2-40B4-BE49-F238E27FC236}">
                  <a16:creationId xmlns:a16="http://schemas.microsoft.com/office/drawing/2014/main" id="{ABB5D963-5A7E-8145-AEC6-3DD7A15525CC}"/>
                </a:ext>
              </a:extLst>
            </p:cNvPr>
            <p:cNvSpPr txBox="1">
              <a:spLocks/>
            </p:cNvSpPr>
            <p:nvPr/>
          </p:nvSpPr>
          <p:spPr>
            <a:xfrm>
              <a:off x="8889820" y="215170"/>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Issues</a:t>
              </a:r>
            </a:p>
          </p:txBody>
        </p:sp>
        <p:sp>
          <p:nvSpPr>
            <p:cNvPr id="187" name="TextBox 186">
              <a:extLst>
                <a:ext uri="{FF2B5EF4-FFF2-40B4-BE49-F238E27FC236}">
                  <a16:creationId xmlns:a16="http://schemas.microsoft.com/office/drawing/2014/main" id="{38F76C95-42B5-8D43-9FC7-3D56DAEC4D24}"/>
                </a:ext>
              </a:extLst>
            </p:cNvPr>
            <p:cNvSpPr txBox="1">
              <a:spLocks/>
            </p:cNvSpPr>
            <p:nvPr/>
          </p:nvSpPr>
          <p:spPr>
            <a:xfrm>
              <a:off x="8889820" y="376456"/>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Risks</a:t>
              </a:r>
            </a:p>
          </p:txBody>
        </p:sp>
        <p:sp>
          <p:nvSpPr>
            <p:cNvPr id="188" name="TextBox 187">
              <a:extLst>
                <a:ext uri="{FF2B5EF4-FFF2-40B4-BE49-F238E27FC236}">
                  <a16:creationId xmlns:a16="http://schemas.microsoft.com/office/drawing/2014/main" id="{3918061E-43BB-454C-9384-27CFD909882A}"/>
                </a:ext>
              </a:extLst>
            </p:cNvPr>
            <p:cNvSpPr txBox="1">
              <a:spLocks/>
            </p:cNvSpPr>
            <p:nvPr/>
          </p:nvSpPr>
          <p:spPr>
            <a:xfrm>
              <a:off x="8889820" y="537739"/>
              <a:ext cx="393315" cy="109908"/>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On track</a:t>
              </a:r>
            </a:p>
          </p:txBody>
        </p:sp>
      </p:grpSp>
      <p:pic>
        <p:nvPicPr>
          <p:cNvPr id="189" name="CustomIcon">
            <a:extLst>
              <a:ext uri="{FF2B5EF4-FFF2-40B4-BE49-F238E27FC236}">
                <a16:creationId xmlns:a16="http://schemas.microsoft.com/office/drawing/2014/main" id="{AABF043F-3F59-234D-995A-0B000CFD41EE}"/>
              </a:ext>
            </a:extLst>
          </p:cNvPr>
          <p:cNvPicPr>
            <a:picLocks/>
          </p:cNvPicPr>
          <p:nvPr>
            <p:custDataLst>
              <p:tags r:id="rId10"/>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7837998" y="177611"/>
            <a:ext cx="219819" cy="219818"/>
          </a:xfrm>
          <a:prstGeom prst="rect">
            <a:avLst/>
          </a:prstGeom>
        </p:spPr>
      </p:pic>
      <p:pic>
        <p:nvPicPr>
          <p:cNvPr id="190" name="CustomIcon">
            <a:extLst>
              <a:ext uri="{FF2B5EF4-FFF2-40B4-BE49-F238E27FC236}">
                <a16:creationId xmlns:a16="http://schemas.microsoft.com/office/drawing/2014/main" id="{763050F9-AFE7-5E48-9A09-106ED1B51932}"/>
              </a:ext>
            </a:extLst>
          </p:cNvPr>
          <p:cNvPicPr>
            <a:picLocks noChangeAspect="1"/>
          </p:cNvPicPr>
          <p:nvPr>
            <p:custDataLst>
              <p:tags r:id="rId11"/>
            </p:custDataLst>
          </p:nvPr>
        </p:nvPicPr>
        <p:blipFill>
          <a:blip r:embed="rId30" cstate="print">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flipH="1">
            <a:off x="7829465" y="526118"/>
            <a:ext cx="219819" cy="219818"/>
          </a:xfrm>
          <a:prstGeom prst="rect">
            <a:avLst/>
          </a:prstGeom>
        </p:spPr>
      </p:pic>
      <p:sp>
        <p:nvSpPr>
          <p:cNvPr id="13" name="Овал 12">
            <a:extLst>
              <a:ext uri="{FF2B5EF4-FFF2-40B4-BE49-F238E27FC236}">
                <a16:creationId xmlns:a16="http://schemas.microsoft.com/office/drawing/2014/main" id="{08ACB6D6-6A75-C745-997F-14D7220F93C7}"/>
              </a:ext>
            </a:extLst>
          </p:cNvPr>
          <p:cNvSpPr/>
          <p:nvPr/>
        </p:nvSpPr>
        <p:spPr>
          <a:xfrm flipH="1">
            <a:off x="8096066" y="1643387"/>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94" name="Овал 193">
            <a:extLst>
              <a:ext uri="{FF2B5EF4-FFF2-40B4-BE49-F238E27FC236}">
                <a16:creationId xmlns:a16="http://schemas.microsoft.com/office/drawing/2014/main" id="{B9D5A251-A028-894A-B773-26E187102071}"/>
              </a:ext>
            </a:extLst>
          </p:cNvPr>
          <p:cNvSpPr/>
          <p:nvPr/>
        </p:nvSpPr>
        <p:spPr>
          <a:xfrm flipH="1">
            <a:off x="8096066" y="2189779"/>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sp>
        <p:nvSpPr>
          <p:cNvPr id="195" name="Овал 194">
            <a:extLst>
              <a:ext uri="{FF2B5EF4-FFF2-40B4-BE49-F238E27FC236}">
                <a16:creationId xmlns:a16="http://schemas.microsoft.com/office/drawing/2014/main" id="{B4273E6A-B8A4-8541-909A-33F998B9A462}"/>
              </a:ext>
            </a:extLst>
          </p:cNvPr>
          <p:cNvSpPr/>
          <p:nvPr/>
        </p:nvSpPr>
        <p:spPr>
          <a:xfrm flipH="1">
            <a:off x="8096066" y="2754324"/>
            <a:ext cx="239132" cy="23913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latin typeface="Arial" panose="020B0604020202020204" pitchFamily="34" charset="0"/>
              <a:cs typeface="Arial" panose="020B0604020202020204" pitchFamily="34" charset="0"/>
            </a:endParaRPr>
          </a:p>
        </p:txBody>
      </p:sp>
      <p:pic>
        <p:nvPicPr>
          <p:cNvPr id="198" name="Рисунок 197">
            <a:extLst>
              <a:ext uri="{FF2B5EF4-FFF2-40B4-BE49-F238E27FC236}">
                <a16:creationId xmlns:a16="http://schemas.microsoft.com/office/drawing/2014/main" id="{1E36011E-2AF4-2B46-8C12-1175B4A8EDD8}"/>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500482" y="462523"/>
            <a:ext cx="356610" cy="356610"/>
          </a:xfrm>
          <a:prstGeom prst="rect">
            <a:avLst/>
          </a:prstGeom>
        </p:spPr>
      </p:pic>
      <p:sp>
        <p:nvSpPr>
          <p:cNvPr id="200" name="TextBox 199">
            <a:extLst>
              <a:ext uri="{FF2B5EF4-FFF2-40B4-BE49-F238E27FC236}">
                <a16:creationId xmlns:a16="http://schemas.microsoft.com/office/drawing/2014/main" id="{96C49A4C-0937-B841-A4C1-3E33DA2E4637}"/>
              </a:ext>
            </a:extLst>
          </p:cNvPr>
          <p:cNvSpPr txBox="1">
            <a:spLocks/>
          </p:cNvSpPr>
          <p:nvPr/>
        </p:nvSpPr>
        <p:spPr>
          <a:xfrm>
            <a:off x="10847682" y="59313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Mitigated Risk/Issue</a:t>
            </a:r>
          </a:p>
        </p:txBody>
      </p:sp>
      <p:sp>
        <p:nvSpPr>
          <p:cNvPr id="203" name="TextBox 202">
            <a:extLst>
              <a:ext uri="{FF2B5EF4-FFF2-40B4-BE49-F238E27FC236}">
                <a16:creationId xmlns:a16="http://schemas.microsoft.com/office/drawing/2014/main" id="{B015CC4C-C56E-BE41-9CD7-78F00A3A4DB8}"/>
              </a:ext>
            </a:extLst>
          </p:cNvPr>
          <p:cNvSpPr txBox="1">
            <a:spLocks/>
          </p:cNvSpPr>
          <p:nvPr/>
        </p:nvSpPr>
        <p:spPr>
          <a:xfrm>
            <a:off x="10847682" y="226046"/>
            <a:ext cx="828381" cy="109908"/>
          </a:xfrm>
          <a:prstGeom prst="rect">
            <a:avLst/>
          </a:prstGeom>
        </p:spPr>
        <p:txBody>
          <a:bodyPr vert="horz" wrap="none" lIns="0" tIns="0" rIns="0" bIns="0" rtlCol="0">
            <a:noAutofit/>
          </a:bodyPr>
          <a:lstStyle>
            <a:lvl1pPr marL="0" lvl="0" indent="0" defTabSz="685122" eaLnBrk="1" latinLnBrk="0" hangingPunct="1">
              <a:buClr>
                <a:schemeClr val="tx2"/>
              </a:buClr>
              <a:buSzPct val="100000"/>
              <a:defRPr sz="1071" baseline="0">
                <a:latin typeface="+mn-lt"/>
              </a:defRPr>
            </a:lvl1pPr>
            <a:lvl2pPr marL="148200" lvl="1" indent="-146986" defTabSz="685122" eaLnBrk="1" latinLnBrk="0" hangingPunct="1">
              <a:buClr>
                <a:schemeClr val="tx2"/>
              </a:buClr>
              <a:buSzPct val="125000"/>
              <a:buFont typeface="Arial" charset="0"/>
              <a:buChar char="▪"/>
              <a:defRPr sz="1071" baseline="0">
                <a:latin typeface="+mn-lt"/>
              </a:defRPr>
            </a:lvl2pPr>
            <a:lvl3pPr marL="349849" lvl="2" indent="-200435" defTabSz="685122" eaLnBrk="1" latinLnBrk="0" hangingPunct="1">
              <a:buClr>
                <a:schemeClr val="tx2"/>
              </a:buClr>
              <a:buSzPct val="120000"/>
              <a:buFont typeface="Arial" charset="0"/>
              <a:buChar char="–"/>
              <a:defRPr sz="1071" baseline="0">
                <a:latin typeface="+mn-lt"/>
              </a:defRPr>
            </a:lvl3pPr>
            <a:lvl4pPr marL="470111" lvl="3" indent="-119046" defTabSz="685122" eaLnBrk="1" latinLnBrk="0" hangingPunct="1">
              <a:buClr>
                <a:schemeClr val="tx2"/>
              </a:buClr>
              <a:buSzPct val="120000"/>
              <a:buFont typeface="Arial" charset="0"/>
              <a:buChar char="▫"/>
              <a:defRPr sz="1071" baseline="0">
                <a:latin typeface="+mn-lt"/>
              </a:defRPr>
            </a:lvl4pPr>
            <a:lvl5pPr marL="573753" lvl="4" indent="-99610" defTabSz="685122" eaLnBrk="1" latinLnBrk="0" hangingPunct="1">
              <a:buClr>
                <a:schemeClr val="tx2"/>
              </a:buClr>
              <a:buSzPct val="89000"/>
              <a:buFont typeface="Arial" charset="0"/>
              <a:buChar char="-"/>
              <a:defRPr sz="1071" baseline="0">
                <a:latin typeface="+mn-lt"/>
              </a:defRPr>
            </a:lvl5pPr>
            <a:lvl6pPr marL="573753" indent="-99610" defTabSz="685122" fontAlgn="base">
              <a:spcBef>
                <a:spcPct val="0"/>
              </a:spcBef>
              <a:spcAft>
                <a:spcPct val="0"/>
              </a:spcAft>
              <a:buClr>
                <a:schemeClr val="tx2"/>
              </a:buClr>
              <a:buSzPct val="89000"/>
              <a:buFont typeface="Arial" charset="0"/>
              <a:buChar char="-"/>
              <a:defRPr sz="1224" baseline="0">
                <a:latin typeface="+mn-lt"/>
              </a:defRPr>
            </a:lvl6pPr>
            <a:lvl7pPr marL="573753" indent="-99610" defTabSz="685122" fontAlgn="base">
              <a:spcBef>
                <a:spcPct val="0"/>
              </a:spcBef>
              <a:spcAft>
                <a:spcPct val="0"/>
              </a:spcAft>
              <a:buClr>
                <a:schemeClr val="tx2"/>
              </a:buClr>
              <a:buSzPct val="89000"/>
              <a:buFont typeface="Arial" charset="0"/>
              <a:buChar char="-"/>
              <a:defRPr sz="1224" baseline="0">
                <a:latin typeface="+mn-lt"/>
              </a:defRPr>
            </a:lvl7pPr>
            <a:lvl8pPr marL="573753" indent="-99610" defTabSz="685122" fontAlgn="base">
              <a:spcBef>
                <a:spcPct val="0"/>
              </a:spcBef>
              <a:spcAft>
                <a:spcPct val="0"/>
              </a:spcAft>
              <a:buClr>
                <a:schemeClr val="tx2"/>
              </a:buClr>
              <a:buSzPct val="89000"/>
              <a:buFont typeface="Arial" charset="0"/>
              <a:buChar char="-"/>
              <a:defRPr sz="1224" baseline="0">
                <a:latin typeface="+mn-lt"/>
              </a:defRPr>
            </a:lvl8pPr>
            <a:lvl9pPr marL="573753" indent="-99610" defTabSz="685122" fontAlgn="base">
              <a:spcBef>
                <a:spcPct val="0"/>
              </a:spcBef>
              <a:spcAft>
                <a:spcPct val="0"/>
              </a:spcAft>
              <a:buClr>
                <a:schemeClr val="tx2"/>
              </a:buClr>
              <a:buSzPct val="89000"/>
              <a:buFont typeface="Arial" charset="0"/>
              <a:buChar char="-"/>
              <a:defRPr sz="1224" baseline="0">
                <a:latin typeface="+mn-lt"/>
              </a:defRPr>
            </a:lvl9pPr>
          </a:lstStyle>
          <a:p>
            <a:pPr defTabSz="699027">
              <a:buClr>
                <a:srgbClr val="002960"/>
              </a:buClr>
              <a:defRPr/>
            </a:pPr>
            <a:r>
              <a:rPr lang="en-US" sz="714" dirty="0">
                <a:solidFill>
                  <a:srgbClr val="000000"/>
                </a:solidFill>
                <a:latin typeface="Arial" panose="020B0604020202020204" pitchFamily="34" charset="0"/>
                <a:cs typeface="Arial" panose="020B0604020202020204" pitchFamily="34" charset="0"/>
              </a:rPr>
              <a:t>Unmitigated Risk/Issue</a:t>
            </a:r>
          </a:p>
        </p:txBody>
      </p:sp>
      <p:pic>
        <p:nvPicPr>
          <p:cNvPr id="18" name="Рисунок 17">
            <a:extLst>
              <a:ext uri="{FF2B5EF4-FFF2-40B4-BE49-F238E27FC236}">
                <a16:creationId xmlns:a16="http://schemas.microsoft.com/office/drawing/2014/main" id="{1BB24861-0AFF-CD4F-AECC-592A8B03CC0B}"/>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532356" y="145068"/>
            <a:ext cx="268467" cy="268467"/>
          </a:xfrm>
          <a:prstGeom prst="rect">
            <a:avLst/>
          </a:prstGeom>
        </p:spPr>
      </p:pic>
      <p:sp>
        <p:nvSpPr>
          <p:cNvPr id="4" name="Прямоугольник 3">
            <a:extLst>
              <a:ext uri="{FF2B5EF4-FFF2-40B4-BE49-F238E27FC236}">
                <a16:creationId xmlns:a16="http://schemas.microsoft.com/office/drawing/2014/main" id="{56730683-FB9E-3041-9A34-5BDFD60E331A}"/>
              </a:ext>
            </a:extLst>
          </p:cNvPr>
          <p:cNvSpPr/>
          <p:nvPr/>
        </p:nvSpPr>
        <p:spPr>
          <a:xfrm>
            <a:off x="265602" y="1624453"/>
            <a:ext cx="220605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trategy &amp; Business Planning</a:t>
            </a:r>
            <a:endParaRPr lang="x-none" sz="1200" dirty="0">
              <a:latin typeface="Arial" panose="020B0604020202020204" pitchFamily="34" charset="0"/>
              <a:cs typeface="Arial" panose="020B0604020202020204" pitchFamily="34" charset="0"/>
            </a:endParaRPr>
          </a:p>
        </p:txBody>
      </p:sp>
      <p:sp>
        <p:nvSpPr>
          <p:cNvPr id="59" name="Прямоугольник 58">
            <a:extLst>
              <a:ext uri="{FF2B5EF4-FFF2-40B4-BE49-F238E27FC236}">
                <a16:creationId xmlns:a16="http://schemas.microsoft.com/office/drawing/2014/main" id="{A18E05C2-521A-5E48-9661-883737D6D1CF}"/>
              </a:ext>
            </a:extLst>
          </p:cNvPr>
          <p:cNvSpPr/>
          <p:nvPr/>
        </p:nvSpPr>
        <p:spPr>
          <a:xfrm>
            <a:off x="265602" y="2156007"/>
            <a:ext cx="1647310"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U-Transform Initiative</a:t>
            </a:r>
            <a:endParaRPr lang="x-none" sz="1200" dirty="0">
              <a:latin typeface="Arial" panose="020B0604020202020204" pitchFamily="34" charset="0"/>
              <a:cs typeface="Arial" panose="020B0604020202020204" pitchFamily="34" charset="0"/>
            </a:endParaRPr>
          </a:p>
        </p:txBody>
      </p:sp>
      <p:sp>
        <p:nvSpPr>
          <p:cNvPr id="60" name="Прямоугольник 59">
            <a:extLst>
              <a:ext uri="{FF2B5EF4-FFF2-40B4-BE49-F238E27FC236}">
                <a16:creationId xmlns:a16="http://schemas.microsoft.com/office/drawing/2014/main" id="{827D9CE0-70E7-7844-8EE3-FE6EA9050BCC}"/>
              </a:ext>
            </a:extLst>
          </p:cNvPr>
          <p:cNvSpPr/>
          <p:nvPr/>
        </p:nvSpPr>
        <p:spPr>
          <a:xfrm>
            <a:off x="265602" y="2728765"/>
            <a:ext cx="1456424"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U-Talent Initiative </a:t>
            </a:r>
            <a:endParaRPr lang="x-none" sz="1200" dirty="0">
              <a:latin typeface="Arial" panose="020B0604020202020204" pitchFamily="34" charset="0"/>
              <a:cs typeface="Arial" panose="020B0604020202020204" pitchFamily="34" charset="0"/>
            </a:endParaRPr>
          </a:p>
        </p:txBody>
      </p:sp>
      <p:sp>
        <p:nvSpPr>
          <p:cNvPr id="61" name="Прямоугольник 60">
            <a:extLst>
              <a:ext uri="{FF2B5EF4-FFF2-40B4-BE49-F238E27FC236}">
                <a16:creationId xmlns:a16="http://schemas.microsoft.com/office/drawing/2014/main" id="{265D3CEE-4427-ED4C-803A-BF61235AC72D}"/>
              </a:ext>
            </a:extLst>
          </p:cNvPr>
          <p:cNvSpPr/>
          <p:nvPr/>
        </p:nvSpPr>
        <p:spPr>
          <a:xfrm>
            <a:off x="265602" y="3339131"/>
            <a:ext cx="169629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Cost Optimization (ID)</a:t>
            </a:r>
            <a:endParaRPr lang="x-none" sz="1200" dirty="0">
              <a:latin typeface="Arial" panose="020B0604020202020204" pitchFamily="34" charset="0"/>
              <a:cs typeface="Arial" panose="020B0604020202020204" pitchFamily="34" charset="0"/>
            </a:endParaRPr>
          </a:p>
        </p:txBody>
      </p:sp>
      <p:sp>
        <p:nvSpPr>
          <p:cNvPr id="62" name="Прямоугольник 61">
            <a:extLst>
              <a:ext uri="{FF2B5EF4-FFF2-40B4-BE49-F238E27FC236}">
                <a16:creationId xmlns:a16="http://schemas.microsoft.com/office/drawing/2014/main" id="{0E35B0CA-FFA5-2E4D-95F2-74CA8404A25B}"/>
              </a:ext>
            </a:extLst>
          </p:cNvPr>
          <p:cNvSpPr/>
          <p:nvPr/>
        </p:nvSpPr>
        <p:spPr>
          <a:xfrm>
            <a:off x="280593" y="3959176"/>
            <a:ext cx="2817759"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Risk Management Module (TA consult)</a:t>
            </a:r>
            <a:endParaRPr lang="x-none" sz="1200" i="1" dirty="0">
              <a:latin typeface="Arial" panose="020B0604020202020204" pitchFamily="34" charset="0"/>
              <a:cs typeface="Arial" panose="020B0604020202020204" pitchFamily="34" charset="0"/>
            </a:endParaRPr>
          </a:p>
        </p:txBody>
      </p:sp>
      <p:sp>
        <p:nvSpPr>
          <p:cNvPr id="68" name="Прямоугольник 67">
            <a:extLst>
              <a:ext uri="{FF2B5EF4-FFF2-40B4-BE49-F238E27FC236}">
                <a16:creationId xmlns:a16="http://schemas.microsoft.com/office/drawing/2014/main" id="{1E87BCF8-903A-854D-9BFB-A8EBD2F900D3}"/>
              </a:ext>
            </a:extLst>
          </p:cNvPr>
          <p:cNvSpPr/>
          <p:nvPr/>
        </p:nvSpPr>
        <p:spPr>
          <a:xfrm>
            <a:off x="3118961" y="1643387"/>
            <a:ext cx="1165255"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rid Abushov</a:t>
            </a:r>
            <a:endParaRPr lang="x-none" sz="1200" dirty="0">
              <a:latin typeface="Arial" panose="020B0604020202020204" pitchFamily="34" charset="0"/>
              <a:cs typeface="Arial" panose="020B0604020202020204" pitchFamily="34" charset="0"/>
            </a:endParaRPr>
          </a:p>
        </p:txBody>
      </p:sp>
      <p:sp>
        <p:nvSpPr>
          <p:cNvPr id="69" name="Прямоугольник 68">
            <a:extLst>
              <a:ext uri="{FF2B5EF4-FFF2-40B4-BE49-F238E27FC236}">
                <a16:creationId xmlns:a16="http://schemas.microsoft.com/office/drawing/2014/main" id="{C8A12CDF-F312-D74B-9EA3-BD620162D1CC}"/>
              </a:ext>
            </a:extLst>
          </p:cNvPr>
          <p:cNvSpPr/>
          <p:nvPr/>
        </p:nvSpPr>
        <p:spPr>
          <a:xfrm>
            <a:off x="3118961" y="2174941"/>
            <a:ext cx="120738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ig Huseynov</a:t>
            </a:r>
            <a:endParaRPr lang="x-none" sz="1200" dirty="0">
              <a:latin typeface="Arial" panose="020B0604020202020204" pitchFamily="34" charset="0"/>
              <a:cs typeface="Arial" panose="020B0604020202020204" pitchFamily="34" charset="0"/>
            </a:endParaRPr>
          </a:p>
        </p:txBody>
      </p:sp>
      <p:sp>
        <p:nvSpPr>
          <p:cNvPr id="70" name="Прямоугольник 69">
            <a:extLst>
              <a:ext uri="{FF2B5EF4-FFF2-40B4-BE49-F238E27FC236}">
                <a16:creationId xmlns:a16="http://schemas.microsoft.com/office/drawing/2014/main" id="{77BB63CB-BC3F-A745-8B20-F9EE19E3BCF1}"/>
              </a:ext>
            </a:extLst>
          </p:cNvPr>
          <p:cNvSpPr/>
          <p:nvPr/>
        </p:nvSpPr>
        <p:spPr>
          <a:xfrm>
            <a:off x="3118961" y="2747699"/>
            <a:ext cx="120738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ig Huseynov</a:t>
            </a:r>
            <a:endParaRPr lang="x-none" sz="1200" dirty="0">
              <a:latin typeface="Arial" panose="020B0604020202020204" pitchFamily="34" charset="0"/>
              <a:cs typeface="Arial" panose="020B0604020202020204" pitchFamily="34" charset="0"/>
            </a:endParaRPr>
          </a:p>
        </p:txBody>
      </p:sp>
      <p:sp>
        <p:nvSpPr>
          <p:cNvPr id="71" name="Прямоугольник 70">
            <a:extLst>
              <a:ext uri="{FF2B5EF4-FFF2-40B4-BE49-F238E27FC236}">
                <a16:creationId xmlns:a16="http://schemas.microsoft.com/office/drawing/2014/main" id="{1E856BFC-4BB3-2A4E-BC72-BFD42E06605A}"/>
              </a:ext>
            </a:extLst>
          </p:cNvPr>
          <p:cNvSpPr/>
          <p:nvPr/>
        </p:nvSpPr>
        <p:spPr>
          <a:xfrm>
            <a:off x="3133952" y="3358641"/>
            <a:ext cx="49244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TBD</a:t>
            </a:r>
            <a:endParaRPr lang="x-none" sz="1200" dirty="0">
              <a:latin typeface="Arial" panose="020B0604020202020204" pitchFamily="34" charset="0"/>
              <a:cs typeface="Arial" panose="020B0604020202020204" pitchFamily="34" charset="0"/>
            </a:endParaRPr>
          </a:p>
        </p:txBody>
      </p:sp>
      <p:sp>
        <p:nvSpPr>
          <p:cNvPr id="88" name="Прямоугольник 87">
            <a:extLst>
              <a:ext uri="{FF2B5EF4-FFF2-40B4-BE49-F238E27FC236}">
                <a16:creationId xmlns:a16="http://schemas.microsoft.com/office/drawing/2014/main" id="{FCFB9C44-D9CA-CF47-B333-DCE726993DBD}"/>
              </a:ext>
            </a:extLst>
          </p:cNvPr>
          <p:cNvSpPr/>
          <p:nvPr/>
        </p:nvSpPr>
        <p:spPr>
          <a:xfrm>
            <a:off x="4911519" y="1632215"/>
            <a:ext cx="114762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evda Aliyeva</a:t>
            </a:r>
            <a:endParaRPr lang="x-none" sz="1200" dirty="0">
              <a:latin typeface="Arial" panose="020B0604020202020204" pitchFamily="34" charset="0"/>
              <a:cs typeface="Arial" panose="020B0604020202020204" pitchFamily="34" charset="0"/>
            </a:endParaRPr>
          </a:p>
        </p:txBody>
      </p:sp>
      <p:sp>
        <p:nvSpPr>
          <p:cNvPr id="89" name="Прямоугольник 88">
            <a:extLst>
              <a:ext uri="{FF2B5EF4-FFF2-40B4-BE49-F238E27FC236}">
                <a16:creationId xmlns:a16="http://schemas.microsoft.com/office/drawing/2014/main" id="{756F98C2-34FD-7249-A338-32C8B0FB29E4}"/>
              </a:ext>
            </a:extLst>
          </p:cNvPr>
          <p:cNvSpPr/>
          <p:nvPr/>
        </p:nvSpPr>
        <p:spPr>
          <a:xfrm>
            <a:off x="4911519" y="2163769"/>
            <a:ext cx="125066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Heybat Gadirov</a:t>
            </a:r>
            <a:endParaRPr lang="x-none" sz="1200" dirty="0">
              <a:latin typeface="Arial" panose="020B0604020202020204" pitchFamily="34" charset="0"/>
              <a:cs typeface="Arial" panose="020B0604020202020204" pitchFamily="34" charset="0"/>
            </a:endParaRPr>
          </a:p>
        </p:txBody>
      </p:sp>
      <p:sp>
        <p:nvSpPr>
          <p:cNvPr id="90" name="Прямоугольник 89">
            <a:extLst>
              <a:ext uri="{FF2B5EF4-FFF2-40B4-BE49-F238E27FC236}">
                <a16:creationId xmlns:a16="http://schemas.microsoft.com/office/drawing/2014/main" id="{97D1004D-5595-7140-9914-249B6AE01AD1}"/>
              </a:ext>
            </a:extLst>
          </p:cNvPr>
          <p:cNvSpPr/>
          <p:nvPr/>
        </p:nvSpPr>
        <p:spPr>
          <a:xfrm>
            <a:off x="4911519" y="2736527"/>
            <a:ext cx="127470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Natalya Sandler</a:t>
            </a:r>
            <a:endParaRPr lang="x-none" sz="1200" dirty="0">
              <a:latin typeface="Arial" panose="020B0604020202020204" pitchFamily="34" charset="0"/>
              <a:cs typeface="Arial" panose="020B0604020202020204" pitchFamily="34" charset="0"/>
            </a:endParaRPr>
          </a:p>
        </p:txBody>
      </p:sp>
      <p:sp>
        <p:nvSpPr>
          <p:cNvPr id="92" name="Прямоугольник 91">
            <a:extLst>
              <a:ext uri="{FF2B5EF4-FFF2-40B4-BE49-F238E27FC236}">
                <a16:creationId xmlns:a16="http://schemas.microsoft.com/office/drawing/2014/main" id="{22D2AF71-D629-6C49-AAF6-294228EA9796}"/>
              </a:ext>
            </a:extLst>
          </p:cNvPr>
          <p:cNvSpPr/>
          <p:nvPr/>
        </p:nvSpPr>
        <p:spPr>
          <a:xfrm>
            <a:off x="4911519" y="3937843"/>
            <a:ext cx="117602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Tural Hasanov</a:t>
            </a:r>
            <a:endParaRPr lang="x-none" sz="1200" dirty="0">
              <a:latin typeface="Arial" panose="020B0604020202020204" pitchFamily="34" charset="0"/>
              <a:cs typeface="Arial" panose="020B0604020202020204" pitchFamily="34" charset="0"/>
            </a:endParaRPr>
          </a:p>
        </p:txBody>
      </p:sp>
      <p:sp>
        <p:nvSpPr>
          <p:cNvPr id="97" name="Прямоугольник 96">
            <a:extLst>
              <a:ext uri="{FF2B5EF4-FFF2-40B4-BE49-F238E27FC236}">
                <a16:creationId xmlns:a16="http://schemas.microsoft.com/office/drawing/2014/main" id="{C32D6EAF-A21D-3541-9CAB-09A783C3E338}"/>
              </a:ext>
            </a:extLst>
          </p:cNvPr>
          <p:cNvSpPr/>
          <p:nvPr/>
        </p:nvSpPr>
        <p:spPr>
          <a:xfrm>
            <a:off x="3155512" y="3935116"/>
            <a:ext cx="1165255"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Farid Abushov</a:t>
            </a:r>
            <a:endParaRPr lang="x-none" sz="1200" dirty="0">
              <a:latin typeface="Arial" panose="020B0604020202020204" pitchFamily="34" charset="0"/>
              <a:cs typeface="Arial" panose="020B0604020202020204" pitchFamily="34" charset="0"/>
            </a:endParaRPr>
          </a:p>
        </p:txBody>
      </p:sp>
      <p:sp>
        <p:nvSpPr>
          <p:cNvPr id="104" name="Прямоугольник 87">
            <a:extLst>
              <a:ext uri="{FF2B5EF4-FFF2-40B4-BE49-F238E27FC236}">
                <a16:creationId xmlns:a16="http://schemas.microsoft.com/office/drawing/2014/main" id="{FCFB9C44-D9CA-CF47-B333-DCE726993DBD}"/>
              </a:ext>
            </a:extLst>
          </p:cNvPr>
          <p:cNvSpPr/>
          <p:nvPr/>
        </p:nvSpPr>
        <p:spPr>
          <a:xfrm>
            <a:off x="8721486" y="1533799"/>
            <a:ext cx="3321243"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MVP delivery to be postponed to the end of March’21</a:t>
            </a:r>
            <a:endParaRPr lang="x-none" sz="1200" dirty="0">
              <a:latin typeface="Arial" panose="020B0604020202020204" pitchFamily="34" charset="0"/>
              <a:cs typeface="Arial" panose="020B0604020202020204" pitchFamily="34" charset="0"/>
            </a:endParaRPr>
          </a:p>
        </p:txBody>
      </p:sp>
      <p:sp>
        <p:nvSpPr>
          <p:cNvPr id="108" name="Прямоугольник 87">
            <a:extLst>
              <a:ext uri="{FF2B5EF4-FFF2-40B4-BE49-F238E27FC236}">
                <a16:creationId xmlns:a16="http://schemas.microsoft.com/office/drawing/2014/main" id="{FCFB9C44-D9CA-CF47-B333-DCE726993DBD}"/>
              </a:ext>
            </a:extLst>
          </p:cNvPr>
          <p:cNvSpPr/>
          <p:nvPr/>
        </p:nvSpPr>
        <p:spPr>
          <a:xfrm>
            <a:off x="8732905" y="2072744"/>
            <a:ext cx="3321243"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Detailed Product Description, Analysis by IT, Brand Identity, ATM UX/UI design  </a:t>
            </a:r>
            <a:endParaRPr lang="x-none" sz="1200" dirty="0">
              <a:latin typeface="Arial" panose="020B0604020202020204" pitchFamily="34" charset="0"/>
              <a:cs typeface="Arial" panose="020B0604020202020204" pitchFamily="34" charset="0"/>
            </a:endParaRPr>
          </a:p>
        </p:txBody>
      </p:sp>
      <p:sp>
        <p:nvSpPr>
          <p:cNvPr id="111" name="Прямоугольник 87">
            <a:extLst>
              <a:ext uri="{FF2B5EF4-FFF2-40B4-BE49-F238E27FC236}">
                <a16:creationId xmlns:a16="http://schemas.microsoft.com/office/drawing/2014/main" id="{FCFB9C44-D9CA-CF47-B333-DCE726993DBD}"/>
              </a:ext>
            </a:extLst>
          </p:cNvPr>
          <p:cNvSpPr/>
          <p:nvPr/>
        </p:nvSpPr>
        <p:spPr>
          <a:xfrm>
            <a:off x="8721486" y="2643057"/>
            <a:ext cx="2856619"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Planning stage to be delivered by the end of Nov</a:t>
            </a:r>
            <a:endParaRPr lang="x-none" sz="1200" dirty="0">
              <a:latin typeface="Arial" panose="020B0604020202020204" pitchFamily="34" charset="0"/>
              <a:cs typeface="Arial" panose="020B0604020202020204" pitchFamily="34" charset="0"/>
            </a:endParaRPr>
          </a:p>
        </p:txBody>
      </p:sp>
      <p:sp>
        <p:nvSpPr>
          <p:cNvPr id="127" name="Прямоугольник 89">
            <a:extLst>
              <a:ext uri="{FF2B5EF4-FFF2-40B4-BE49-F238E27FC236}">
                <a16:creationId xmlns:a16="http://schemas.microsoft.com/office/drawing/2014/main" id="{97D1004D-5595-7140-9914-249B6AE01AD1}"/>
              </a:ext>
            </a:extLst>
          </p:cNvPr>
          <p:cNvSpPr/>
          <p:nvPr/>
        </p:nvSpPr>
        <p:spPr>
          <a:xfrm>
            <a:off x="4933030" y="3366766"/>
            <a:ext cx="492443"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TBD</a:t>
            </a:r>
            <a:endParaRPr lang="x-none" sz="1200" dirty="0">
              <a:latin typeface="Arial" panose="020B0604020202020204" pitchFamily="34" charset="0"/>
              <a:cs typeface="Arial" panose="020B0604020202020204" pitchFamily="34" charset="0"/>
            </a:endParaRPr>
          </a:p>
        </p:txBody>
      </p:sp>
      <p:sp>
        <p:nvSpPr>
          <p:cNvPr id="128" name="Прямоугольник 87">
            <a:extLst>
              <a:ext uri="{FF2B5EF4-FFF2-40B4-BE49-F238E27FC236}">
                <a16:creationId xmlns:a16="http://schemas.microsoft.com/office/drawing/2014/main" id="{FCFB9C44-D9CA-CF47-B333-DCE726993DBD}"/>
              </a:ext>
            </a:extLst>
          </p:cNvPr>
          <p:cNvSpPr/>
          <p:nvPr/>
        </p:nvSpPr>
        <p:spPr>
          <a:xfrm>
            <a:off x="8728117" y="3313901"/>
            <a:ext cx="3321243" cy="276999"/>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Kick off date - 23.12.20; 3-6 months</a:t>
            </a:r>
            <a:endParaRPr lang="x-none" sz="1200" dirty="0">
              <a:latin typeface="Arial" panose="020B0604020202020204" pitchFamily="34" charset="0"/>
              <a:cs typeface="Arial" panose="020B0604020202020204" pitchFamily="34" charset="0"/>
            </a:endParaRPr>
          </a:p>
        </p:txBody>
      </p:sp>
      <p:sp>
        <p:nvSpPr>
          <p:cNvPr id="129" name="Прямоугольник 87">
            <a:extLst>
              <a:ext uri="{FF2B5EF4-FFF2-40B4-BE49-F238E27FC236}">
                <a16:creationId xmlns:a16="http://schemas.microsoft.com/office/drawing/2014/main" id="{FCFB9C44-D9CA-CF47-B333-DCE726993DBD}"/>
              </a:ext>
            </a:extLst>
          </p:cNvPr>
          <p:cNvSpPr/>
          <p:nvPr/>
        </p:nvSpPr>
        <p:spPr>
          <a:xfrm>
            <a:off x="8721486" y="3875558"/>
            <a:ext cx="2745163" cy="46166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Expected kick off date - 26.12.20; 1</a:t>
            </a:r>
            <a:r>
              <a:rPr lang="en-US" sz="1200" baseline="30000" dirty="0">
                <a:latin typeface="Arial" panose="020B0604020202020204" pitchFamily="34" charset="0"/>
                <a:cs typeface="Arial" panose="020B0604020202020204" pitchFamily="34" charset="0"/>
              </a:rPr>
              <a:t>st</a:t>
            </a:r>
            <a:r>
              <a:rPr lang="en-US" sz="1200" dirty="0">
                <a:latin typeface="Arial" panose="020B0604020202020204" pitchFamily="34" charset="0"/>
                <a:cs typeface="Arial" panose="020B0604020202020204" pitchFamily="34" charset="0"/>
              </a:rPr>
              <a:t> phase duration</a:t>
            </a:r>
            <a:endParaRPr lang="x-none" sz="1200" dirty="0">
              <a:latin typeface="Arial" panose="020B0604020202020204" pitchFamily="34" charset="0"/>
              <a:cs typeface="Arial" panose="020B0604020202020204" pitchFamily="34" charset="0"/>
            </a:endParaRPr>
          </a:p>
        </p:txBody>
      </p:sp>
      <p:sp>
        <p:nvSpPr>
          <p:cNvPr id="77" name="Прямоугольник 87">
            <a:extLst>
              <a:ext uri="{FF2B5EF4-FFF2-40B4-BE49-F238E27FC236}">
                <a16:creationId xmlns:a16="http://schemas.microsoft.com/office/drawing/2014/main" id="{FCFB9C44-D9CA-CF47-B333-DCE726993DBD}"/>
              </a:ext>
            </a:extLst>
          </p:cNvPr>
          <p:cNvSpPr/>
          <p:nvPr/>
        </p:nvSpPr>
        <p:spPr>
          <a:xfrm>
            <a:off x="6501875" y="1620187"/>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ep’20</a:t>
            </a:r>
            <a:endParaRPr lang="x-none" sz="1200" dirty="0">
              <a:latin typeface="Arial" panose="020B0604020202020204" pitchFamily="34" charset="0"/>
              <a:cs typeface="Arial" panose="020B0604020202020204" pitchFamily="34" charset="0"/>
            </a:endParaRPr>
          </a:p>
        </p:txBody>
      </p:sp>
      <p:sp>
        <p:nvSpPr>
          <p:cNvPr id="78" name="Прямоугольник 87">
            <a:extLst>
              <a:ext uri="{FF2B5EF4-FFF2-40B4-BE49-F238E27FC236}">
                <a16:creationId xmlns:a16="http://schemas.microsoft.com/office/drawing/2014/main" id="{FCFB9C44-D9CA-CF47-B333-DCE726993DBD}"/>
              </a:ext>
            </a:extLst>
          </p:cNvPr>
          <p:cNvSpPr/>
          <p:nvPr/>
        </p:nvSpPr>
        <p:spPr>
          <a:xfrm>
            <a:off x="6543440" y="2728765"/>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Sep’20</a:t>
            </a:r>
            <a:endParaRPr lang="x-none" sz="1200" dirty="0">
              <a:latin typeface="Arial" panose="020B0604020202020204" pitchFamily="34" charset="0"/>
              <a:cs typeface="Arial" panose="020B0604020202020204" pitchFamily="34" charset="0"/>
            </a:endParaRPr>
          </a:p>
        </p:txBody>
      </p:sp>
      <p:sp>
        <p:nvSpPr>
          <p:cNvPr id="79" name="Прямоугольник 87">
            <a:extLst>
              <a:ext uri="{FF2B5EF4-FFF2-40B4-BE49-F238E27FC236}">
                <a16:creationId xmlns:a16="http://schemas.microsoft.com/office/drawing/2014/main" id="{FCFB9C44-D9CA-CF47-B333-DCE726993DBD}"/>
              </a:ext>
            </a:extLst>
          </p:cNvPr>
          <p:cNvSpPr/>
          <p:nvPr/>
        </p:nvSpPr>
        <p:spPr>
          <a:xfrm>
            <a:off x="6539838" y="3354747"/>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Nov’20</a:t>
            </a:r>
            <a:endParaRPr lang="x-none" sz="1200" dirty="0">
              <a:latin typeface="Arial" panose="020B0604020202020204" pitchFamily="34" charset="0"/>
              <a:cs typeface="Arial" panose="020B0604020202020204" pitchFamily="34" charset="0"/>
            </a:endParaRPr>
          </a:p>
        </p:txBody>
      </p:sp>
      <p:sp>
        <p:nvSpPr>
          <p:cNvPr id="80" name="Прямоугольник 87">
            <a:extLst>
              <a:ext uri="{FF2B5EF4-FFF2-40B4-BE49-F238E27FC236}">
                <a16:creationId xmlns:a16="http://schemas.microsoft.com/office/drawing/2014/main" id="{FCFB9C44-D9CA-CF47-B333-DCE726993DBD}"/>
              </a:ext>
            </a:extLst>
          </p:cNvPr>
          <p:cNvSpPr/>
          <p:nvPr/>
        </p:nvSpPr>
        <p:spPr>
          <a:xfrm>
            <a:off x="6539838" y="3913297"/>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Nov’20</a:t>
            </a:r>
            <a:endParaRPr lang="x-none" sz="1200" dirty="0">
              <a:latin typeface="Arial" panose="020B0604020202020204" pitchFamily="34" charset="0"/>
              <a:cs typeface="Arial" panose="020B0604020202020204" pitchFamily="34" charset="0"/>
            </a:endParaRPr>
          </a:p>
        </p:txBody>
      </p:sp>
      <p:sp>
        <p:nvSpPr>
          <p:cNvPr id="81" name="Прямоугольник 87">
            <a:extLst>
              <a:ext uri="{FF2B5EF4-FFF2-40B4-BE49-F238E27FC236}">
                <a16:creationId xmlns:a16="http://schemas.microsoft.com/office/drawing/2014/main" id="{FCFB9C44-D9CA-CF47-B333-DCE726993DBD}"/>
              </a:ext>
            </a:extLst>
          </p:cNvPr>
          <p:cNvSpPr/>
          <p:nvPr/>
        </p:nvSpPr>
        <p:spPr>
          <a:xfrm>
            <a:off x="7266291" y="2728544"/>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Dec’22</a:t>
            </a:r>
            <a:endParaRPr lang="x-none" sz="1200" dirty="0">
              <a:latin typeface="Arial" panose="020B0604020202020204" pitchFamily="34" charset="0"/>
              <a:cs typeface="Arial" panose="020B0604020202020204" pitchFamily="34" charset="0"/>
            </a:endParaRPr>
          </a:p>
        </p:txBody>
      </p:sp>
      <p:sp>
        <p:nvSpPr>
          <p:cNvPr id="82" name="Прямоугольник 87">
            <a:extLst>
              <a:ext uri="{FF2B5EF4-FFF2-40B4-BE49-F238E27FC236}">
                <a16:creationId xmlns:a16="http://schemas.microsoft.com/office/drawing/2014/main" id="{FCFB9C44-D9CA-CF47-B333-DCE726993DBD}"/>
              </a:ext>
            </a:extLst>
          </p:cNvPr>
          <p:cNvSpPr/>
          <p:nvPr/>
        </p:nvSpPr>
        <p:spPr>
          <a:xfrm>
            <a:off x="7289062" y="2151912"/>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Dec’21</a:t>
            </a:r>
            <a:endParaRPr lang="x-none" sz="1200" dirty="0">
              <a:latin typeface="Arial" panose="020B0604020202020204" pitchFamily="34" charset="0"/>
              <a:cs typeface="Arial" panose="020B0604020202020204" pitchFamily="34" charset="0"/>
            </a:endParaRPr>
          </a:p>
        </p:txBody>
      </p:sp>
      <p:sp>
        <p:nvSpPr>
          <p:cNvPr id="83" name="Прямоугольник 87">
            <a:extLst>
              <a:ext uri="{FF2B5EF4-FFF2-40B4-BE49-F238E27FC236}">
                <a16:creationId xmlns:a16="http://schemas.microsoft.com/office/drawing/2014/main" id="{FCFB9C44-D9CA-CF47-B333-DCE726993DBD}"/>
              </a:ext>
            </a:extLst>
          </p:cNvPr>
          <p:cNvSpPr/>
          <p:nvPr/>
        </p:nvSpPr>
        <p:spPr>
          <a:xfrm>
            <a:off x="7287149" y="1632214"/>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Dec’21</a:t>
            </a:r>
            <a:endParaRPr lang="x-none" sz="1200" dirty="0">
              <a:latin typeface="Arial" panose="020B0604020202020204" pitchFamily="34" charset="0"/>
              <a:cs typeface="Arial" panose="020B0604020202020204" pitchFamily="34" charset="0"/>
            </a:endParaRPr>
          </a:p>
        </p:txBody>
      </p:sp>
      <p:sp>
        <p:nvSpPr>
          <p:cNvPr id="84" name="Прямоугольник 87">
            <a:extLst>
              <a:ext uri="{FF2B5EF4-FFF2-40B4-BE49-F238E27FC236}">
                <a16:creationId xmlns:a16="http://schemas.microsoft.com/office/drawing/2014/main" id="{FCFB9C44-D9CA-CF47-B333-DCE726993DBD}"/>
              </a:ext>
            </a:extLst>
          </p:cNvPr>
          <p:cNvSpPr/>
          <p:nvPr/>
        </p:nvSpPr>
        <p:spPr>
          <a:xfrm>
            <a:off x="6527733" y="2160219"/>
            <a:ext cx="660758"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ug’21</a:t>
            </a:r>
            <a:endParaRPr lang="x-none" sz="1200" dirty="0">
              <a:latin typeface="Arial" panose="020B0604020202020204" pitchFamily="34" charset="0"/>
              <a:cs typeface="Arial" panose="020B0604020202020204" pitchFamily="34" charset="0"/>
            </a:endParaRPr>
          </a:p>
        </p:txBody>
      </p:sp>
      <p:sp>
        <p:nvSpPr>
          <p:cNvPr id="85" name="Прямоугольник 87">
            <a:extLst>
              <a:ext uri="{FF2B5EF4-FFF2-40B4-BE49-F238E27FC236}">
                <a16:creationId xmlns:a16="http://schemas.microsoft.com/office/drawing/2014/main" id="{FCFB9C44-D9CA-CF47-B333-DCE726993DBD}"/>
              </a:ext>
            </a:extLst>
          </p:cNvPr>
          <p:cNvSpPr/>
          <p:nvPr/>
        </p:nvSpPr>
        <p:spPr>
          <a:xfrm>
            <a:off x="7266291" y="3344769"/>
            <a:ext cx="63280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pr’21</a:t>
            </a:r>
            <a:endParaRPr lang="x-none" sz="1200" dirty="0">
              <a:latin typeface="Arial" panose="020B0604020202020204" pitchFamily="34" charset="0"/>
              <a:cs typeface="Arial" panose="020B0604020202020204" pitchFamily="34" charset="0"/>
            </a:endParaRPr>
          </a:p>
        </p:txBody>
      </p:sp>
      <p:sp>
        <p:nvSpPr>
          <p:cNvPr id="86" name="Прямоугольник 87">
            <a:extLst>
              <a:ext uri="{FF2B5EF4-FFF2-40B4-BE49-F238E27FC236}">
                <a16:creationId xmlns:a16="http://schemas.microsoft.com/office/drawing/2014/main" id="{FCFB9C44-D9CA-CF47-B333-DCE726993DBD}"/>
              </a:ext>
            </a:extLst>
          </p:cNvPr>
          <p:cNvSpPr/>
          <p:nvPr/>
        </p:nvSpPr>
        <p:spPr>
          <a:xfrm>
            <a:off x="7265884" y="3894098"/>
            <a:ext cx="632802" cy="276999"/>
          </a:xfrm>
          <a:prstGeom prst="rect">
            <a:avLst/>
          </a:prstGeom>
        </p:spPr>
        <p:txBody>
          <a:bodyPr wrap="none">
            <a:spAutoFit/>
          </a:bodyPr>
          <a:lstStyle/>
          <a:p>
            <a:r>
              <a:rPr lang="en-US" sz="1200" dirty="0">
                <a:latin typeface="Arial" panose="020B0604020202020204" pitchFamily="34" charset="0"/>
                <a:cs typeface="Arial" panose="020B0604020202020204" pitchFamily="34" charset="0"/>
              </a:rPr>
              <a:t>Apr’21</a:t>
            </a:r>
            <a:endParaRPr lang="x-none" sz="1200" dirty="0">
              <a:latin typeface="Arial" panose="020B0604020202020204" pitchFamily="34" charset="0"/>
              <a:cs typeface="Arial" panose="020B0604020202020204" pitchFamily="34" charset="0"/>
            </a:endParaRPr>
          </a:p>
        </p:txBody>
      </p:sp>
      <p:pic>
        <p:nvPicPr>
          <p:cNvPr id="100" name="CustomIcon">
            <a:extLst>
              <a:ext uri="{FF2B5EF4-FFF2-40B4-BE49-F238E27FC236}">
                <a16:creationId xmlns:a16="http://schemas.microsoft.com/office/drawing/2014/main" id="{8FC7861E-C548-8243-BFD7-EDDDEBB49E3F}"/>
              </a:ext>
            </a:extLst>
          </p:cNvPr>
          <p:cNvPicPr>
            <a:picLocks/>
          </p:cNvPicPr>
          <p:nvPr>
            <p:custDataLst>
              <p:tags r:id="rId12"/>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8095142" y="3336549"/>
            <a:ext cx="219819" cy="219818"/>
          </a:xfrm>
          <a:prstGeom prst="rect">
            <a:avLst/>
          </a:prstGeom>
        </p:spPr>
      </p:pic>
      <p:pic>
        <p:nvPicPr>
          <p:cNvPr id="101" name="CustomIcon">
            <a:extLst>
              <a:ext uri="{FF2B5EF4-FFF2-40B4-BE49-F238E27FC236}">
                <a16:creationId xmlns:a16="http://schemas.microsoft.com/office/drawing/2014/main" id="{5DBA99AA-8D29-6B4A-B445-2F2FAC41DB2E}"/>
              </a:ext>
            </a:extLst>
          </p:cNvPr>
          <p:cNvPicPr>
            <a:picLocks/>
          </p:cNvPicPr>
          <p:nvPr>
            <p:custDataLst>
              <p:tags r:id="rId13"/>
            </p:custDataLst>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8086799" y="3922688"/>
            <a:ext cx="219819" cy="219818"/>
          </a:xfrm>
          <a:prstGeom prst="rect">
            <a:avLst/>
          </a:prstGeom>
        </p:spPr>
      </p:pic>
    </p:spTree>
    <p:extLst>
      <p:ext uri="{BB962C8B-B14F-4D97-AF65-F5344CB8AC3E}">
        <p14:creationId xmlns:p14="http://schemas.microsoft.com/office/powerpoint/2010/main" val="4042678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78853" y="-33647"/>
            <a:ext cx="10515600" cy="1325563"/>
          </a:xfrm>
        </p:spPr>
        <p:txBody>
          <a:bodyPr/>
          <a:lstStyle/>
          <a:p>
            <a:r>
              <a:rPr lang="en-US" sz="3600" dirty="0">
                <a:latin typeface="Arial" panose="020B0604020202020204" pitchFamily="34" charset="0"/>
                <a:cs typeface="Arial" panose="020B0604020202020204" pitchFamily="34" charset="0"/>
              </a:rPr>
              <a:t>Project Delivery Calendar</a:t>
            </a:r>
            <a:br>
              <a:rPr lang="en-US" sz="36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2020</a:t>
            </a:r>
            <a:endParaRPr lang="x-none" dirty="0">
              <a:latin typeface="Arial" panose="020B0604020202020204" pitchFamily="34" charset="0"/>
              <a:cs typeface="Arial" panose="020B0604020202020204" pitchFamily="34" charset="0"/>
            </a:endParaRPr>
          </a:p>
        </p:txBody>
      </p:sp>
      <p:grpSp>
        <p:nvGrpSpPr>
          <p:cNvPr id="7" name="Группа 6">
            <a:extLst>
              <a:ext uri="{FF2B5EF4-FFF2-40B4-BE49-F238E27FC236}">
                <a16:creationId xmlns:a16="http://schemas.microsoft.com/office/drawing/2014/main" id="{867B3D27-277F-3F43-B83A-44294893570D}"/>
              </a:ext>
            </a:extLst>
          </p:cNvPr>
          <p:cNvGrpSpPr/>
          <p:nvPr/>
        </p:nvGrpSpPr>
        <p:grpSpPr>
          <a:xfrm>
            <a:off x="382498" y="1176281"/>
            <a:ext cx="11528757" cy="5409625"/>
            <a:chOff x="382498" y="1176281"/>
            <a:chExt cx="11528757" cy="5409625"/>
          </a:xfrm>
        </p:grpSpPr>
        <p:sp>
          <p:nvSpPr>
            <p:cNvPr id="5" name="Прямоугольник 4">
              <a:extLst>
                <a:ext uri="{FF2B5EF4-FFF2-40B4-BE49-F238E27FC236}">
                  <a16:creationId xmlns:a16="http://schemas.microsoft.com/office/drawing/2014/main" id="{010EF03B-8FC6-F64F-AA75-1B71436DEDB7}"/>
                </a:ext>
              </a:extLst>
            </p:cNvPr>
            <p:cNvSpPr/>
            <p:nvPr/>
          </p:nvSpPr>
          <p:spPr>
            <a:xfrm>
              <a:off x="386777" y="1177148"/>
              <a:ext cx="11520000" cy="18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4" name="Прямоугольник 63">
              <a:extLst>
                <a:ext uri="{FF2B5EF4-FFF2-40B4-BE49-F238E27FC236}">
                  <a16:creationId xmlns:a16="http://schemas.microsoft.com/office/drawing/2014/main" id="{EC5BF0E9-A435-794D-8DA1-40921BC6A621}"/>
                </a:ext>
              </a:extLst>
            </p:cNvPr>
            <p:cNvSpPr/>
            <p:nvPr/>
          </p:nvSpPr>
          <p:spPr>
            <a:xfrm>
              <a:off x="386777" y="1176281"/>
              <a:ext cx="1152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5" name="Прямоугольник 64">
              <a:extLst>
                <a:ext uri="{FF2B5EF4-FFF2-40B4-BE49-F238E27FC236}">
                  <a16:creationId xmlns:a16="http://schemas.microsoft.com/office/drawing/2014/main" id="{F7EC96B1-188F-0044-B5F6-29A93F1F9B36}"/>
                </a:ext>
              </a:extLst>
            </p:cNvPr>
            <p:cNvSpPr/>
            <p:nvPr/>
          </p:nvSpPr>
          <p:spPr>
            <a:xfrm>
              <a:off x="386777" y="2985906"/>
              <a:ext cx="11520000" cy="18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6" name="Прямоугольник 65">
              <a:extLst>
                <a:ext uri="{FF2B5EF4-FFF2-40B4-BE49-F238E27FC236}">
                  <a16:creationId xmlns:a16="http://schemas.microsoft.com/office/drawing/2014/main" id="{CFAAFAF6-C25A-DD4C-8911-DB0F088A7C40}"/>
                </a:ext>
              </a:extLst>
            </p:cNvPr>
            <p:cNvSpPr/>
            <p:nvPr/>
          </p:nvSpPr>
          <p:spPr>
            <a:xfrm>
              <a:off x="386777" y="1181740"/>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7" name="Прямоугольник 66">
              <a:extLst>
                <a:ext uri="{FF2B5EF4-FFF2-40B4-BE49-F238E27FC236}">
                  <a16:creationId xmlns:a16="http://schemas.microsoft.com/office/drawing/2014/main" id="{8E072438-3480-9049-8560-D75AFE823795}"/>
                </a:ext>
              </a:extLst>
            </p:cNvPr>
            <p:cNvSpPr/>
            <p:nvPr/>
          </p:nvSpPr>
          <p:spPr>
            <a:xfrm>
              <a:off x="3271512" y="1185906"/>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1" name="Прямоугольник 70">
              <a:extLst>
                <a:ext uri="{FF2B5EF4-FFF2-40B4-BE49-F238E27FC236}">
                  <a16:creationId xmlns:a16="http://schemas.microsoft.com/office/drawing/2014/main" id="{BC0C142E-A2D0-3741-9699-A850F228828B}"/>
                </a:ext>
              </a:extLst>
            </p:cNvPr>
            <p:cNvSpPr/>
            <p:nvPr/>
          </p:nvSpPr>
          <p:spPr>
            <a:xfrm>
              <a:off x="6146777" y="1176281"/>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2" name="Прямоугольник 71">
              <a:extLst>
                <a:ext uri="{FF2B5EF4-FFF2-40B4-BE49-F238E27FC236}">
                  <a16:creationId xmlns:a16="http://schemas.microsoft.com/office/drawing/2014/main" id="{E2C24518-DD2E-2C41-88A9-A8BAF1179A27}"/>
                </a:ext>
              </a:extLst>
            </p:cNvPr>
            <p:cNvSpPr/>
            <p:nvPr/>
          </p:nvSpPr>
          <p:spPr>
            <a:xfrm>
              <a:off x="9026777" y="1176281"/>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3" name="Rectangle 112">
              <a:extLst>
                <a:ext uri="{FF2B5EF4-FFF2-40B4-BE49-F238E27FC236}">
                  <a16:creationId xmlns:a16="http://schemas.microsoft.com/office/drawing/2014/main" id="{3BB70053-B446-F841-8DCD-992D400CA5F3}"/>
                </a:ext>
              </a:extLst>
            </p:cNvPr>
            <p:cNvSpPr>
              <a:spLocks noChangeArrowheads="1"/>
            </p:cNvSpPr>
            <p:nvPr/>
          </p:nvSpPr>
          <p:spPr bwMode="auto">
            <a:xfrm>
              <a:off x="386976" y="1181214"/>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anuary 20’</a:t>
              </a:r>
            </a:p>
          </p:txBody>
        </p:sp>
        <p:sp>
          <p:nvSpPr>
            <p:cNvPr id="74" name="Rectangle 112">
              <a:extLst>
                <a:ext uri="{FF2B5EF4-FFF2-40B4-BE49-F238E27FC236}">
                  <a16:creationId xmlns:a16="http://schemas.microsoft.com/office/drawing/2014/main" id="{A6424055-4F5E-DB43-AF0F-CE9468D4CF59}"/>
                </a:ext>
              </a:extLst>
            </p:cNvPr>
            <p:cNvSpPr>
              <a:spLocks noChangeArrowheads="1"/>
            </p:cNvSpPr>
            <p:nvPr/>
          </p:nvSpPr>
          <p:spPr bwMode="auto">
            <a:xfrm>
              <a:off x="3271392" y="1177712"/>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February 20’</a:t>
              </a:r>
            </a:p>
          </p:txBody>
        </p:sp>
        <p:sp>
          <p:nvSpPr>
            <p:cNvPr id="75" name="Rectangle 112">
              <a:extLst>
                <a:ext uri="{FF2B5EF4-FFF2-40B4-BE49-F238E27FC236}">
                  <a16:creationId xmlns:a16="http://schemas.microsoft.com/office/drawing/2014/main" id="{7B209681-EE7C-6C45-A0BD-D0FD2EDC48B5}"/>
                </a:ext>
              </a:extLst>
            </p:cNvPr>
            <p:cNvSpPr>
              <a:spLocks noChangeArrowheads="1"/>
            </p:cNvSpPr>
            <p:nvPr/>
          </p:nvSpPr>
          <p:spPr bwMode="auto">
            <a:xfrm>
              <a:off x="6156203" y="1177628"/>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March 20’</a:t>
              </a:r>
            </a:p>
          </p:txBody>
        </p:sp>
        <p:sp>
          <p:nvSpPr>
            <p:cNvPr id="76" name="Rectangle 112">
              <a:extLst>
                <a:ext uri="{FF2B5EF4-FFF2-40B4-BE49-F238E27FC236}">
                  <a16:creationId xmlns:a16="http://schemas.microsoft.com/office/drawing/2014/main" id="{1A986358-2A09-B742-8C5D-64132E4A4861}"/>
                </a:ext>
              </a:extLst>
            </p:cNvPr>
            <p:cNvSpPr>
              <a:spLocks noChangeArrowheads="1"/>
            </p:cNvSpPr>
            <p:nvPr/>
          </p:nvSpPr>
          <p:spPr bwMode="auto">
            <a:xfrm>
              <a:off x="9031255" y="1179218"/>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pril 20’</a:t>
              </a:r>
            </a:p>
          </p:txBody>
        </p:sp>
        <p:sp>
          <p:nvSpPr>
            <p:cNvPr id="77" name="Rectangle 112">
              <a:extLst>
                <a:ext uri="{FF2B5EF4-FFF2-40B4-BE49-F238E27FC236}">
                  <a16:creationId xmlns:a16="http://schemas.microsoft.com/office/drawing/2014/main" id="{FFD26456-5D4B-7746-905D-7FF6C4BAB2FD}"/>
                </a:ext>
              </a:extLst>
            </p:cNvPr>
            <p:cNvSpPr>
              <a:spLocks noChangeArrowheads="1"/>
            </p:cNvSpPr>
            <p:nvPr/>
          </p:nvSpPr>
          <p:spPr bwMode="auto">
            <a:xfrm>
              <a:off x="382498" y="2976281"/>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May 20’</a:t>
              </a:r>
            </a:p>
          </p:txBody>
        </p:sp>
        <p:sp>
          <p:nvSpPr>
            <p:cNvPr id="78" name="Rectangle 112">
              <a:extLst>
                <a:ext uri="{FF2B5EF4-FFF2-40B4-BE49-F238E27FC236}">
                  <a16:creationId xmlns:a16="http://schemas.microsoft.com/office/drawing/2014/main" id="{411927B8-FA47-B245-8A34-931D4D5B3CF1}"/>
                </a:ext>
              </a:extLst>
            </p:cNvPr>
            <p:cNvSpPr>
              <a:spLocks noChangeArrowheads="1"/>
            </p:cNvSpPr>
            <p:nvPr/>
          </p:nvSpPr>
          <p:spPr bwMode="auto">
            <a:xfrm>
              <a:off x="3266914" y="2972779"/>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une 20’</a:t>
              </a:r>
            </a:p>
          </p:txBody>
        </p:sp>
        <p:sp>
          <p:nvSpPr>
            <p:cNvPr id="79" name="Rectangle 112">
              <a:extLst>
                <a:ext uri="{FF2B5EF4-FFF2-40B4-BE49-F238E27FC236}">
                  <a16:creationId xmlns:a16="http://schemas.microsoft.com/office/drawing/2014/main" id="{1A5E20B0-08B8-0F47-87E0-E8AACE07A73A}"/>
                </a:ext>
              </a:extLst>
            </p:cNvPr>
            <p:cNvSpPr>
              <a:spLocks noChangeArrowheads="1"/>
            </p:cNvSpPr>
            <p:nvPr/>
          </p:nvSpPr>
          <p:spPr bwMode="auto">
            <a:xfrm>
              <a:off x="6151725" y="2972695"/>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uly 20’</a:t>
              </a:r>
            </a:p>
          </p:txBody>
        </p:sp>
        <p:sp>
          <p:nvSpPr>
            <p:cNvPr id="80" name="Rectangle 112">
              <a:extLst>
                <a:ext uri="{FF2B5EF4-FFF2-40B4-BE49-F238E27FC236}">
                  <a16:creationId xmlns:a16="http://schemas.microsoft.com/office/drawing/2014/main" id="{FB504510-4F25-C948-9887-4F37BB6B8CD5}"/>
                </a:ext>
              </a:extLst>
            </p:cNvPr>
            <p:cNvSpPr>
              <a:spLocks noChangeArrowheads="1"/>
            </p:cNvSpPr>
            <p:nvPr/>
          </p:nvSpPr>
          <p:spPr bwMode="auto">
            <a:xfrm>
              <a:off x="9026777" y="2974285"/>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ugust 20’</a:t>
              </a:r>
            </a:p>
          </p:txBody>
        </p:sp>
        <p:sp>
          <p:nvSpPr>
            <p:cNvPr id="81" name="Rectangle 112">
              <a:extLst>
                <a:ext uri="{FF2B5EF4-FFF2-40B4-BE49-F238E27FC236}">
                  <a16:creationId xmlns:a16="http://schemas.microsoft.com/office/drawing/2014/main" id="{3653EA72-23BF-F746-9E74-048EEADCFA95}"/>
                </a:ext>
              </a:extLst>
            </p:cNvPr>
            <p:cNvSpPr>
              <a:spLocks noChangeArrowheads="1"/>
            </p:cNvSpPr>
            <p:nvPr/>
          </p:nvSpPr>
          <p:spPr bwMode="auto">
            <a:xfrm>
              <a:off x="382498" y="4776444"/>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September 20’</a:t>
              </a:r>
            </a:p>
          </p:txBody>
        </p:sp>
        <p:sp>
          <p:nvSpPr>
            <p:cNvPr id="82" name="Rectangle 112">
              <a:extLst>
                <a:ext uri="{FF2B5EF4-FFF2-40B4-BE49-F238E27FC236}">
                  <a16:creationId xmlns:a16="http://schemas.microsoft.com/office/drawing/2014/main" id="{F1360A12-3556-FB44-9380-E78A02EBBDD3}"/>
                </a:ext>
              </a:extLst>
            </p:cNvPr>
            <p:cNvSpPr>
              <a:spLocks noChangeArrowheads="1"/>
            </p:cNvSpPr>
            <p:nvPr/>
          </p:nvSpPr>
          <p:spPr bwMode="auto">
            <a:xfrm>
              <a:off x="3266914" y="4772942"/>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ctober 20’</a:t>
              </a:r>
            </a:p>
          </p:txBody>
        </p:sp>
        <p:sp>
          <p:nvSpPr>
            <p:cNvPr id="83" name="Rectangle 112">
              <a:extLst>
                <a:ext uri="{FF2B5EF4-FFF2-40B4-BE49-F238E27FC236}">
                  <a16:creationId xmlns:a16="http://schemas.microsoft.com/office/drawing/2014/main" id="{7D24D1EA-76BE-A540-8686-6E2F02EA2E7A}"/>
                </a:ext>
              </a:extLst>
            </p:cNvPr>
            <p:cNvSpPr>
              <a:spLocks noChangeArrowheads="1"/>
            </p:cNvSpPr>
            <p:nvPr/>
          </p:nvSpPr>
          <p:spPr bwMode="auto">
            <a:xfrm>
              <a:off x="6151725" y="4772858"/>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vember 20’</a:t>
              </a:r>
            </a:p>
          </p:txBody>
        </p:sp>
        <p:sp>
          <p:nvSpPr>
            <p:cNvPr id="84" name="Rectangle 112">
              <a:extLst>
                <a:ext uri="{FF2B5EF4-FFF2-40B4-BE49-F238E27FC236}">
                  <a16:creationId xmlns:a16="http://schemas.microsoft.com/office/drawing/2014/main" id="{9E2C0DB2-9FD7-3F48-A3B6-1491417A5587}"/>
                </a:ext>
              </a:extLst>
            </p:cNvPr>
            <p:cNvSpPr>
              <a:spLocks noChangeArrowheads="1"/>
            </p:cNvSpPr>
            <p:nvPr/>
          </p:nvSpPr>
          <p:spPr bwMode="auto">
            <a:xfrm>
              <a:off x="9026777" y="4774448"/>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December 20’</a:t>
              </a:r>
            </a:p>
          </p:txBody>
        </p:sp>
      </p:grpSp>
      <p:grpSp>
        <p:nvGrpSpPr>
          <p:cNvPr id="12" name="Группа 11">
            <a:extLst>
              <a:ext uri="{FF2B5EF4-FFF2-40B4-BE49-F238E27FC236}">
                <a16:creationId xmlns:a16="http://schemas.microsoft.com/office/drawing/2014/main" id="{0D2F0FD3-62EC-B944-A362-FC55C0441D60}"/>
              </a:ext>
            </a:extLst>
          </p:cNvPr>
          <p:cNvGrpSpPr/>
          <p:nvPr/>
        </p:nvGrpSpPr>
        <p:grpSpPr>
          <a:xfrm>
            <a:off x="6283186" y="5219328"/>
            <a:ext cx="2569639" cy="221114"/>
            <a:chOff x="521904" y="1683858"/>
            <a:chExt cx="2569639" cy="221114"/>
          </a:xfrm>
        </p:grpSpPr>
        <p:sp>
          <p:nvSpPr>
            <p:cNvPr id="6" name="Скругленный прямоугольник 5">
              <a:extLst>
                <a:ext uri="{FF2B5EF4-FFF2-40B4-BE49-F238E27FC236}">
                  <a16:creationId xmlns:a16="http://schemas.microsoft.com/office/drawing/2014/main" id="{24FE1DAA-0AA0-7240-A174-8FA613DF1241}"/>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bg1"/>
                  </a:solidFill>
                  <a:latin typeface="Arial" panose="020B0604020202020204" pitchFamily="34" charset="0"/>
                  <a:cs typeface="Arial" panose="020B0604020202020204" pitchFamily="34" charset="0"/>
                </a:rPr>
                <a:t>Prestij</a:t>
              </a:r>
              <a:r>
                <a:rPr lang="en-US" sz="1050" b="1" dirty="0">
                  <a:solidFill>
                    <a:schemeClr val="bg1"/>
                  </a:solidFill>
                  <a:latin typeface="Arial" panose="020B0604020202020204" pitchFamily="34" charset="0"/>
                  <a:cs typeface="Arial" panose="020B0604020202020204" pitchFamily="34" charset="0"/>
                </a:rPr>
                <a:t> Launch</a:t>
              </a:r>
              <a:endParaRPr lang="ru-AZ" sz="1050" b="1" dirty="0">
                <a:solidFill>
                  <a:schemeClr val="bg1"/>
                </a:solidFill>
                <a:latin typeface="Arial" panose="020B0604020202020204" pitchFamily="34" charset="0"/>
                <a:cs typeface="Arial" panose="020B0604020202020204" pitchFamily="34" charset="0"/>
              </a:endParaRPr>
            </a:p>
          </p:txBody>
        </p:sp>
        <p:sp>
          <p:nvSpPr>
            <p:cNvPr id="11" name="Овал 10">
              <a:extLst>
                <a:ext uri="{FF2B5EF4-FFF2-40B4-BE49-F238E27FC236}">
                  <a16:creationId xmlns:a16="http://schemas.microsoft.com/office/drawing/2014/main" id="{01080436-2D8C-CA4A-A593-BD9F1E208102}"/>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102" name="Овал 101">
              <a:extLst>
                <a:ext uri="{FF2B5EF4-FFF2-40B4-BE49-F238E27FC236}">
                  <a16:creationId xmlns:a16="http://schemas.microsoft.com/office/drawing/2014/main" id="{8C756CD2-5A0A-3745-9F54-694123E0B956}"/>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104" name="Группа 103">
            <a:extLst>
              <a:ext uri="{FF2B5EF4-FFF2-40B4-BE49-F238E27FC236}">
                <a16:creationId xmlns:a16="http://schemas.microsoft.com/office/drawing/2014/main" id="{34D150F7-BDA4-B646-A5DE-CE2A5375AB72}"/>
              </a:ext>
            </a:extLst>
          </p:cNvPr>
          <p:cNvGrpSpPr/>
          <p:nvPr/>
        </p:nvGrpSpPr>
        <p:grpSpPr>
          <a:xfrm>
            <a:off x="9165098" y="5219292"/>
            <a:ext cx="2569639" cy="221114"/>
            <a:chOff x="521904" y="1683858"/>
            <a:chExt cx="2569639" cy="221114"/>
          </a:xfrm>
        </p:grpSpPr>
        <p:sp>
          <p:nvSpPr>
            <p:cNvPr id="105" name="Скругленный прямоугольник 104">
              <a:extLst>
                <a:ext uri="{FF2B5EF4-FFF2-40B4-BE49-F238E27FC236}">
                  <a16:creationId xmlns:a16="http://schemas.microsoft.com/office/drawing/2014/main" id="{C7D44B53-2009-F640-8C1F-7AECE4145C4E}"/>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Garmin Launch</a:t>
              </a:r>
              <a:endParaRPr lang="ru-AZ" sz="1050" b="1" dirty="0">
                <a:solidFill>
                  <a:schemeClr val="bg1"/>
                </a:solidFill>
                <a:latin typeface="Arial" panose="020B0604020202020204" pitchFamily="34" charset="0"/>
                <a:cs typeface="Arial" panose="020B0604020202020204" pitchFamily="34" charset="0"/>
              </a:endParaRPr>
            </a:p>
          </p:txBody>
        </p:sp>
        <p:sp>
          <p:nvSpPr>
            <p:cNvPr id="106" name="Овал 105">
              <a:extLst>
                <a:ext uri="{FF2B5EF4-FFF2-40B4-BE49-F238E27FC236}">
                  <a16:creationId xmlns:a16="http://schemas.microsoft.com/office/drawing/2014/main" id="{D4BFEF16-DEFE-6E44-98B3-A401626CFD10}"/>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107" name="Овал 106">
              <a:extLst>
                <a:ext uri="{FF2B5EF4-FFF2-40B4-BE49-F238E27FC236}">
                  <a16:creationId xmlns:a16="http://schemas.microsoft.com/office/drawing/2014/main" id="{22DB36F6-972A-5547-A0C6-663F2F6695CA}"/>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31" name="Группа 30">
            <a:extLst>
              <a:ext uri="{FF2B5EF4-FFF2-40B4-BE49-F238E27FC236}">
                <a16:creationId xmlns:a16="http://schemas.microsoft.com/office/drawing/2014/main" id="{475E3D0D-12AB-CE4E-90B1-E9463266F583}"/>
              </a:ext>
            </a:extLst>
          </p:cNvPr>
          <p:cNvGrpSpPr/>
          <p:nvPr/>
        </p:nvGrpSpPr>
        <p:grpSpPr>
          <a:xfrm>
            <a:off x="6278207" y="5508937"/>
            <a:ext cx="2569639" cy="221114"/>
            <a:chOff x="521904" y="1683858"/>
            <a:chExt cx="2569639" cy="221114"/>
          </a:xfrm>
        </p:grpSpPr>
        <p:sp>
          <p:nvSpPr>
            <p:cNvPr id="32" name="Скругленный прямоугольник 31">
              <a:extLst>
                <a:ext uri="{FF2B5EF4-FFF2-40B4-BE49-F238E27FC236}">
                  <a16:creationId xmlns:a16="http://schemas.microsoft.com/office/drawing/2014/main" id="{8EB87B78-73BB-654B-B5E6-C5A782B141A2}"/>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Online Business Card</a:t>
              </a:r>
              <a:endParaRPr lang="ru-AZ" sz="1050" b="1" dirty="0">
                <a:solidFill>
                  <a:schemeClr val="bg1"/>
                </a:solidFill>
                <a:latin typeface="Arial" panose="020B0604020202020204" pitchFamily="34" charset="0"/>
                <a:cs typeface="Arial" panose="020B0604020202020204" pitchFamily="34" charset="0"/>
              </a:endParaRPr>
            </a:p>
          </p:txBody>
        </p:sp>
        <p:sp>
          <p:nvSpPr>
            <p:cNvPr id="33" name="Овал 32">
              <a:extLst>
                <a:ext uri="{FF2B5EF4-FFF2-40B4-BE49-F238E27FC236}">
                  <a16:creationId xmlns:a16="http://schemas.microsoft.com/office/drawing/2014/main" id="{78935F65-B8FD-374E-86AC-ABD038FD608B}"/>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34" name="Овал 33">
              <a:extLst>
                <a:ext uri="{FF2B5EF4-FFF2-40B4-BE49-F238E27FC236}">
                  <a16:creationId xmlns:a16="http://schemas.microsoft.com/office/drawing/2014/main" id="{A08E5362-508D-2141-BF8E-CE86B515C310}"/>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35" name="Группа 34">
            <a:extLst>
              <a:ext uri="{FF2B5EF4-FFF2-40B4-BE49-F238E27FC236}">
                <a16:creationId xmlns:a16="http://schemas.microsoft.com/office/drawing/2014/main" id="{9096CEE9-4538-BB40-9540-F099004E42C9}"/>
              </a:ext>
            </a:extLst>
          </p:cNvPr>
          <p:cNvGrpSpPr/>
          <p:nvPr/>
        </p:nvGrpSpPr>
        <p:grpSpPr>
          <a:xfrm>
            <a:off x="6283186" y="5790562"/>
            <a:ext cx="2569639" cy="221114"/>
            <a:chOff x="521904" y="1683858"/>
            <a:chExt cx="2569639" cy="221114"/>
          </a:xfrm>
        </p:grpSpPr>
        <p:sp>
          <p:nvSpPr>
            <p:cNvPr id="36" name="Скругленный прямоугольник 35">
              <a:extLst>
                <a:ext uri="{FF2B5EF4-FFF2-40B4-BE49-F238E27FC236}">
                  <a16:creationId xmlns:a16="http://schemas.microsoft.com/office/drawing/2014/main" id="{F14ACBE9-370A-FF44-9E49-B91932DE90A4}"/>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Western Union</a:t>
              </a:r>
              <a:endParaRPr lang="ru-AZ" sz="1050" b="1" dirty="0">
                <a:solidFill>
                  <a:schemeClr val="bg1"/>
                </a:solidFill>
                <a:latin typeface="Arial" panose="020B0604020202020204" pitchFamily="34" charset="0"/>
                <a:cs typeface="Arial" panose="020B0604020202020204" pitchFamily="34" charset="0"/>
              </a:endParaRPr>
            </a:p>
          </p:txBody>
        </p:sp>
        <p:sp>
          <p:nvSpPr>
            <p:cNvPr id="37" name="Овал 36">
              <a:extLst>
                <a:ext uri="{FF2B5EF4-FFF2-40B4-BE49-F238E27FC236}">
                  <a16:creationId xmlns:a16="http://schemas.microsoft.com/office/drawing/2014/main" id="{435E9231-3E2C-E74F-AC37-037A1F482668}"/>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38" name="Овал 37">
              <a:extLst>
                <a:ext uri="{FF2B5EF4-FFF2-40B4-BE49-F238E27FC236}">
                  <a16:creationId xmlns:a16="http://schemas.microsoft.com/office/drawing/2014/main" id="{8986B5B0-50A9-DF4C-95C1-C5E60535DE9D}"/>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39" name="Группа 38">
            <a:extLst>
              <a:ext uri="{FF2B5EF4-FFF2-40B4-BE49-F238E27FC236}">
                <a16:creationId xmlns:a16="http://schemas.microsoft.com/office/drawing/2014/main" id="{EA9BE122-60DA-8A4D-AFEA-B2F19D7D5DFB}"/>
              </a:ext>
            </a:extLst>
          </p:cNvPr>
          <p:cNvGrpSpPr/>
          <p:nvPr/>
        </p:nvGrpSpPr>
        <p:grpSpPr>
          <a:xfrm>
            <a:off x="6283186" y="6075770"/>
            <a:ext cx="2569639" cy="221114"/>
            <a:chOff x="521904" y="1683858"/>
            <a:chExt cx="2569639" cy="221114"/>
          </a:xfrm>
        </p:grpSpPr>
        <p:sp>
          <p:nvSpPr>
            <p:cNvPr id="40" name="Скругленный прямоугольник 39">
              <a:extLst>
                <a:ext uri="{FF2B5EF4-FFF2-40B4-BE49-F238E27FC236}">
                  <a16:creationId xmlns:a16="http://schemas.microsoft.com/office/drawing/2014/main" id="{ED02D727-7E95-D244-98B9-D9F022945F0F}"/>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Parking</a:t>
              </a:r>
              <a:endParaRPr lang="ru-AZ" sz="1050" b="1" dirty="0">
                <a:solidFill>
                  <a:schemeClr val="bg1"/>
                </a:solidFill>
                <a:latin typeface="Arial" panose="020B0604020202020204" pitchFamily="34" charset="0"/>
                <a:cs typeface="Arial" panose="020B0604020202020204" pitchFamily="34" charset="0"/>
              </a:endParaRPr>
            </a:p>
          </p:txBody>
        </p:sp>
        <p:sp>
          <p:nvSpPr>
            <p:cNvPr id="41" name="Овал 40">
              <a:extLst>
                <a:ext uri="{FF2B5EF4-FFF2-40B4-BE49-F238E27FC236}">
                  <a16:creationId xmlns:a16="http://schemas.microsoft.com/office/drawing/2014/main" id="{3D603D08-0145-1043-AE68-2892A54C58D1}"/>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42" name="Овал 41">
              <a:extLst>
                <a:ext uri="{FF2B5EF4-FFF2-40B4-BE49-F238E27FC236}">
                  <a16:creationId xmlns:a16="http://schemas.microsoft.com/office/drawing/2014/main" id="{B3C4B1AE-CB9A-F84E-AA52-338DCB209E2D}"/>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43" name="Группа 42">
            <a:extLst>
              <a:ext uri="{FF2B5EF4-FFF2-40B4-BE49-F238E27FC236}">
                <a16:creationId xmlns:a16="http://schemas.microsoft.com/office/drawing/2014/main" id="{F46BB098-0CCB-B342-B1C7-E97FE2842AFF}"/>
              </a:ext>
            </a:extLst>
          </p:cNvPr>
          <p:cNvGrpSpPr/>
          <p:nvPr/>
        </p:nvGrpSpPr>
        <p:grpSpPr>
          <a:xfrm>
            <a:off x="9153043" y="5515458"/>
            <a:ext cx="2569639" cy="221114"/>
            <a:chOff x="521904" y="1683858"/>
            <a:chExt cx="2569639" cy="221114"/>
          </a:xfrm>
        </p:grpSpPr>
        <p:sp>
          <p:nvSpPr>
            <p:cNvPr id="44" name="Скругленный прямоугольник 43">
              <a:extLst>
                <a:ext uri="{FF2B5EF4-FFF2-40B4-BE49-F238E27FC236}">
                  <a16:creationId xmlns:a16="http://schemas.microsoft.com/office/drawing/2014/main" id="{F03EC2C7-CED0-8F44-AC1A-5FB82243F218}"/>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bg1"/>
                  </a:solidFill>
                  <a:latin typeface="Arial" panose="020B0604020202020204" pitchFamily="34" charset="0"/>
                  <a:cs typeface="Arial" panose="020B0604020202020204" pitchFamily="34" charset="0"/>
                </a:rPr>
                <a:t>Albali</a:t>
              </a:r>
              <a:endParaRPr lang="ru-AZ" sz="1050" b="1" dirty="0">
                <a:solidFill>
                  <a:schemeClr val="bg1"/>
                </a:solidFill>
                <a:latin typeface="Arial" panose="020B0604020202020204" pitchFamily="34" charset="0"/>
                <a:cs typeface="Arial" panose="020B0604020202020204" pitchFamily="34" charset="0"/>
              </a:endParaRPr>
            </a:p>
          </p:txBody>
        </p:sp>
        <p:sp>
          <p:nvSpPr>
            <p:cNvPr id="45" name="Овал 44">
              <a:extLst>
                <a:ext uri="{FF2B5EF4-FFF2-40B4-BE49-F238E27FC236}">
                  <a16:creationId xmlns:a16="http://schemas.microsoft.com/office/drawing/2014/main" id="{71F0DFC3-FEB9-DB4E-B3B1-946F7D4D0E76}"/>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46" name="Овал 45">
              <a:extLst>
                <a:ext uri="{FF2B5EF4-FFF2-40B4-BE49-F238E27FC236}">
                  <a16:creationId xmlns:a16="http://schemas.microsoft.com/office/drawing/2014/main" id="{9E248555-9EFE-D249-8F77-0B5212787CF0}"/>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47" name="Группа 46">
            <a:extLst>
              <a:ext uri="{FF2B5EF4-FFF2-40B4-BE49-F238E27FC236}">
                <a16:creationId xmlns:a16="http://schemas.microsoft.com/office/drawing/2014/main" id="{941A3F68-2C16-9745-AC32-8D16001137E0}"/>
              </a:ext>
            </a:extLst>
          </p:cNvPr>
          <p:cNvGrpSpPr/>
          <p:nvPr/>
        </p:nvGrpSpPr>
        <p:grpSpPr>
          <a:xfrm>
            <a:off x="9153760" y="5823717"/>
            <a:ext cx="2569639" cy="221114"/>
            <a:chOff x="521904" y="1683858"/>
            <a:chExt cx="2569639" cy="221114"/>
          </a:xfrm>
        </p:grpSpPr>
        <p:sp>
          <p:nvSpPr>
            <p:cNvPr id="48" name="Скругленный прямоугольник 47">
              <a:extLst>
                <a:ext uri="{FF2B5EF4-FFF2-40B4-BE49-F238E27FC236}">
                  <a16:creationId xmlns:a16="http://schemas.microsoft.com/office/drawing/2014/main" id="{0B9491AF-98BA-7349-BE65-2393267A8801}"/>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POS</a:t>
              </a:r>
              <a:endParaRPr lang="ru-AZ" sz="1050" b="1" dirty="0">
                <a:solidFill>
                  <a:schemeClr val="bg1"/>
                </a:solidFill>
                <a:latin typeface="Arial" panose="020B0604020202020204" pitchFamily="34" charset="0"/>
                <a:cs typeface="Arial" panose="020B0604020202020204" pitchFamily="34" charset="0"/>
              </a:endParaRPr>
            </a:p>
          </p:txBody>
        </p:sp>
        <p:sp>
          <p:nvSpPr>
            <p:cNvPr id="49" name="Овал 48">
              <a:extLst>
                <a:ext uri="{FF2B5EF4-FFF2-40B4-BE49-F238E27FC236}">
                  <a16:creationId xmlns:a16="http://schemas.microsoft.com/office/drawing/2014/main" id="{5A775362-3BB2-064F-8DD7-7F0FBA50E44A}"/>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50" name="Овал 49">
              <a:extLst>
                <a:ext uri="{FF2B5EF4-FFF2-40B4-BE49-F238E27FC236}">
                  <a16:creationId xmlns:a16="http://schemas.microsoft.com/office/drawing/2014/main" id="{CFE833E0-A988-7E4D-BA9E-6D6FA0D80D36}"/>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sp>
        <p:nvSpPr>
          <p:cNvPr id="3" name="Прямоугольник 2">
            <a:extLst>
              <a:ext uri="{FF2B5EF4-FFF2-40B4-BE49-F238E27FC236}">
                <a16:creationId xmlns:a16="http://schemas.microsoft.com/office/drawing/2014/main" id="{6DB4BB96-DE26-364C-97C2-90997C7FCE4E}"/>
              </a:ext>
            </a:extLst>
          </p:cNvPr>
          <p:cNvSpPr/>
          <p:nvPr/>
        </p:nvSpPr>
        <p:spPr>
          <a:xfrm>
            <a:off x="382498" y="1544238"/>
            <a:ext cx="11528558" cy="1432910"/>
          </a:xfrm>
          <a:prstGeom prst="rect">
            <a:avLst/>
          </a:prstGeom>
          <a:solidFill>
            <a:srgbClr val="BFBFB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52" name="Прямоугольник 51">
            <a:extLst>
              <a:ext uri="{FF2B5EF4-FFF2-40B4-BE49-F238E27FC236}">
                <a16:creationId xmlns:a16="http://schemas.microsoft.com/office/drawing/2014/main" id="{E4714E19-6DBA-DC4C-856D-989ACD8E2696}"/>
              </a:ext>
            </a:extLst>
          </p:cNvPr>
          <p:cNvSpPr/>
          <p:nvPr/>
        </p:nvSpPr>
        <p:spPr>
          <a:xfrm>
            <a:off x="387113" y="3327268"/>
            <a:ext cx="11528558" cy="1453086"/>
          </a:xfrm>
          <a:prstGeom prst="rect">
            <a:avLst/>
          </a:prstGeom>
          <a:solidFill>
            <a:srgbClr val="BFBFB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53" name="Прямоугольник 52">
            <a:extLst>
              <a:ext uri="{FF2B5EF4-FFF2-40B4-BE49-F238E27FC236}">
                <a16:creationId xmlns:a16="http://schemas.microsoft.com/office/drawing/2014/main" id="{322BE209-698F-E041-BC8A-C73FD9B887AC}"/>
              </a:ext>
            </a:extLst>
          </p:cNvPr>
          <p:cNvSpPr/>
          <p:nvPr/>
        </p:nvSpPr>
        <p:spPr>
          <a:xfrm>
            <a:off x="378219" y="5150581"/>
            <a:ext cx="5759132" cy="1432910"/>
          </a:xfrm>
          <a:prstGeom prst="rect">
            <a:avLst/>
          </a:prstGeom>
          <a:solidFill>
            <a:srgbClr val="BFBFBF">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Tree>
    <p:extLst>
      <p:ext uri="{BB962C8B-B14F-4D97-AF65-F5344CB8AC3E}">
        <p14:creationId xmlns:p14="http://schemas.microsoft.com/office/powerpoint/2010/main" val="3493181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9E677F8-F179-5C42-91CD-FEF304E1220A}"/>
              </a:ext>
            </a:extLst>
          </p:cNvPr>
          <p:cNvSpPr>
            <a:spLocks noGrp="1"/>
          </p:cNvSpPr>
          <p:nvPr>
            <p:ph type="title"/>
          </p:nvPr>
        </p:nvSpPr>
        <p:spPr>
          <a:xfrm>
            <a:off x="278853" y="-33647"/>
            <a:ext cx="10515600" cy="1325563"/>
          </a:xfrm>
        </p:spPr>
        <p:txBody>
          <a:bodyPr/>
          <a:lstStyle/>
          <a:p>
            <a:r>
              <a:rPr lang="en-US" sz="3600" dirty="0">
                <a:latin typeface="Arial" panose="020B0604020202020204" pitchFamily="34" charset="0"/>
                <a:cs typeface="Arial" panose="020B0604020202020204" pitchFamily="34" charset="0"/>
              </a:rPr>
              <a:t>Project Delivery Calendar</a:t>
            </a:r>
            <a:br>
              <a:rPr lang="en-US" sz="36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2021</a:t>
            </a:r>
            <a:endParaRPr lang="x-none" dirty="0">
              <a:latin typeface="Arial" panose="020B0604020202020204" pitchFamily="34" charset="0"/>
              <a:cs typeface="Arial" panose="020B0604020202020204" pitchFamily="34" charset="0"/>
            </a:endParaRPr>
          </a:p>
        </p:txBody>
      </p:sp>
      <p:grpSp>
        <p:nvGrpSpPr>
          <p:cNvPr id="7" name="Группа 6">
            <a:extLst>
              <a:ext uri="{FF2B5EF4-FFF2-40B4-BE49-F238E27FC236}">
                <a16:creationId xmlns:a16="http://schemas.microsoft.com/office/drawing/2014/main" id="{867B3D27-277F-3F43-B83A-44294893570D}"/>
              </a:ext>
            </a:extLst>
          </p:cNvPr>
          <p:cNvGrpSpPr/>
          <p:nvPr/>
        </p:nvGrpSpPr>
        <p:grpSpPr>
          <a:xfrm>
            <a:off x="382498" y="1176281"/>
            <a:ext cx="11528757" cy="5409625"/>
            <a:chOff x="382498" y="1176281"/>
            <a:chExt cx="11528757" cy="5409625"/>
          </a:xfrm>
        </p:grpSpPr>
        <p:sp>
          <p:nvSpPr>
            <p:cNvPr id="5" name="Прямоугольник 4">
              <a:extLst>
                <a:ext uri="{FF2B5EF4-FFF2-40B4-BE49-F238E27FC236}">
                  <a16:creationId xmlns:a16="http://schemas.microsoft.com/office/drawing/2014/main" id="{010EF03B-8FC6-F64F-AA75-1B71436DEDB7}"/>
                </a:ext>
              </a:extLst>
            </p:cNvPr>
            <p:cNvSpPr/>
            <p:nvPr/>
          </p:nvSpPr>
          <p:spPr>
            <a:xfrm>
              <a:off x="386777" y="1177148"/>
              <a:ext cx="11520000" cy="18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4" name="Прямоугольник 63">
              <a:extLst>
                <a:ext uri="{FF2B5EF4-FFF2-40B4-BE49-F238E27FC236}">
                  <a16:creationId xmlns:a16="http://schemas.microsoft.com/office/drawing/2014/main" id="{EC5BF0E9-A435-794D-8DA1-40921BC6A621}"/>
                </a:ext>
              </a:extLst>
            </p:cNvPr>
            <p:cNvSpPr/>
            <p:nvPr/>
          </p:nvSpPr>
          <p:spPr>
            <a:xfrm>
              <a:off x="386777" y="1176281"/>
              <a:ext cx="1152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5" name="Прямоугольник 64">
              <a:extLst>
                <a:ext uri="{FF2B5EF4-FFF2-40B4-BE49-F238E27FC236}">
                  <a16:creationId xmlns:a16="http://schemas.microsoft.com/office/drawing/2014/main" id="{F7EC96B1-188F-0044-B5F6-29A93F1F9B36}"/>
                </a:ext>
              </a:extLst>
            </p:cNvPr>
            <p:cNvSpPr/>
            <p:nvPr/>
          </p:nvSpPr>
          <p:spPr>
            <a:xfrm>
              <a:off x="386777" y="2985906"/>
              <a:ext cx="11520000" cy="18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6" name="Прямоугольник 65">
              <a:extLst>
                <a:ext uri="{FF2B5EF4-FFF2-40B4-BE49-F238E27FC236}">
                  <a16:creationId xmlns:a16="http://schemas.microsoft.com/office/drawing/2014/main" id="{CFAAFAF6-C25A-DD4C-8911-DB0F088A7C40}"/>
                </a:ext>
              </a:extLst>
            </p:cNvPr>
            <p:cNvSpPr/>
            <p:nvPr/>
          </p:nvSpPr>
          <p:spPr>
            <a:xfrm>
              <a:off x="386777" y="1181740"/>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67" name="Прямоугольник 66">
              <a:extLst>
                <a:ext uri="{FF2B5EF4-FFF2-40B4-BE49-F238E27FC236}">
                  <a16:creationId xmlns:a16="http://schemas.microsoft.com/office/drawing/2014/main" id="{8E072438-3480-9049-8560-D75AFE823795}"/>
                </a:ext>
              </a:extLst>
            </p:cNvPr>
            <p:cNvSpPr/>
            <p:nvPr/>
          </p:nvSpPr>
          <p:spPr>
            <a:xfrm>
              <a:off x="3271512" y="1185906"/>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1" name="Прямоугольник 70">
              <a:extLst>
                <a:ext uri="{FF2B5EF4-FFF2-40B4-BE49-F238E27FC236}">
                  <a16:creationId xmlns:a16="http://schemas.microsoft.com/office/drawing/2014/main" id="{BC0C142E-A2D0-3741-9699-A850F228828B}"/>
                </a:ext>
              </a:extLst>
            </p:cNvPr>
            <p:cNvSpPr/>
            <p:nvPr/>
          </p:nvSpPr>
          <p:spPr>
            <a:xfrm>
              <a:off x="6146777" y="1176281"/>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2" name="Прямоугольник 71">
              <a:extLst>
                <a:ext uri="{FF2B5EF4-FFF2-40B4-BE49-F238E27FC236}">
                  <a16:creationId xmlns:a16="http://schemas.microsoft.com/office/drawing/2014/main" id="{E2C24518-DD2E-2C41-88A9-A8BAF1179A27}"/>
                </a:ext>
              </a:extLst>
            </p:cNvPr>
            <p:cNvSpPr/>
            <p:nvPr/>
          </p:nvSpPr>
          <p:spPr>
            <a:xfrm>
              <a:off x="9026777" y="1176281"/>
              <a:ext cx="2880000" cy="5400000"/>
            </a:xfrm>
            <a:prstGeom prst="rect">
              <a:avLst/>
            </a:prstGeom>
            <a:no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AZ"/>
            </a:p>
          </p:txBody>
        </p:sp>
        <p:sp>
          <p:nvSpPr>
            <p:cNvPr id="73" name="Rectangle 112">
              <a:extLst>
                <a:ext uri="{FF2B5EF4-FFF2-40B4-BE49-F238E27FC236}">
                  <a16:creationId xmlns:a16="http://schemas.microsoft.com/office/drawing/2014/main" id="{3BB70053-B446-F841-8DCD-992D400CA5F3}"/>
                </a:ext>
              </a:extLst>
            </p:cNvPr>
            <p:cNvSpPr>
              <a:spLocks noChangeArrowheads="1"/>
            </p:cNvSpPr>
            <p:nvPr/>
          </p:nvSpPr>
          <p:spPr bwMode="auto">
            <a:xfrm>
              <a:off x="386976" y="1181214"/>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anuary 21’</a:t>
              </a:r>
            </a:p>
          </p:txBody>
        </p:sp>
        <p:sp>
          <p:nvSpPr>
            <p:cNvPr id="74" name="Rectangle 112">
              <a:extLst>
                <a:ext uri="{FF2B5EF4-FFF2-40B4-BE49-F238E27FC236}">
                  <a16:creationId xmlns:a16="http://schemas.microsoft.com/office/drawing/2014/main" id="{A6424055-4F5E-DB43-AF0F-CE9468D4CF59}"/>
                </a:ext>
              </a:extLst>
            </p:cNvPr>
            <p:cNvSpPr>
              <a:spLocks noChangeArrowheads="1"/>
            </p:cNvSpPr>
            <p:nvPr/>
          </p:nvSpPr>
          <p:spPr bwMode="auto">
            <a:xfrm>
              <a:off x="3271392" y="1177712"/>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February 21’</a:t>
              </a:r>
            </a:p>
          </p:txBody>
        </p:sp>
        <p:sp>
          <p:nvSpPr>
            <p:cNvPr id="75" name="Rectangle 112">
              <a:extLst>
                <a:ext uri="{FF2B5EF4-FFF2-40B4-BE49-F238E27FC236}">
                  <a16:creationId xmlns:a16="http://schemas.microsoft.com/office/drawing/2014/main" id="{7B209681-EE7C-6C45-A0BD-D0FD2EDC48B5}"/>
                </a:ext>
              </a:extLst>
            </p:cNvPr>
            <p:cNvSpPr>
              <a:spLocks noChangeArrowheads="1"/>
            </p:cNvSpPr>
            <p:nvPr/>
          </p:nvSpPr>
          <p:spPr bwMode="auto">
            <a:xfrm>
              <a:off x="6156203" y="1177628"/>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March 21’</a:t>
              </a:r>
            </a:p>
          </p:txBody>
        </p:sp>
        <p:sp>
          <p:nvSpPr>
            <p:cNvPr id="76" name="Rectangle 112">
              <a:extLst>
                <a:ext uri="{FF2B5EF4-FFF2-40B4-BE49-F238E27FC236}">
                  <a16:creationId xmlns:a16="http://schemas.microsoft.com/office/drawing/2014/main" id="{1A986358-2A09-B742-8C5D-64132E4A4861}"/>
                </a:ext>
              </a:extLst>
            </p:cNvPr>
            <p:cNvSpPr>
              <a:spLocks noChangeArrowheads="1"/>
            </p:cNvSpPr>
            <p:nvPr/>
          </p:nvSpPr>
          <p:spPr bwMode="auto">
            <a:xfrm>
              <a:off x="9031255" y="1179218"/>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a:solidFill>
                    <a:srgbClr val="FFFFFF"/>
                  </a:solidFill>
                  <a:latin typeface="Arial"/>
                  <a:sym typeface="+mn-lt"/>
                </a:rPr>
                <a:t>April 21’</a:t>
              </a:r>
              <a:endParaRPr lang="en-US" sz="1300" b="1" dirty="0">
                <a:solidFill>
                  <a:srgbClr val="FFFFFF"/>
                </a:solidFill>
                <a:latin typeface="Arial"/>
                <a:sym typeface="+mn-lt"/>
              </a:endParaRPr>
            </a:p>
          </p:txBody>
        </p:sp>
        <p:sp>
          <p:nvSpPr>
            <p:cNvPr id="77" name="Rectangle 112">
              <a:extLst>
                <a:ext uri="{FF2B5EF4-FFF2-40B4-BE49-F238E27FC236}">
                  <a16:creationId xmlns:a16="http://schemas.microsoft.com/office/drawing/2014/main" id="{FFD26456-5D4B-7746-905D-7FF6C4BAB2FD}"/>
                </a:ext>
              </a:extLst>
            </p:cNvPr>
            <p:cNvSpPr>
              <a:spLocks noChangeArrowheads="1"/>
            </p:cNvSpPr>
            <p:nvPr/>
          </p:nvSpPr>
          <p:spPr bwMode="auto">
            <a:xfrm>
              <a:off x="382498" y="2976281"/>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May 21’</a:t>
              </a:r>
            </a:p>
          </p:txBody>
        </p:sp>
        <p:sp>
          <p:nvSpPr>
            <p:cNvPr id="78" name="Rectangle 112">
              <a:extLst>
                <a:ext uri="{FF2B5EF4-FFF2-40B4-BE49-F238E27FC236}">
                  <a16:creationId xmlns:a16="http://schemas.microsoft.com/office/drawing/2014/main" id="{411927B8-FA47-B245-8A34-931D4D5B3CF1}"/>
                </a:ext>
              </a:extLst>
            </p:cNvPr>
            <p:cNvSpPr>
              <a:spLocks noChangeArrowheads="1"/>
            </p:cNvSpPr>
            <p:nvPr/>
          </p:nvSpPr>
          <p:spPr bwMode="auto">
            <a:xfrm>
              <a:off x="3266914" y="2972779"/>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une 21’</a:t>
              </a:r>
            </a:p>
          </p:txBody>
        </p:sp>
        <p:sp>
          <p:nvSpPr>
            <p:cNvPr id="79" name="Rectangle 112">
              <a:extLst>
                <a:ext uri="{FF2B5EF4-FFF2-40B4-BE49-F238E27FC236}">
                  <a16:creationId xmlns:a16="http://schemas.microsoft.com/office/drawing/2014/main" id="{1A5E20B0-08B8-0F47-87E0-E8AACE07A73A}"/>
                </a:ext>
              </a:extLst>
            </p:cNvPr>
            <p:cNvSpPr>
              <a:spLocks noChangeArrowheads="1"/>
            </p:cNvSpPr>
            <p:nvPr/>
          </p:nvSpPr>
          <p:spPr bwMode="auto">
            <a:xfrm>
              <a:off x="6151725" y="2972695"/>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July 21’</a:t>
              </a:r>
            </a:p>
          </p:txBody>
        </p:sp>
        <p:sp>
          <p:nvSpPr>
            <p:cNvPr id="80" name="Rectangle 112">
              <a:extLst>
                <a:ext uri="{FF2B5EF4-FFF2-40B4-BE49-F238E27FC236}">
                  <a16:creationId xmlns:a16="http://schemas.microsoft.com/office/drawing/2014/main" id="{FB504510-4F25-C948-9887-4F37BB6B8CD5}"/>
                </a:ext>
              </a:extLst>
            </p:cNvPr>
            <p:cNvSpPr>
              <a:spLocks noChangeArrowheads="1"/>
            </p:cNvSpPr>
            <p:nvPr/>
          </p:nvSpPr>
          <p:spPr bwMode="auto">
            <a:xfrm>
              <a:off x="9026777" y="2974285"/>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ugust 21’</a:t>
              </a:r>
            </a:p>
          </p:txBody>
        </p:sp>
        <p:sp>
          <p:nvSpPr>
            <p:cNvPr id="81" name="Rectangle 112">
              <a:extLst>
                <a:ext uri="{FF2B5EF4-FFF2-40B4-BE49-F238E27FC236}">
                  <a16:creationId xmlns:a16="http://schemas.microsoft.com/office/drawing/2014/main" id="{3653EA72-23BF-F746-9E74-048EEADCFA95}"/>
                </a:ext>
              </a:extLst>
            </p:cNvPr>
            <p:cNvSpPr>
              <a:spLocks noChangeArrowheads="1"/>
            </p:cNvSpPr>
            <p:nvPr/>
          </p:nvSpPr>
          <p:spPr bwMode="auto">
            <a:xfrm>
              <a:off x="382498" y="4776444"/>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September 21’</a:t>
              </a:r>
            </a:p>
          </p:txBody>
        </p:sp>
        <p:sp>
          <p:nvSpPr>
            <p:cNvPr id="82" name="Rectangle 112">
              <a:extLst>
                <a:ext uri="{FF2B5EF4-FFF2-40B4-BE49-F238E27FC236}">
                  <a16:creationId xmlns:a16="http://schemas.microsoft.com/office/drawing/2014/main" id="{F1360A12-3556-FB44-9380-E78A02EBBDD3}"/>
                </a:ext>
              </a:extLst>
            </p:cNvPr>
            <p:cNvSpPr>
              <a:spLocks noChangeArrowheads="1"/>
            </p:cNvSpPr>
            <p:nvPr/>
          </p:nvSpPr>
          <p:spPr bwMode="auto">
            <a:xfrm>
              <a:off x="3266914" y="4772942"/>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ctober 21’</a:t>
              </a:r>
            </a:p>
          </p:txBody>
        </p:sp>
        <p:sp>
          <p:nvSpPr>
            <p:cNvPr id="83" name="Rectangle 112">
              <a:extLst>
                <a:ext uri="{FF2B5EF4-FFF2-40B4-BE49-F238E27FC236}">
                  <a16:creationId xmlns:a16="http://schemas.microsoft.com/office/drawing/2014/main" id="{7D24D1EA-76BE-A540-8686-6E2F02EA2E7A}"/>
                </a:ext>
              </a:extLst>
            </p:cNvPr>
            <p:cNvSpPr>
              <a:spLocks noChangeArrowheads="1"/>
            </p:cNvSpPr>
            <p:nvPr/>
          </p:nvSpPr>
          <p:spPr bwMode="auto">
            <a:xfrm>
              <a:off x="6151725" y="4772858"/>
              <a:ext cx="2880000"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vember 21’</a:t>
              </a:r>
            </a:p>
          </p:txBody>
        </p:sp>
        <p:sp>
          <p:nvSpPr>
            <p:cNvPr id="84" name="Rectangle 112">
              <a:extLst>
                <a:ext uri="{FF2B5EF4-FFF2-40B4-BE49-F238E27FC236}">
                  <a16:creationId xmlns:a16="http://schemas.microsoft.com/office/drawing/2014/main" id="{9E2C0DB2-9FD7-3F48-A3B6-1491417A5587}"/>
                </a:ext>
              </a:extLst>
            </p:cNvPr>
            <p:cNvSpPr>
              <a:spLocks noChangeArrowheads="1"/>
            </p:cNvSpPr>
            <p:nvPr/>
          </p:nvSpPr>
          <p:spPr bwMode="auto">
            <a:xfrm>
              <a:off x="9026777" y="4774448"/>
              <a:ext cx="2880000" cy="366610"/>
            </a:xfrm>
            <a:prstGeom prst="rect">
              <a:avLst/>
            </a:prstGeom>
            <a:solidFill>
              <a:srgbClr val="FF851E"/>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December 21’</a:t>
              </a:r>
            </a:p>
          </p:txBody>
        </p:sp>
      </p:grpSp>
      <p:grpSp>
        <p:nvGrpSpPr>
          <p:cNvPr id="12" name="Группа 11">
            <a:extLst>
              <a:ext uri="{FF2B5EF4-FFF2-40B4-BE49-F238E27FC236}">
                <a16:creationId xmlns:a16="http://schemas.microsoft.com/office/drawing/2014/main" id="{0D2F0FD3-62EC-B944-A362-FC55C0441D60}"/>
              </a:ext>
            </a:extLst>
          </p:cNvPr>
          <p:cNvGrpSpPr/>
          <p:nvPr/>
        </p:nvGrpSpPr>
        <p:grpSpPr>
          <a:xfrm>
            <a:off x="537678" y="1614087"/>
            <a:ext cx="2569639" cy="221114"/>
            <a:chOff x="521904" y="1683858"/>
            <a:chExt cx="2569639" cy="221114"/>
          </a:xfrm>
        </p:grpSpPr>
        <p:sp>
          <p:nvSpPr>
            <p:cNvPr id="6" name="Скругленный прямоугольник 5">
              <a:extLst>
                <a:ext uri="{FF2B5EF4-FFF2-40B4-BE49-F238E27FC236}">
                  <a16:creationId xmlns:a16="http://schemas.microsoft.com/office/drawing/2014/main" id="{24FE1DAA-0AA0-7240-A174-8FA613DF1241}"/>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Processing Launch</a:t>
              </a:r>
              <a:endParaRPr lang="ru-AZ" sz="1050" b="1" dirty="0">
                <a:solidFill>
                  <a:schemeClr val="bg1"/>
                </a:solidFill>
                <a:latin typeface="Arial" panose="020B0604020202020204" pitchFamily="34" charset="0"/>
                <a:cs typeface="Arial" panose="020B0604020202020204" pitchFamily="34" charset="0"/>
              </a:endParaRPr>
            </a:p>
          </p:txBody>
        </p:sp>
        <p:sp>
          <p:nvSpPr>
            <p:cNvPr id="11" name="Овал 10">
              <a:extLst>
                <a:ext uri="{FF2B5EF4-FFF2-40B4-BE49-F238E27FC236}">
                  <a16:creationId xmlns:a16="http://schemas.microsoft.com/office/drawing/2014/main" id="{01080436-2D8C-CA4A-A593-BD9F1E208102}"/>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102" name="Овал 101">
              <a:extLst>
                <a:ext uri="{FF2B5EF4-FFF2-40B4-BE49-F238E27FC236}">
                  <a16:creationId xmlns:a16="http://schemas.microsoft.com/office/drawing/2014/main" id="{8C756CD2-5A0A-3745-9F54-694123E0B956}"/>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104" name="Группа 103">
            <a:extLst>
              <a:ext uri="{FF2B5EF4-FFF2-40B4-BE49-F238E27FC236}">
                <a16:creationId xmlns:a16="http://schemas.microsoft.com/office/drawing/2014/main" id="{34D150F7-BDA4-B646-A5DE-CE2A5375AB72}"/>
              </a:ext>
            </a:extLst>
          </p:cNvPr>
          <p:cNvGrpSpPr/>
          <p:nvPr/>
        </p:nvGrpSpPr>
        <p:grpSpPr>
          <a:xfrm>
            <a:off x="3419590" y="1614051"/>
            <a:ext cx="2569639" cy="221114"/>
            <a:chOff x="521904" y="1683858"/>
            <a:chExt cx="2569639" cy="221114"/>
          </a:xfrm>
        </p:grpSpPr>
        <p:sp>
          <p:nvSpPr>
            <p:cNvPr id="105" name="Скругленный прямоугольник 104">
              <a:extLst>
                <a:ext uri="{FF2B5EF4-FFF2-40B4-BE49-F238E27FC236}">
                  <a16:creationId xmlns:a16="http://schemas.microsoft.com/office/drawing/2014/main" id="{C7D44B53-2009-F640-8C1F-7AECE4145C4E}"/>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latin typeface="Arial" panose="020B0604020202020204" pitchFamily="34" charset="0"/>
                  <a:cs typeface="Arial" panose="020B0604020202020204" pitchFamily="34" charset="0"/>
                </a:rPr>
                <a:t>NFC</a:t>
              </a:r>
              <a:endParaRPr lang="ru-AZ" sz="1050" b="1" dirty="0">
                <a:solidFill>
                  <a:schemeClr val="bg1"/>
                </a:solidFill>
                <a:latin typeface="Arial" panose="020B0604020202020204" pitchFamily="34" charset="0"/>
                <a:cs typeface="Arial" panose="020B0604020202020204" pitchFamily="34" charset="0"/>
              </a:endParaRPr>
            </a:p>
          </p:txBody>
        </p:sp>
        <p:sp>
          <p:nvSpPr>
            <p:cNvPr id="106" name="Овал 105">
              <a:extLst>
                <a:ext uri="{FF2B5EF4-FFF2-40B4-BE49-F238E27FC236}">
                  <a16:creationId xmlns:a16="http://schemas.microsoft.com/office/drawing/2014/main" id="{D4BFEF16-DEFE-6E44-98B3-A401626CFD10}"/>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107" name="Овал 106">
              <a:extLst>
                <a:ext uri="{FF2B5EF4-FFF2-40B4-BE49-F238E27FC236}">
                  <a16:creationId xmlns:a16="http://schemas.microsoft.com/office/drawing/2014/main" id="{22DB36F6-972A-5547-A0C6-663F2F6695CA}"/>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grpSp>
        <p:nvGrpSpPr>
          <p:cNvPr id="108" name="Группа 107">
            <a:extLst>
              <a:ext uri="{FF2B5EF4-FFF2-40B4-BE49-F238E27FC236}">
                <a16:creationId xmlns:a16="http://schemas.microsoft.com/office/drawing/2014/main" id="{3A05B597-860E-A849-AEE6-BD0B860683CC}"/>
              </a:ext>
            </a:extLst>
          </p:cNvPr>
          <p:cNvGrpSpPr/>
          <p:nvPr/>
        </p:nvGrpSpPr>
        <p:grpSpPr>
          <a:xfrm>
            <a:off x="9134701" y="1614087"/>
            <a:ext cx="2569639" cy="221114"/>
            <a:chOff x="521904" y="1683858"/>
            <a:chExt cx="2569639" cy="221114"/>
          </a:xfrm>
        </p:grpSpPr>
        <p:sp>
          <p:nvSpPr>
            <p:cNvPr id="109" name="Скругленный прямоугольник 108">
              <a:extLst>
                <a:ext uri="{FF2B5EF4-FFF2-40B4-BE49-F238E27FC236}">
                  <a16:creationId xmlns:a16="http://schemas.microsoft.com/office/drawing/2014/main" id="{4E32487C-730B-C941-A710-3D6144268487}"/>
                </a:ext>
              </a:extLst>
            </p:cNvPr>
            <p:cNvSpPr/>
            <p:nvPr/>
          </p:nvSpPr>
          <p:spPr>
            <a:xfrm>
              <a:off x="521904" y="1683858"/>
              <a:ext cx="2569639" cy="2211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bg1"/>
                  </a:solidFill>
                  <a:latin typeface="Arial" panose="020B0604020202020204" pitchFamily="34" charset="0"/>
                  <a:cs typeface="Arial" panose="020B0604020202020204" pitchFamily="34" charset="0"/>
                </a:rPr>
                <a:t>UCard</a:t>
              </a:r>
              <a:endParaRPr lang="ru-AZ" sz="1050" b="1" dirty="0">
                <a:solidFill>
                  <a:schemeClr val="bg1"/>
                </a:solidFill>
                <a:latin typeface="Arial" panose="020B0604020202020204" pitchFamily="34" charset="0"/>
                <a:cs typeface="Arial" panose="020B0604020202020204" pitchFamily="34" charset="0"/>
              </a:endParaRPr>
            </a:p>
          </p:txBody>
        </p:sp>
        <p:sp>
          <p:nvSpPr>
            <p:cNvPr id="110" name="Овал 109">
              <a:extLst>
                <a:ext uri="{FF2B5EF4-FFF2-40B4-BE49-F238E27FC236}">
                  <a16:creationId xmlns:a16="http://schemas.microsoft.com/office/drawing/2014/main" id="{CBDC8DFE-E36B-D54A-A784-BA1C6755CD56}"/>
                </a:ext>
              </a:extLst>
            </p:cNvPr>
            <p:cNvSpPr/>
            <p:nvPr/>
          </p:nvSpPr>
          <p:spPr>
            <a:xfrm>
              <a:off x="598714" y="1757544"/>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sp>
          <p:nvSpPr>
            <p:cNvPr id="111" name="Овал 110">
              <a:extLst>
                <a:ext uri="{FF2B5EF4-FFF2-40B4-BE49-F238E27FC236}">
                  <a16:creationId xmlns:a16="http://schemas.microsoft.com/office/drawing/2014/main" id="{2F67021D-16F5-1444-9A88-55424170E956}"/>
                </a:ext>
              </a:extLst>
            </p:cNvPr>
            <p:cNvSpPr/>
            <p:nvPr/>
          </p:nvSpPr>
          <p:spPr>
            <a:xfrm>
              <a:off x="2951595" y="1755570"/>
              <a:ext cx="72000" cy="72000"/>
            </a:xfrm>
            <a:prstGeom prst="ellipse">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ru-AZ"/>
            </a:p>
          </p:txBody>
        </p:sp>
      </p:grpSp>
    </p:spTree>
    <p:extLst>
      <p:ext uri="{BB962C8B-B14F-4D97-AF65-F5344CB8AC3E}">
        <p14:creationId xmlns:p14="http://schemas.microsoft.com/office/powerpoint/2010/main" val="306681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4" name="Straight Connector 78">
            <a:extLst>
              <a:ext uri="{FF2B5EF4-FFF2-40B4-BE49-F238E27FC236}">
                <a16:creationId xmlns:a16="http://schemas.microsoft.com/office/drawing/2014/main" id="{A33FC6CB-453A-8248-A82B-93F5FEF98B8A}"/>
              </a:ext>
            </a:extLst>
          </p:cNvPr>
          <p:cNvCxnSpPr/>
          <p:nvPr/>
        </p:nvCxnSpPr>
        <p:spPr>
          <a:xfrm>
            <a:off x="1930681"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5" name="Straight Connector 79">
            <a:extLst>
              <a:ext uri="{FF2B5EF4-FFF2-40B4-BE49-F238E27FC236}">
                <a16:creationId xmlns:a16="http://schemas.microsoft.com/office/drawing/2014/main" id="{CAEC2648-83C4-4048-A0C0-D19872390BAC}"/>
              </a:ext>
            </a:extLst>
          </p:cNvPr>
          <p:cNvCxnSpPr/>
          <p:nvPr/>
        </p:nvCxnSpPr>
        <p:spPr>
          <a:xfrm>
            <a:off x="2200546"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6" name="Straight Connector 80">
            <a:extLst>
              <a:ext uri="{FF2B5EF4-FFF2-40B4-BE49-F238E27FC236}">
                <a16:creationId xmlns:a16="http://schemas.microsoft.com/office/drawing/2014/main" id="{FAB0DC73-7F34-3E44-BBE1-0C0F6DC3033D}"/>
              </a:ext>
            </a:extLst>
          </p:cNvPr>
          <p:cNvCxnSpPr/>
          <p:nvPr/>
        </p:nvCxnSpPr>
        <p:spPr>
          <a:xfrm>
            <a:off x="2440632" y="2275392"/>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7" name="Straight Connector 81">
            <a:extLst>
              <a:ext uri="{FF2B5EF4-FFF2-40B4-BE49-F238E27FC236}">
                <a16:creationId xmlns:a16="http://schemas.microsoft.com/office/drawing/2014/main" id="{2A3EADE0-168C-0643-9D1A-CDA6A7C21AE4}"/>
              </a:ext>
            </a:extLst>
          </p:cNvPr>
          <p:cNvCxnSpPr/>
          <p:nvPr/>
        </p:nvCxnSpPr>
        <p:spPr>
          <a:xfrm>
            <a:off x="2750050"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8" name="Straight Connector 82">
            <a:extLst>
              <a:ext uri="{FF2B5EF4-FFF2-40B4-BE49-F238E27FC236}">
                <a16:creationId xmlns:a16="http://schemas.microsoft.com/office/drawing/2014/main" id="{8C617091-C6EE-C34A-809F-CADACAA1C79E}"/>
              </a:ext>
            </a:extLst>
          </p:cNvPr>
          <p:cNvCxnSpPr/>
          <p:nvPr/>
        </p:nvCxnSpPr>
        <p:spPr>
          <a:xfrm>
            <a:off x="3010140"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ED3322B2-5A96-E04E-B771-F4E7840CD096}"/>
              </a:ext>
            </a:extLst>
          </p:cNvPr>
          <p:cNvSpPr txBox="1">
            <a:spLocks/>
          </p:cNvSpPr>
          <p:nvPr/>
        </p:nvSpPr>
        <p:spPr bwMode="auto">
          <a:xfrm>
            <a:off x="371475" y="351109"/>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42752" rtl="0" eaLnBrk="1" fontAlgn="base" hangingPunct="1">
              <a:spcBef>
                <a:spcPct val="0"/>
              </a:spcBef>
              <a:spcAft>
                <a:spcPct val="0"/>
              </a:spcAft>
              <a:tabLst>
                <a:tab pos="374588" algn="l"/>
              </a:tabLst>
              <a:defRPr lang="x-none" sz="2041" b="0" baseline="0">
                <a:solidFill>
                  <a:schemeClr val="tx2"/>
                </a:solidFill>
                <a:latin typeface="+mj-lt"/>
                <a:ea typeface="+mj-ea"/>
                <a:cs typeface="+mj-cs"/>
              </a:defRPr>
            </a:lvl1pPr>
            <a:lvl2pPr algn="l" defTabSz="1242752" rtl="0" eaLnBrk="1" fontAlgn="base" hangingPunct="1">
              <a:spcBef>
                <a:spcPct val="0"/>
              </a:spcBef>
              <a:spcAft>
                <a:spcPct val="0"/>
              </a:spcAft>
              <a:defRPr lang="x-none" sz="2636" b="1">
                <a:solidFill>
                  <a:schemeClr val="tx2"/>
                </a:solidFill>
                <a:latin typeface="Arial" charset="0"/>
              </a:defRPr>
            </a:lvl2pPr>
            <a:lvl3pPr algn="l" defTabSz="1242752" rtl="0" eaLnBrk="1" fontAlgn="base" hangingPunct="1">
              <a:spcBef>
                <a:spcPct val="0"/>
              </a:spcBef>
              <a:spcAft>
                <a:spcPct val="0"/>
              </a:spcAft>
              <a:defRPr lang="x-none" sz="2636" b="1">
                <a:solidFill>
                  <a:schemeClr val="tx2"/>
                </a:solidFill>
                <a:latin typeface="Arial" charset="0"/>
              </a:defRPr>
            </a:lvl3pPr>
            <a:lvl4pPr algn="l" defTabSz="1242752" rtl="0" eaLnBrk="1" fontAlgn="base" hangingPunct="1">
              <a:spcBef>
                <a:spcPct val="0"/>
              </a:spcBef>
              <a:spcAft>
                <a:spcPct val="0"/>
              </a:spcAft>
              <a:defRPr lang="x-none" sz="2636" b="1">
                <a:solidFill>
                  <a:schemeClr val="tx2"/>
                </a:solidFill>
                <a:latin typeface="Arial" charset="0"/>
              </a:defRPr>
            </a:lvl4pPr>
            <a:lvl5pPr algn="l" defTabSz="1242752" rtl="0" eaLnBrk="1" fontAlgn="base" hangingPunct="1">
              <a:spcBef>
                <a:spcPct val="0"/>
              </a:spcBef>
              <a:spcAft>
                <a:spcPct val="0"/>
              </a:spcAft>
              <a:defRPr lang="x-none" sz="2636" b="1">
                <a:solidFill>
                  <a:schemeClr val="tx2"/>
                </a:solidFill>
                <a:latin typeface="Arial" charset="0"/>
              </a:defRPr>
            </a:lvl5pPr>
            <a:lvl6pPr marL="634596" algn="l" defTabSz="1242752" rtl="0" eaLnBrk="1" fontAlgn="base" hangingPunct="1">
              <a:spcBef>
                <a:spcPct val="0"/>
              </a:spcBef>
              <a:spcAft>
                <a:spcPct val="0"/>
              </a:spcAft>
              <a:defRPr lang="x-none" sz="2636" b="1">
                <a:solidFill>
                  <a:schemeClr val="tx2"/>
                </a:solidFill>
                <a:latin typeface="Arial" charset="0"/>
              </a:defRPr>
            </a:lvl6pPr>
            <a:lvl7pPr marL="1269193" algn="l" defTabSz="1242752" rtl="0" eaLnBrk="1" fontAlgn="base" hangingPunct="1">
              <a:spcBef>
                <a:spcPct val="0"/>
              </a:spcBef>
              <a:spcAft>
                <a:spcPct val="0"/>
              </a:spcAft>
              <a:defRPr lang="x-none" sz="2636" b="1">
                <a:solidFill>
                  <a:schemeClr val="tx2"/>
                </a:solidFill>
                <a:latin typeface="Arial" charset="0"/>
              </a:defRPr>
            </a:lvl7pPr>
            <a:lvl8pPr marL="1903787" algn="l" defTabSz="1242752" rtl="0" eaLnBrk="1" fontAlgn="base" hangingPunct="1">
              <a:spcBef>
                <a:spcPct val="0"/>
              </a:spcBef>
              <a:spcAft>
                <a:spcPct val="0"/>
              </a:spcAft>
              <a:defRPr lang="x-none" sz="2636" b="1">
                <a:solidFill>
                  <a:schemeClr val="tx2"/>
                </a:solidFill>
                <a:latin typeface="Arial" charset="0"/>
              </a:defRPr>
            </a:lvl8pPr>
            <a:lvl9pPr marL="2538384" algn="l" defTabSz="1242752" rtl="0" eaLnBrk="1" fontAlgn="base" hangingPunct="1">
              <a:spcBef>
                <a:spcPct val="0"/>
              </a:spcBef>
              <a:spcAft>
                <a:spcPct val="0"/>
              </a:spcAft>
              <a:defRPr lang="x-none" sz="2636" b="1">
                <a:solidFill>
                  <a:schemeClr val="tx2"/>
                </a:solidFill>
                <a:latin typeface="Arial" charset="0"/>
              </a:defRPr>
            </a:lvl9pPr>
          </a:lstStyle>
          <a:p>
            <a:pPr>
              <a:tabLst/>
              <a:defRPr/>
            </a:pPr>
            <a:r>
              <a:rPr lang="en-US" kern="0" dirty="0" err="1">
                <a:solidFill>
                  <a:srgbClr val="000000">
                    <a:lumMod val="95000"/>
                    <a:lumOff val="5000"/>
                  </a:srgbClr>
                </a:solidFill>
                <a:latin typeface="Arial"/>
              </a:rPr>
              <a:t>Siron</a:t>
            </a:r>
            <a:r>
              <a:rPr lang="en-US" kern="0" dirty="0">
                <a:solidFill>
                  <a:srgbClr val="000000">
                    <a:lumMod val="95000"/>
                    <a:lumOff val="5000"/>
                  </a:srgbClr>
                </a:solidFill>
                <a:latin typeface="Arial"/>
              </a:rPr>
              <a:t> KYC / AML / Embargo</a:t>
            </a:r>
            <a:br>
              <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rPr>
            </a:br>
            <a:r>
              <a:rPr kumimoji="0" lang="en-US" sz="1400" b="0" i="0" u="none" strike="noStrike" kern="0" cap="none" spc="0" normalizeH="0" baseline="0" noProof="0" dirty="0">
                <a:ln>
                  <a:noFill/>
                </a:ln>
                <a:solidFill>
                  <a:srgbClr val="000000">
                    <a:lumMod val="95000"/>
                    <a:lumOff val="5000"/>
                  </a:srgbClr>
                </a:solidFill>
                <a:effectLst/>
                <a:uLnTx/>
                <a:uFillTx/>
                <a:latin typeface="Arial"/>
                <a:ea typeface="+mj-ea"/>
                <a:cs typeface="+mj-cs"/>
              </a:rPr>
              <a:t>Project Dashboard</a:t>
            </a:r>
            <a:endParaRPr kumimoji="0" lang="en-US" sz="2041" b="0" i="0" u="none" strike="noStrike" kern="0" cap="none" spc="0" normalizeH="0" baseline="0" noProof="0" dirty="0">
              <a:ln>
                <a:noFill/>
              </a:ln>
              <a:solidFill>
                <a:srgbClr val="000000">
                  <a:lumMod val="95000"/>
                  <a:lumOff val="5000"/>
                </a:srgbClr>
              </a:solidFill>
              <a:effectLst/>
              <a:uLnTx/>
              <a:uFillTx/>
              <a:latin typeface="Arial"/>
              <a:ea typeface="+mj-ea"/>
              <a:cs typeface="+mj-cs"/>
            </a:endParaRPr>
          </a:p>
        </p:txBody>
      </p:sp>
      <p:sp>
        <p:nvSpPr>
          <p:cNvPr id="7" name="1. On-page tracker">
            <a:extLst>
              <a:ext uri="{FF2B5EF4-FFF2-40B4-BE49-F238E27FC236}">
                <a16:creationId xmlns:a16="http://schemas.microsoft.com/office/drawing/2014/main" id="{4C52D9D1-1FA7-F440-82B0-86E48B292D19}"/>
              </a:ext>
            </a:extLst>
          </p:cNvPr>
          <p:cNvSpPr>
            <a:spLocks noChangeArrowheads="1"/>
          </p:cNvSpPr>
          <p:nvPr/>
        </p:nvSpPr>
        <p:spPr bwMode="gray">
          <a:xfrm>
            <a:off x="371475" y="136603"/>
            <a:ext cx="763029"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58">
              <a:defRPr/>
            </a:pPr>
            <a:r>
              <a:rPr lang="en-US" sz="816" cap="all" dirty="0">
                <a:solidFill>
                  <a:srgbClr val="808080"/>
                </a:solidFill>
                <a:latin typeface="Arial"/>
              </a:rPr>
              <a:t>Technology</a:t>
            </a:r>
          </a:p>
        </p:txBody>
      </p:sp>
      <p:sp>
        <p:nvSpPr>
          <p:cNvPr id="24" name="Rectangle 203">
            <a:extLst>
              <a:ext uri="{FF2B5EF4-FFF2-40B4-BE49-F238E27FC236}">
                <a16:creationId xmlns:a16="http://schemas.microsoft.com/office/drawing/2014/main" id="{D65D6ACC-289D-F440-AF12-7572CBD3AAD4}"/>
              </a:ext>
            </a:extLst>
          </p:cNvPr>
          <p:cNvSpPr>
            <a:spLocks noChangeArrowheads="1"/>
          </p:cNvSpPr>
          <p:nvPr/>
        </p:nvSpPr>
        <p:spPr bwMode="auto">
          <a:xfrm>
            <a:off x="359978" y="4736444"/>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r>
              <a:rPr lang="az-Latn-AZ" sz="1100" dirty="0">
                <a:latin typeface="Arial" panose="020B0604020202020204" pitchFamily="34" charset="0"/>
                <a:cs typeface="Arial" panose="020B0604020202020204" pitchFamily="34" charset="0"/>
              </a:rPr>
              <a:t>AML/KYC/Embago systems operates in production environment</a:t>
            </a:r>
            <a:endParaRPr lang="en-US" sz="1100" dirty="0">
              <a:latin typeface="Arial" panose="020B0604020202020204" pitchFamily="34" charset="0"/>
              <a:cs typeface="Arial" panose="020B0604020202020204" pitchFamily="34" charset="0"/>
            </a:endParaRPr>
          </a:p>
        </p:txBody>
      </p:sp>
      <p:sp>
        <p:nvSpPr>
          <p:cNvPr id="25" name="Rectangle 112">
            <a:extLst>
              <a:ext uri="{FF2B5EF4-FFF2-40B4-BE49-F238E27FC236}">
                <a16:creationId xmlns:a16="http://schemas.microsoft.com/office/drawing/2014/main" id="{5B8907FA-7C5A-9C4C-AB87-021A760E529A}"/>
              </a:ext>
            </a:extLst>
          </p:cNvPr>
          <p:cNvSpPr>
            <a:spLocks noChangeArrowheads="1"/>
          </p:cNvSpPr>
          <p:nvPr/>
        </p:nvSpPr>
        <p:spPr bwMode="auto">
          <a:xfrm>
            <a:off x="359978" y="4736443"/>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Achievements</a:t>
            </a:r>
          </a:p>
        </p:txBody>
      </p:sp>
      <p:sp>
        <p:nvSpPr>
          <p:cNvPr id="56" name="Rectangle 116">
            <a:extLst>
              <a:ext uri="{FF2B5EF4-FFF2-40B4-BE49-F238E27FC236}">
                <a16:creationId xmlns:a16="http://schemas.microsoft.com/office/drawing/2014/main" id="{65E39E84-E852-AB42-9F44-A80D51413001}"/>
              </a:ext>
            </a:extLst>
          </p:cNvPr>
          <p:cNvSpPr>
            <a:spLocks noChangeArrowheads="1"/>
          </p:cNvSpPr>
          <p:nvPr/>
        </p:nvSpPr>
        <p:spPr bwMode="auto">
          <a:xfrm>
            <a:off x="1399890" y="1036600"/>
            <a:ext cx="1372061"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Igor </a:t>
            </a:r>
            <a:r>
              <a:rPr kumimoji="0" lang="en-US" sz="1300" b="0" i="0" u="none" strike="noStrike" kern="0" cap="none" spc="0" normalizeH="0" baseline="0" noProof="0" dirty="0" err="1">
                <a:ln>
                  <a:noFill/>
                </a:ln>
                <a:solidFill>
                  <a:srgbClr val="000000"/>
                </a:solidFill>
                <a:effectLst/>
                <a:uLnTx/>
                <a:uFillTx/>
                <a:latin typeface="Arial"/>
                <a:sym typeface="+mn-lt"/>
              </a:rPr>
              <a:t>Okayev</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7" name="Rectangle 116">
            <a:extLst>
              <a:ext uri="{FF2B5EF4-FFF2-40B4-BE49-F238E27FC236}">
                <a16:creationId xmlns:a16="http://schemas.microsoft.com/office/drawing/2014/main" id="{31B3723B-503B-EA43-AEE4-975A420E31AD}"/>
              </a:ext>
            </a:extLst>
          </p:cNvPr>
          <p:cNvSpPr>
            <a:spLocks noChangeArrowheads="1"/>
          </p:cNvSpPr>
          <p:nvPr/>
        </p:nvSpPr>
        <p:spPr bwMode="auto">
          <a:xfrm>
            <a:off x="3917421" y="1046556"/>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Lala </a:t>
            </a:r>
            <a:r>
              <a:rPr kumimoji="0" lang="en-US" sz="1300" b="0" i="0" u="none" strike="noStrike" kern="0" cap="none" spc="0" normalizeH="0" baseline="0" noProof="0" dirty="0" err="1">
                <a:ln>
                  <a:noFill/>
                </a:ln>
                <a:solidFill>
                  <a:srgbClr val="000000"/>
                </a:solidFill>
                <a:effectLst/>
                <a:uLnTx/>
                <a:uFillTx/>
                <a:latin typeface="Arial"/>
                <a:sym typeface="+mn-lt"/>
              </a:rPr>
              <a:t>Hajiyeva</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58" name="Rectangle 116">
            <a:extLst>
              <a:ext uri="{FF2B5EF4-FFF2-40B4-BE49-F238E27FC236}">
                <a16:creationId xmlns:a16="http://schemas.microsoft.com/office/drawing/2014/main" id="{D23E95E0-A131-694E-8308-331FD8A3049D}"/>
              </a:ext>
            </a:extLst>
          </p:cNvPr>
          <p:cNvSpPr>
            <a:spLocks noChangeArrowheads="1"/>
          </p:cNvSpPr>
          <p:nvPr/>
        </p:nvSpPr>
        <p:spPr bwMode="auto">
          <a:xfrm>
            <a:off x="371475" y="1036600"/>
            <a:ext cx="102841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Sponsor</a:t>
            </a:r>
          </a:p>
        </p:txBody>
      </p:sp>
      <p:sp>
        <p:nvSpPr>
          <p:cNvPr id="59" name="Rectangle 116">
            <a:extLst>
              <a:ext uri="{FF2B5EF4-FFF2-40B4-BE49-F238E27FC236}">
                <a16:creationId xmlns:a16="http://schemas.microsoft.com/office/drawing/2014/main" id="{44E3EC9A-D1B3-8944-ADCA-336EFC86A33E}"/>
              </a:ext>
            </a:extLst>
          </p:cNvPr>
          <p:cNvSpPr>
            <a:spLocks noChangeArrowheads="1"/>
          </p:cNvSpPr>
          <p:nvPr/>
        </p:nvSpPr>
        <p:spPr bwMode="auto">
          <a:xfrm>
            <a:off x="2739055" y="1039989"/>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Project </a:t>
            </a:r>
            <a:br>
              <a:rPr lang="en-US" sz="1300" b="1" dirty="0">
                <a:solidFill>
                  <a:srgbClr val="FFFFFF"/>
                </a:solidFill>
                <a:latin typeface="Arial"/>
                <a:sym typeface="+mn-lt"/>
              </a:rPr>
            </a:br>
            <a:r>
              <a:rPr lang="en-US" sz="1300" b="1" dirty="0">
                <a:solidFill>
                  <a:srgbClr val="FFFFFF"/>
                </a:solidFill>
                <a:latin typeface="Arial"/>
                <a:sym typeface="+mn-lt"/>
              </a:rPr>
              <a:t>Manager</a:t>
            </a:r>
          </a:p>
        </p:txBody>
      </p:sp>
      <p:sp>
        <p:nvSpPr>
          <p:cNvPr id="61" name="Rectangle 116">
            <a:extLst>
              <a:ext uri="{FF2B5EF4-FFF2-40B4-BE49-F238E27FC236}">
                <a16:creationId xmlns:a16="http://schemas.microsoft.com/office/drawing/2014/main" id="{0838663B-7BDE-8D43-ACAE-D6729590F555}"/>
              </a:ext>
            </a:extLst>
          </p:cNvPr>
          <p:cNvSpPr>
            <a:spLocks noChangeArrowheads="1"/>
          </p:cNvSpPr>
          <p:nvPr/>
        </p:nvSpPr>
        <p:spPr bwMode="auto">
          <a:xfrm>
            <a:off x="8979458" y="1044655"/>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May 202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63" name="Rectangle 116">
            <a:extLst>
              <a:ext uri="{FF2B5EF4-FFF2-40B4-BE49-F238E27FC236}">
                <a16:creationId xmlns:a16="http://schemas.microsoft.com/office/drawing/2014/main" id="{049AB0BE-EE8B-CD40-87D2-B81A3A24D351}"/>
              </a:ext>
            </a:extLst>
          </p:cNvPr>
          <p:cNvSpPr>
            <a:spLocks noChangeArrowheads="1"/>
          </p:cNvSpPr>
          <p:nvPr/>
        </p:nvSpPr>
        <p:spPr bwMode="auto">
          <a:xfrm>
            <a:off x="7801092" y="1038088"/>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Est. Delivery </a:t>
            </a:r>
          </a:p>
          <a:p>
            <a:pPr fontAlgn="base">
              <a:spcBef>
                <a:spcPct val="0"/>
              </a:spcBef>
              <a:spcAft>
                <a:spcPct val="0"/>
              </a:spcAft>
              <a:buClr>
                <a:srgbClr val="FFFFFF"/>
              </a:buClr>
            </a:pPr>
            <a:r>
              <a:rPr lang="en-US" sz="1300" b="1" dirty="0">
                <a:solidFill>
                  <a:srgbClr val="FFFFFF"/>
                </a:solidFill>
                <a:latin typeface="Arial"/>
                <a:sym typeface="+mn-lt"/>
              </a:rPr>
              <a:t>Date</a:t>
            </a:r>
          </a:p>
        </p:txBody>
      </p:sp>
      <p:sp>
        <p:nvSpPr>
          <p:cNvPr id="69" name="Rectangle 116">
            <a:extLst>
              <a:ext uri="{FF2B5EF4-FFF2-40B4-BE49-F238E27FC236}">
                <a16:creationId xmlns:a16="http://schemas.microsoft.com/office/drawing/2014/main" id="{61E64DAA-E635-474E-8BA0-FF17D6227498}"/>
              </a:ext>
            </a:extLst>
          </p:cNvPr>
          <p:cNvSpPr>
            <a:spLocks noChangeArrowheads="1"/>
          </p:cNvSpPr>
          <p:nvPr/>
        </p:nvSpPr>
        <p:spPr bwMode="auto">
          <a:xfrm>
            <a:off x="6599066" y="1043005"/>
            <a:ext cx="1204750"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sym typeface="+mn-lt"/>
              </a:rPr>
              <a:t>11 Feb 2019</a:t>
            </a:r>
          </a:p>
        </p:txBody>
      </p:sp>
      <p:sp>
        <p:nvSpPr>
          <p:cNvPr id="76" name="Rectangle 116">
            <a:extLst>
              <a:ext uri="{FF2B5EF4-FFF2-40B4-BE49-F238E27FC236}">
                <a16:creationId xmlns:a16="http://schemas.microsoft.com/office/drawing/2014/main" id="{18D76D13-D1F7-CC40-BF75-CF343CD8539A}"/>
              </a:ext>
            </a:extLst>
          </p:cNvPr>
          <p:cNvSpPr>
            <a:spLocks noChangeArrowheads="1"/>
          </p:cNvSpPr>
          <p:nvPr/>
        </p:nvSpPr>
        <p:spPr bwMode="auto">
          <a:xfrm>
            <a:off x="5420700" y="1041381"/>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Initiation </a:t>
            </a:r>
          </a:p>
          <a:p>
            <a:pPr fontAlgn="base">
              <a:spcBef>
                <a:spcPct val="0"/>
              </a:spcBef>
              <a:spcAft>
                <a:spcPct val="0"/>
              </a:spcAft>
              <a:buClr>
                <a:srgbClr val="FFFFFF"/>
              </a:buClr>
            </a:pPr>
            <a:r>
              <a:rPr lang="en-US" sz="1300" b="1" dirty="0">
                <a:solidFill>
                  <a:srgbClr val="FFFFFF"/>
                </a:solidFill>
                <a:latin typeface="Arial"/>
                <a:sym typeface="+mn-lt"/>
              </a:rPr>
              <a:t>Date</a:t>
            </a:r>
          </a:p>
        </p:txBody>
      </p:sp>
      <p:grpSp>
        <p:nvGrpSpPr>
          <p:cNvPr id="77" name="Группа 76">
            <a:extLst>
              <a:ext uri="{FF2B5EF4-FFF2-40B4-BE49-F238E27FC236}">
                <a16:creationId xmlns:a16="http://schemas.microsoft.com/office/drawing/2014/main" id="{BAF98799-A1D1-FA4D-8D76-38E5412FB617}"/>
              </a:ext>
            </a:extLst>
          </p:cNvPr>
          <p:cNvGrpSpPr/>
          <p:nvPr/>
        </p:nvGrpSpPr>
        <p:grpSpPr>
          <a:xfrm>
            <a:off x="11523584" y="387962"/>
            <a:ext cx="296941" cy="483916"/>
            <a:chOff x="8533934" y="185593"/>
            <a:chExt cx="296941" cy="483916"/>
          </a:xfrm>
        </p:grpSpPr>
        <p:sp>
          <p:nvSpPr>
            <p:cNvPr id="78" name="Freeform 96">
              <a:extLst>
                <a:ext uri="{FF2B5EF4-FFF2-40B4-BE49-F238E27FC236}">
                  <a16:creationId xmlns:a16="http://schemas.microsoft.com/office/drawing/2014/main" id="{E068BA72-96F1-B540-B6C0-5B1D39EE8024}"/>
                </a:ext>
              </a:extLst>
            </p:cNvPr>
            <p:cNvSpPr>
              <a:spLocks/>
            </p:cNvSpPr>
            <p:nvPr>
              <p:custDataLst>
                <p:tags r:id="rId3"/>
              </p:custDataLst>
            </p:nvPr>
          </p:nvSpPr>
          <p:spPr bwMode="gray">
            <a:xfrm flipH="1">
              <a:off x="8736449"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79" name="Freeform 96">
              <a:extLst>
                <a:ext uri="{FF2B5EF4-FFF2-40B4-BE49-F238E27FC236}">
                  <a16:creationId xmlns:a16="http://schemas.microsoft.com/office/drawing/2014/main" id="{501F1B39-5A29-7C45-AF2B-5C71E3C0A52D}"/>
                </a:ext>
              </a:extLst>
            </p:cNvPr>
            <p:cNvSpPr>
              <a:spLocks/>
            </p:cNvSpPr>
            <p:nvPr>
              <p:custDataLst>
                <p:tags r:id="rId4"/>
              </p:custDataLst>
            </p:nvPr>
          </p:nvSpPr>
          <p:spPr bwMode="gray">
            <a:xfrm flipH="1">
              <a:off x="8736450"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0" name="Freeform 97">
              <a:extLst>
                <a:ext uri="{FF2B5EF4-FFF2-40B4-BE49-F238E27FC236}">
                  <a16:creationId xmlns:a16="http://schemas.microsoft.com/office/drawing/2014/main" id="{FD9DC035-6CC1-6F4C-A3D2-B1718BEBB5CC}"/>
                </a:ext>
              </a:extLst>
            </p:cNvPr>
            <p:cNvSpPr>
              <a:spLocks/>
            </p:cNvSpPr>
            <p:nvPr>
              <p:custDataLst>
                <p:tags r:id="rId5"/>
              </p:custDataLst>
            </p:nvPr>
          </p:nvSpPr>
          <p:spPr bwMode="gray">
            <a:xfrm flipH="1">
              <a:off x="8736449"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1" name="Freeform 96">
              <a:extLst>
                <a:ext uri="{FF2B5EF4-FFF2-40B4-BE49-F238E27FC236}">
                  <a16:creationId xmlns:a16="http://schemas.microsoft.com/office/drawing/2014/main" id="{9007D2C0-24E1-6241-BE7C-6A8E14539BB7}"/>
                </a:ext>
              </a:extLst>
            </p:cNvPr>
            <p:cNvSpPr>
              <a:spLocks/>
            </p:cNvSpPr>
            <p:nvPr>
              <p:custDataLst>
                <p:tags r:id="rId6"/>
              </p:custDataLst>
            </p:nvPr>
          </p:nvSpPr>
          <p:spPr bwMode="gray">
            <a:xfrm>
              <a:off x="8533934" y="220940"/>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2" name="Freeform 96">
              <a:extLst>
                <a:ext uri="{FF2B5EF4-FFF2-40B4-BE49-F238E27FC236}">
                  <a16:creationId xmlns:a16="http://schemas.microsoft.com/office/drawing/2014/main" id="{85281AF2-6510-8A44-A2FF-24150C3D85AB}"/>
                </a:ext>
              </a:extLst>
            </p:cNvPr>
            <p:cNvSpPr>
              <a:spLocks/>
            </p:cNvSpPr>
            <p:nvPr>
              <p:custDataLst>
                <p:tags r:id="rId7"/>
              </p:custDataLst>
            </p:nvPr>
          </p:nvSpPr>
          <p:spPr bwMode="gray">
            <a:xfrm>
              <a:off x="8533934" y="367535"/>
              <a:ext cx="94425" cy="80864"/>
            </a:xfrm>
            <a:custGeom>
              <a:avLst/>
              <a:gdLst>
                <a:gd name="T0" fmla="*/ 229 w 230"/>
                <a:gd name="T1" fmla="*/ 0 h 194"/>
                <a:gd name="T2" fmla="*/ 0 w 230"/>
                <a:gd name="T3" fmla="*/ 0 h 194"/>
                <a:gd name="T4" fmla="*/ 5 w 230"/>
                <a:gd name="T5" fmla="*/ 33 h 194"/>
                <a:gd name="T6" fmla="*/ 6 w 230"/>
                <a:gd name="T7" fmla="*/ 34 h 194"/>
                <a:gd name="T8" fmla="*/ 12 w 230"/>
                <a:gd name="T9" fmla="*/ 40 h 194"/>
                <a:gd name="T10" fmla="*/ 19 w 230"/>
                <a:gd name="T11" fmla="*/ 47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1 h 194"/>
                <a:gd name="T26" fmla="*/ 143 w 230"/>
                <a:gd name="T27" fmla="*/ 153 h 194"/>
                <a:gd name="T28" fmla="*/ 162 w 230"/>
                <a:gd name="T29" fmla="*/ 166 h 194"/>
                <a:gd name="T30" fmla="*/ 179 w 230"/>
                <a:gd name="T31" fmla="*/ 177 h 194"/>
                <a:gd name="T32" fmla="*/ 197 w 230"/>
                <a:gd name="T33" fmla="*/ 185 h 194"/>
                <a:gd name="T34" fmla="*/ 213 w 230"/>
                <a:gd name="T35" fmla="*/ 191 h 194"/>
                <a:gd name="T36" fmla="*/ 229 w 230"/>
                <a:gd name="T37" fmla="*/ 194 h 194"/>
                <a:gd name="T38" fmla="*/ 230 w 230"/>
                <a:gd name="T39" fmla="*/ 148 h 194"/>
                <a:gd name="T40" fmla="*/ 230 w 230"/>
                <a:gd name="T41" fmla="*/ 82 h 194"/>
                <a:gd name="T42" fmla="*/ 229 w 230"/>
                <a:gd name="T43" fmla="*/ 25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3"/>
                  </a:lnTo>
                  <a:lnTo>
                    <a:pt x="6" y="34"/>
                  </a:lnTo>
                  <a:lnTo>
                    <a:pt x="12" y="40"/>
                  </a:lnTo>
                  <a:lnTo>
                    <a:pt x="19" y="47"/>
                  </a:lnTo>
                  <a:lnTo>
                    <a:pt x="29" y="57"/>
                  </a:lnTo>
                  <a:lnTo>
                    <a:pt x="41" y="69"/>
                  </a:lnTo>
                  <a:lnTo>
                    <a:pt x="55" y="82"/>
                  </a:lnTo>
                  <a:lnTo>
                    <a:pt x="72" y="96"/>
                  </a:lnTo>
                  <a:lnTo>
                    <a:pt x="88" y="111"/>
                  </a:lnTo>
                  <a:lnTo>
                    <a:pt x="106" y="125"/>
                  </a:lnTo>
                  <a:lnTo>
                    <a:pt x="124" y="141"/>
                  </a:lnTo>
                  <a:lnTo>
                    <a:pt x="143" y="153"/>
                  </a:lnTo>
                  <a:lnTo>
                    <a:pt x="162" y="166"/>
                  </a:lnTo>
                  <a:lnTo>
                    <a:pt x="179" y="177"/>
                  </a:lnTo>
                  <a:lnTo>
                    <a:pt x="197" y="185"/>
                  </a:lnTo>
                  <a:lnTo>
                    <a:pt x="213" y="191"/>
                  </a:lnTo>
                  <a:lnTo>
                    <a:pt x="229" y="194"/>
                  </a:lnTo>
                  <a:lnTo>
                    <a:pt x="230" y="148"/>
                  </a:lnTo>
                  <a:lnTo>
                    <a:pt x="230" y="82"/>
                  </a:lnTo>
                  <a:lnTo>
                    <a:pt x="229" y="25"/>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3" name="Freeform 97">
              <a:extLst>
                <a:ext uri="{FF2B5EF4-FFF2-40B4-BE49-F238E27FC236}">
                  <a16:creationId xmlns:a16="http://schemas.microsoft.com/office/drawing/2014/main" id="{2ED5BDF7-799A-0E4B-981E-E93C7FC8481D}"/>
                </a:ext>
              </a:extLst>
            </p:cNvPr>
            <p:cNvSpPr>
              <a:spLocks/>
            </p:cNvSpPr>
            <p:nvPr>
              <p:custDataLst>
                <p:tags r:id="rId8"/>
              </p:custDataLst>
            </p:nvPr>
          </p:nvSpPr>
          <p:spPr bwMode="gray">
            <a:xfrm>
              <a:off x="8533934" y="519153"/>
              <a:ext cx="94425" cy="80864"/>
            </a:xfrm>
            <a:custGeom>
              <a:avLst/>
              <a:gdLst>
                <a:gd name="T0" fmla="*/ 229 w 230"/>
                <a:gd name="T1" fmla="*/ 0 h 194"/>
                <a:gd name="T2" fmla="*/ 0 w 230"/>
                <a:gd name="T3" fmla="*/ 0 h 194"/>
                <a:gd name="T4" fmla="*/ 5 w 230"/>
                <a:gd name="T5" fmla="*/ 32 h 194"/>
                <a:gd name="T6" fmla="*/ 6 w 230"/>
                <a:gd name="T7" fmla="*/ 34 h 194"/>
                <a:gd name="T8" fmla="*/ 12 w 230"/>
                <a:gd name="T9" fmla="*/ 39 h 194"/>
                <a:gd name="T10" fmla="*/ 19 w 230"/>
                <a:gd name="T11" fmla="*/ 46 h 194"/>
                <a:gd name="T12" fmla="*/ 29 w 230"/>
                <a:gd name="T13" fmla="*/ 57 h 194"/>
                <a:gd name="T14" fmla="*/ 41 w 230"/>
                <a:gd name="T15" fmla="*/ 69 h 194"/>
                <a:gd name="T16" fmla="*/ 55 w 230"/>
                <a:gd name="T17" fmla="*/ 82 h 194"/>
                <a:gd name="T18" fmla="*/ 72 w 230"/>
                <a:gd name="T19" fmla="*/ 96 h 194"/>
                <a:gd name="T20" fmla="*/ 88 w 230"/>
                <a:gd name="T21" fmla="*/ 111 h 194"/>
                <a:gd name="T22" fmla="*/ 106 w 230"/>
                <a:gd name="T23" fmla="*/ 125 h 194"/>
                <a:gd name="T24" fmla="*/ 124 w 230"/>
                <a:gd name="T25" fmla="*/ 140 h 194"/>
                <a:gd name="T26" fmla="*/ 143 w 230"/>
                <a:gd name="T27" fmla="*/ 153 h 194"/>
                <a:gd name="T28" fmla="*/ 162 w 230"/>
                <a:gd name="T29" fmla="*/ 166 h 194"/>
                <a:gd name="T30" fmla="*/ 179 w 230"/>
                <a:gd name="T31" fmla="*/ 176 h 194"/>
                <a:gd name="T32" fmla="*/ 197 w 230"/>
                <a:gd name="T33" fmla="*/ 185 h 194"/>
                <a:gd name="T34" fmla="*/ 213 w 230"/>
                <a:gd name="T35" fmla="*/ 191 h 194"/>
                <a:gd name="T36" fmla="*/ 229 w 230"/>
                <a:gd name="T37" fmla="*/ 194 h 194"/>
                <a:gd name="T38" fmla="*/ 230 w 230"/>
                <a:gd name="T39" fmla="*/ 147 h 194"/>
                <a:gd name="T40" fmla="*/ 230 w 230"/>
                <a:gd name="T41" fmla="*/ 82 h 194"/>
                <a:gd name="T42" fmla="*/ 229 w 230"/>
                <a:gd name="T43" fmla="*/ 24 h 194"/>
                <a:gd name="T44" fmla="*/ 229 w 230"/>
                <a:gd name="T4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 h="194">
                  <a:moveTo>
                    <a:pt x="229" y="0"/>
                  </a:moveTo>
                  <a:lnTo>
                    <a:pt x="0" y="0"/>
                  </a:lnTo>
                  <a:lnTo>
                    <a:pt x="5" y="32"/>
                  </a:lnTo>
                  <a:lnTo>
                    <a:pt x="6" y="34"/>
                  </a:lnTo>
                  <a:lnTo>
                    <a:pt x="12" y="39"/>
                  </a:lnTo>
                  <a:lnTo>
                    <a:pt x="19" y="46"/>
                  </a:lnTo>
                  <a:lnTo>
                    <a:pt x="29" y="57"/>
                  </a:lnTo>
                  <a:lnTo>
                    <a:pt x="41" y="69"/>
                  </a:lnTo>
                  <a:lnTo>
                    <a:pt x="55" y="82"/>
                  </a:lnTo>
                  <a:lnTo>
                    <a:pt x="72" y="96"/>
                  </a:lnTo>
                  <a:lnTo>
                    <a:pt x="88" y="111"/>
                  </a:lnTo>
                  <a:lnTo>
                    <a:pt x="106" y="125"/>
                  </a:lnTo>
                  <a:lnTo>
                    <a:pt x="124" y="140"/>
                  </a:lnTo>
                  <a:lnTo>
                    <a:pt x="143" y="153"/>
                  </a:lnTo>
                  <a:lnTo>
                    <a:pt x="162" y="166"/>
                  </a:lnTo>
                  <a:lnTo>
                    <a:pt x="179" y="176"/>
                  </a:lnTo>
                  <a:lnTo>
                    <a:pt x="197" y="185"/>
                  </a:lnTo>
                  <a:lnTo>
                    <a:pt x="213" y="191"/>
                  </a:lnTo>
                  <a:lnTo>
                    <a:pt x="229" y="194"/>
                  </a:lnTo>
                  <a:lnTo>
                    <a:pt x="230" y="147"/>
                  </a:lnTo>
                  <a:lnTo>
                    <a:pt x="230" y="82"/>
                  </a:lnTo>
                  <a:lnTo>
                    <a:pt x="229" y="24"/>
                  </a:lnTo>
                  <a:lnTo>
                    <a:pt x="229"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sp>
          <p:nvSpPr>
            <p:cNvPr id="84" name="Freeform 95">
              <a:extLst>
                <a:ext uri="{FF2B5EF4-FFF2-40B4-BE49-F238E27FC236}">
                  <a16:creationId xmlns:a16="http://schemas.microsoft.com/office/drawing/2014/main" id="{BA4588BF-C4B4-7344-9DC0-0DC8DDA8178B}"/>
                </a:ext>
              </a:extLst>
            </p:cNvPr>
            <p:cNvSpPr>
              <a:spLocks/>
            </p:cNvSpPr>
            <p:nvPr>
              <p:custDataLst>
                <p:tags r:id="rId9"/>
              </p:custDataLst>
            </p:nvPr>
          </p:nvSpPr>
          <p:spPr bwMode="gray">
            <a:xfrm>
              <a:off x="8594023" y="185593"/>
              <a:ext cx="187624" cy="483916"/>
            </a:xfrm>
            <a:custGeom>
              <a:avLst/>
              <a:gdLst>
                <a:gd name="T0" fmla="*/ 58 w 460"/>
                <a:gd name="T1" fmla="*/ 0 h 1149"/>
                <a:gd name="T2" fmla="*/ 403 w 460"/>
                <a:gd name="T3" fmla="*/ 0 h 1149"/>
                <a:gd name="T4" fmla="*/ 414 w 460"/>
                <a:gd name="T5" fmla="*/ 1 h 1149"/>
                <a:gd name="T6" fmla="*/ 425 w 460"/>
                <a:gd name="T7" fmla="*/ 5 h 1149"/>
                <a:gd name="T8" fmla="*/ 434 w 460"/>
                <a:gd name="T9" fmla="*/ 9 h 1149"/>
                <a:gd name="T10" fmla="*/ 444 w 460"/>
                <a:gd name="T11" fmla="*/ 16 h 1149"/>
                <a:gd name="T12" fmla="*/ 451 w 460"/>
                <a:gd name="T13" fmla="*/ 26 h 1149"/>
                <a:gd name="T14" fmla="*/ 455 w 460"/>
                <a:gd name="T15" fmla="*/ 35 h 1149"/>
                <a:gd name="T16" fmla="*/ 459 w 460"/>
                <a:gd name="T17" fmla="*/ 46 h 1149"/>
                <a:gd name="T18" fmla="*/ 460 w 460"/>
                <a:gd name="T19" fmla="*/ 57 h 1149"/>
                <a:gd name="T20" fmla="*/ 460 w 460"/>
                <a:gd name="T21" fmla="*/ 1092 h 1149"/>
                <a:gd name="T22" fmla="*/ 459 w 460"/>
                <a:gd name="T23" fmla="*/ 1103 h 1149"/>
                <a:gd name="T24" fmla="*/ 455 w 460"/>
                <a:gd name="T25" fmla="*/ 1114 h 1149"/>
                <a:gd name="T26" fmla="*/ 451 w 460"/>
                <a:gd name="T27" fmla="*/ 1123 h 1149"/>
                <a:gd name="T28" fmla="*/ 444 w 460"/>
                <a:gd name="T29" fmla="*/ 1133 h 1149"/>
                <a:gd name="T30" fmla="*/ 434 w 460"/>
                <a:gd name="T31" fmla="*/ 1140 h 1149"/>
                <a:gd name="T32" fmla="*/ 425 w 460"/>
                <a:gd name="T33" fmla="*/ 1144 h 1149"/>
                <a:gd name="T34" fmla="*/ 414 w 460"/>
                <a:gd name="T35" fmla="*/ 1148 h 1149"/>
                <a:gd name="T36" fmla="*/ 403 w 460"/>
                <a:gd name="T37" fmla="*/ 1149 h 1149"/>
                <a:gd name="T38" fmla="*/ 58 w 460"/>
                <a:gd name="T39" fmla="*/ 1149 h 1149"/>
                <a:gd name="T40" fmla="*/ 46 w 460"/>
                <a:gd name="T41" fmla="*/ 1148 h 1149"/>
                <a:gd name="T42" fmla="*/ 36 w 460"/>
                <a:gd name="T43" fmla="*/ 1144 h 1149"/>
                <a:gd name="T44" fmla="*/ 26 w 460"/>
                <a:gd name="T45" fmla="*/ 1140 h 1149"/>
                <a:gd name="T46" fmla="*/ 17 w 460"/>
                <a:gd name="T47" fmla="*/ 1133 h 1149"/>
                <a:gd name="T48" fmla="*/ 10 w 460"/>
                <a:gd name="T49" fmla="*/ 1123 h 1149"/>
                <a:gd name="T50" fmla="*/ 5 w 460"/>
                <a:gd name="T51" fmla="*/ 1114 h 1149"/>
                <a:gd name="T52" fmla="*/ 2 w 460"/>
                <a:gd name="T53" fmla="*/ 1103 h 1149"/>
                <a:gd name="T54" fmla="*/ 0 w 460"/>
                <a:gd name="T55" fmla="*/ 1092 h 1149"/>
                <a:gd name="T56" fmla="*/ 0 w 460"/>
                <a:gd name="T57" fmla="*/ 57 h 1149"/>
                <a:gd name="T58" fmla="*/ 2 w 460"/>
                <a:gd name="T59" fmla="*/ 46 h 1149"/>
                <a:gd name="T60" fmla="*/ 5 w 460"/>
                <a:gd name="T61" fmla="*/ 35 h 1149"/>
                <a:gd name="T62" fmla="*/ 10 w 460"/>
                <a:gd name="T63" fmla="*/ 26 h 1149"/>
                <a:gd name="T64" fmla="*/ 17 w 460"/>
                <a:gd name="T65" fmla="*/ 16 h 1149"/>
                <a:gd name="T66" fmla="*/ 26 w 460"/>
                <a:gd name="T67" fmla="*/ 9 h 1149"/>
                <a:gd name="T68" fmla="*/ 36 w 460"/>
                <a:gd name="T69" fmla="*/ 5 h 1149"/>
                <a:gd name="T70" fmla="*/ 46 w 460"/>
                <a:gd name="T71" fmla="*/ 1 h 1149"/>
                <a:gd name="T72" fmla="*/ 58 w 460"/>
                <a:gd name="T73" fmla="*/ 0 h 1149"/>
                <a:gd name="T74" fmla="*/ 58 w 460"/>
                <a:gd name="T7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0" h="1149">
                  <a:moveTo>
                    <a:pt x="58" y="0"/>
                  </a:moveTo>
                  <a:lnTo>
                    <a:pt x="403" y="0"/>
                  </a:lnTo>
                  <a:lnTo>
                    <a:pt x="414" y="1"/>
                  </a:lnTo>
                  <a:lnTo>
                    <a:pt x="425" y="5"/>
                  </a:lnTo>
                  <a:lnTo>
                    <a:pt x="434" y="9"/>
                  </a:lnTo>
                  <a:lnTo>
                    <a:pt x="444" y="16"/>
                  </a:lnTo>
                  <a:lnTo>
                    <a:pt x="451" y="26"/>
                  </a:lnTo>
                  <a:lnTo>
                    <a:pt x="455" y="35"/>
                  </a:lnTo>
                  <a:lnTo>
                    <a:pt x="459" y="46"/>
                  </a:lnTo>
                  <a:lnTo>
                    <a:pt x="460" y="57"/>
                  </a:lnTo>
                  <a:lnTo>
                    <a:pt x="460" y="1092"/>
                  </a:lnTo>
                  <a:lnTo>
                    <a:pt x="459" y="1103"/>
                  </a:lnTo>
                  <a:lnTo>
                    <a:pt x="455" y="1114"/>
                  </a:lnTo>
                  <a:lnTo>
                    <a:pt x="451" y="1123"/>
                  </a:lnTo>
                  <a:lnTo>
                    <a:pt x="444" y="1133"/>
                  </a:lnTo>
                  <a:lnTo>
                    <a:pt x="434" y="1140"/>
                  </a:lnTo>
                  <a:lnTo>
                    <a:pt x="425" y="1144"/>
                  </a:lnTo>
                  <a:lnTo>
                    <a:pt x="414" y="1148"/>
                  </a:lnTo>
                  <a:lnTo>
                    <a:pt x="403" y="1149"/>
                  </a:lnTo>
                  <a:lnTo>
                    <a:pt x="58" y="1149"/>
                  </a:lnTo>
                  <a:lnTo>
                    <a:pt x="46" y="1148"/>
                  </a:lnTo>
                  <a:lnTo>
                    <a:pt x="36" y="1144"/>
                  </a:lnTo>
                  <a:lnTo>
                    <a:pt x="26" y="1140"/>
                  </a:lnTo>
                  <a:lnTo>
                    <a:pt x="17" y="1133"/>
                  </a:lnTo>
                  <a:lnTo>
                    <a:pt x="10" y="1123"/>
                  </a:lnTo>
                  <a:lnTo>
                    <a:pt x="5" y="1114"/>
                  </a:lnTo>
                  <a:lnTo>
                    <a:pt x="2" y="1103"/>
                  </a:lnTo>
                  <a:lnTo>
                    <a:pt x="0" y="1092"/>
                  </a:lnTo>
                  <a:lnTo>
                    <a:pt x="0" y="57"/>
                  </a:lnTo>
                  <a:lnTo>
                    <a:pt x="2" y="46"/>
                  </a:lnTo>
                  <a:lnTo>
                    <a:pt x="5" y="35"/>
                  </a:lnTo>
                  <a:lnTo>
                    <a:pt x="10" y="26"/>
                  </a:lnTo>
                  <a:lnTo>
                    <a:pt x="17" y="16"/>
                  </a:lnTo>
                  <a:lnTo>
                    <a:pt x="26" y="9"/>
                  </a:lnTo>
                  <a:lnTo>
                    <a:pt x="36" y="5"/>
                  </a:lnTo>
                  <a:lnTo>
                    <a:pt x="46" y="1"/>
                  </a:lnTo>
                  <a:lnTo>
                    <a:pt x="58" y="0"/>
                  </a:lnTo>
                  <a:lnTo>
                    <a:pt x="58" y="0"/>
                  </a:lnTo>
                  <a:close/>
                </a:path>
              </a:pathLst>
            </a:custGeom>
            <a:solidFill>
              <a:srgbClr val="000000">
                <a:lumMod val="75000"/>
                <a:lumOff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32958" eaLnBrk="1" fontAlgn="auto" latinLnBrk="0" hangingPunct="1">
                <a:lnSpc>
                  <a:spcPct val="100000"/>
                </a:lnSpc>
                <a:spcBef>
                  <a:spcPts val="0"/>
                </a:spcBef>
                <a:spcAft>
                  <a:spcPts val="0"/>
                </a:spcAft>
                <a:buClrTx/>
                <a:buSzTx/>
                <a:buFontTx/>
                <a:buNone/>
                <a:tabLst/>
                <a:defRPr/>
              </a:pPr>
              <a:endParaRPr kumimoji="0" lang="en-US" sz="714" b="0" i="0" u="none" strike="noStrike" kern="0" cap="none" spc="0" normalizeH="0" baseline="0" noProof="0" dirty="0">
                <a:ln>
                  <a:noFill/>
                </a:ln>
                <a:solidFill>
                  <a:srgbClr val="000000"/>
                </a:solidFill>
                <a:effectLst/>
                <a:uLnTx/>
                <a:uFillTx/>
                <a:latin typeface="Arial"/>
              </a:endParaRPr>
            </a:p>
          </p:txBody>
        </p:sp>
      </p:grpSp>
      <p:cxnSp>
        <p:nvCxnSpPr>
          <p:cNvPr id="239" name="Straight Connector 77">
            <a:extLst>
              <a:ext uri="{FF2B5EF4-FFF2-40B4-BE49-F238E27FC236}">
                <a16:creationId xmlns:a16="http://schemas.microsoft.com/office/drawing/2014/main" id="{E85C9EE5-8DBF-BC40-86CE-1BAAB13EA5B5}"/>
              </a:ext>
            </a:extLst>
          </p:cNvPr>
          <p:cNvCxnSpPr>
            <a:cxnSpLocks/>
          </p:cNvCxnSpPr>
          <p:nvPr/>
        </p:nvCxnSpPr>
        <p:spPr>
          <a:xfrm>
            <a:off x="3308610" y="2284965"/>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0" name="Straight Connector 78">
            <a:extLst>
              <a:ext uri="{FF2B5EF4-FFF2-40B4-BE49-F238E27FC236}">
                <a16:creationId xmlns:a16="http://schemas.microsoft.com/office/drawing/2014/main" id="{A33FC6CB-453A-8248-A82B-93F5FEF98B8A}"/>
              </a:ext>
            </a:extLst>
          </p:cNvPr>
          <p:cNvCxnSpPr/>
          <p:nvPr/>
        </p:nvCxnSpPr>
        <p:spPr>
          <a:xfrm>
            <a:off x="3578475"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79">
            <a:extLst>
              <a:ext uri="{FF2B5EF4-FFF2-40B4-BE49-F238E27FC236}">
                <a16:creationId xmlns:a16="http://schemas.microsoft.com/office/drawing/2014/main" id="{CAEC2648-83C4-4048-A0C0-D19872390BAC}"/>
              </a:ext>
            </a:extLst>
          </p:cNvPr>
          <p:cNvCxnSpPr/>
          <p:nvPr/>
        </p:nvCxnSpPr>
        <p:spPr>
          <a:xfrm>
            <a:off x="3848340"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2" name="Straight Connector 80">
            <a:extLst>
              <a:ext uri="{FF2B5EF4-FFF2-40B4-BE49-F238E27FC236}">
                <a16:creationId xmlns:a16="http://schemas.microsoft.com/office/drawing/2014/main" id="{FAB0DC73-7F34-3E44-BBE1-0C0F6DC3033D}"/>
              </a:ext>
            </a:extLst>
          </p:cNvPr>
          <p:cNvCxnSpPr/>
          <p:nvPr/>
        </p:nvCxnSpPr>
        <p:spPr>
          <a:xfrm>
            <a:off x="4088426" y="2277750"/>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81">
            <a:extLst>
              <a:ext uri="{FF2B5EF4-FFF2-40B4-BE49-F238E27FC236}">
                <a16:creationId xmlns:a16="http://schemas.microsoft.com/office/drawing/2014/main" id="{2A3EADE0-168C-0643-9D1A-CDA6A7C21AE4}"/>
              </a:ext>
            </a:extLst>
          </p:cNvPr>
          <p:cNvCxnSpPr/>
          <p:nvPr/>
        </p:nvCxnSpPr>
        <p:spPr>
          <a:xfrm>
            <a:off x="439784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4" name="Straight Connector 82">
            <a:extLst>
              <a:ext uri="{FF2B5EF4-FFF2-40B4-BE49-F238E27FC236}">
                <a16:creationId xmlns:a16="http://schemas.microsoft.com/office/drawing/2014/main" id="{8C617091-C6EE-C34A-809F-CADACAA1C79E}"/>
              </a:ext>
            </a:extLst>
          </p:cNvPr>
          <p:cNvCxnSpPr/>
          <p:nvPr/>
        </p:nvCxnSpPr>
        <p:spPr>
          <a:xfrm>
            <a:off x="465793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83">
            <a:extLst>
              <a:ext uri="{FF2B5EF4-FFF2-40B4-BE49-F238E27FC236}">
                <a16:creationId xmlns:a16="http://schemas.microsoft.com/office/drawing/2014/main" id="{DC9D493F-3371-BF47-A4E2-CE294583640A}"/>
              </a:ext>
            </a:extLst>
          </p:cNvPr>
          <p:cNvCxnSpPr/>
          <p:nvPr/>
        </p:nvCxnSpPr>
        <p:spPr>
          <a:xfrm>
            <a:off x="4927799"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6" name="Straight Connector 84">
            <a:extLst>
              <a:ext uri="{FF2B5EF4-FFF2-40B4-BE49-F238E27FC236}">
                <a16:creationId xmlns:a16="http://schemas.microsoft.com/office/drawing/2014/main" id="{DD3E9446-E525-CE42-8474-D50AE2B6467D}"/>
              </a:ext>
            </a:extLst>
          </p:cNvPr>
          <p:cNvCxnSpPr/>
          <p:nvPr/>
        </p:nvCxnSpPr>
        <p:spPr>
          <a:xfrm>
            <a:off x="5197664"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85">
            <a:extLst>
              <a:ext uri="{FF2B5EF4-FFF2-40B4-BE49-F238E27FC236}">
                <a16:creationId xmlns:a16="http://schemas.microsoft.com/office/drawing/2014/main" id="{43586165-24B2-5748-8CA2-BCAFA8ADB720}"/>
              </a:ext>
            </a:extLst>
          </p:cNvPr>
          <p:cNvCxnSpPr/>
          <p:nvPr/>
        </p:nvCxnSpPr>
        <p:spPr>
          <a:xfrm>
            <a:off x="546752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8" name="Straight Connector 86">
            <a:extLst>
              <a:ext uri="{FF2B5EF4-FFF2-40B4-BE49-F238E27FC236}">
                <a16:creationId xmlns:a16="http://schemas.microsoft.com/office/drawing/2014/main" id="{01983D16-5A93-3241-9754-ECF0D4D7C907}"/>
              </a:ext>
            </a:extLst>
          </p:cNvPr>
          <p:cNvCxnSpPr/>
          <p:nvPr/>
        </p:nvCxnSpPr>
        <p:spPr>
          <a:xfrm>
            <a:off x="5737393"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87">
            <a:extLst>
              <a:ext uri="{FF2B5EF4-FFF2-40B4-BE49-F238E27FC236}">
                <a16:creationId xmlns:a16="http://schemas.microsoft.com/office/drawing/2014/main" id="{EE1919D1-F675-9F4A-A9EC-C1BAB3A989C8}"/>
              </a:ext>
            </a:extLst>
          </p:cNvPr>
          <p:cNvCxnSpPr/>
          <p:nvPr/>
        </p:nvCxnSpPr>
        <p:spPr>
          <a:xfrm>
            <a:off x="600725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0" name="Straight Connector 88">
            <a:extLst>
              <a:ext uri="{FF2B5EF4-FFF2-40B4-BE49-F238E27FC236}">
                <a16:creationId xmlns:a16="http://schemas.microsoft.com/office/drawing/2014/main" id="{E1745B9A-9BCB-794C-B4A9-1CC8F5688041}"/>
              </a:ext>
            </a:extLst>
          </p:cNvPr>
          <p:cNvCxnSpPr/>
          <p:nvPr/>
        </p:nvCxnSpPr>
        <p:spPr>
          <a:xfrm>
            <a:off x="6277123"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89">
            <a:extLst>
              <a:ext uri="{FF2B5EF4-FFF2-40B4-BE49-F238E27FC236}">
                <a16:creationId xmlns:a16="http://schemas.microsoft.com/office/drawing/2014/main" id="{485FD8D7-6282-7E42-AC4D-243C860E2743}"/>
              </a:ext>
            </a:extLst>
          </p:cNvPr>
          <p:cNvCxnSpPr/>
          <p:nvPr/>
        </p:nvCxnSpPr>
        <p:spPr>
          <a:xfrm>
            <a:off x="6546988"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2" name="Straight Connector 90">
            <a:extLst>
              <a:ext uri="{FF2B5EF4-FFF2-40B4-BE49-F238E27FC236}">
                <a16:creationId xmlns:a16="http://schemas.microsoft.com/office/drawing/2014/main" id="{4BD5A780-E0BB-6B4B-A4D3-5316E66CC8F6}"/>
              </a:ext>
            </a:extLst>
          </p:cNvPr>
          <p:cNvCxnSpPr/>
          <p:nvPr/>
        </p:nvCxnSpPr>
        <p:spPr>
          <a:xfrm>
            <a:off x="6816852"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9" name="Rectangle 10">
            <a:extLst>
              <a:ext uri="{FF2B5EF4-FFF2-40B4-BE49-F238E27FC236}">
                <a16:creationId xmlns:a16="http://schemas.microsoft.com/office/drawing/2014/main" id="{9ACCD167-1137-514E-8CE4-CB28E293AC7E}"/>
              </a:ext>
            </a:extLst>
          </p:cNvPr>
          <p:cNvSpPr txBox="1">
            <a:spLocks/>
          </p:cNvSpPr>
          <p:nvPr/>
        </p:nvSpPr>
        <p:spPr>
          <a:xfrm>
            <a:off x="1695665" y="1808776"/>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19</a:t>
            </a:r>
          </a:p>
        </p:txBody>
      </p:sp>
      <p:cxnSp>
        <p:nvCxnSpPr>
          <p:cNvPr id="260" name="Straight Connector 15">
            <a:extLst>
              <a:ext uri="{FF2B5EF4-FFF2-40B4-BE49-F238E27FC236}">
                <a16:creationId xmlns:a16="http://schemas.microsoft.com/office/drawing/2014/main" id="{2E02F606-5C4C-2A47-94F3-AC9931BA7A6D}"/>
              </a:ext>
            </a:extLst>
          </p:cNvPr>
          <p:cNvCxnSpPr>
            <a:cxnSpLocks/>
          </p:cNvCxnSpPr>
          <p:nvPr/>
        </p:nvCxnSpPr>
        <p:spPr>
          <a:xfrm flipH="1">
            <a:off x="1660816" y="2022083"/>
            <a:ext cx="32188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1" name="Rectangle 10">
            <a:extLst>
              <a:ext uri="{FF2B5EF4-FFF2-40B4-BE49-F238E27FC236}">
                <a16:creationId xmlns:a16="http://schemas.microsoft.com/office/drawing/2014/main" id="{82BB2C53-33B7-0143-804D-3D7AB3191121}"/>
              </a:ext>
            </a:extLst>
          </p:cNvPr>
          <p:cNvSpPr txBox="1">
            <a:spLocks/>
          </p:cNvSpPr>
          <p:nvPr/>
        </p:nvSpPr>
        <p:spPr>
          <a:xfrm>
            <a:off x="358403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262" name="Straight Connector 21">
            <a:extLst>
              <a:ext uri="{FF2B5EF4-FFF2-40B4-BE49-F238E27FC236}">
                <a16:creationId xmlns:a16="http://schemas.microsoft.com/office/drawing/2014/main" id="{DD67C0CC-EC72-4E4F-99C3-7378A1D8E045}"/>
              </a:ext>
            </a:extLst>
          </p:cNvPr>
          <p:cNvCxnSpPr>
            <a:cxnSpLocks/>
          </p:cNvCxnSpPr>
          <p:nvPr/>
        </p:nvCxnSpPr>
        <p:spPr>
          <a:xfrm flipH="1">
            <a:off x="360530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3" name="Rectangle 10">
            <a:extLst>
              <a:ext uri="{FF2B5EF4-FFF2-40B4-BE49-F238E27FC236}">
                <a16:creationId xmlns:a16="http://schemas.microsoft.com/office/drawing/2014/main" id="{5E31B7D6-49E1-A54B-AEC1-0B354D540DFB}"/>
              </a:ext>
            </a:extLst>
          </p:cNvPr>
          <p:cNvSpPr txBox="1">
            <a:spLocks/>
          </p:cNvSpPr>
          <p:nvPr/>
        </p:nvSpPr>
        <p:spPr>
          <a:xfrm>
            <a:off x="385389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264" name="Straight Connector 24">
            <a:extLst>
              <a:ext uri="{FF2B5EF4-FFF2-40B4-BE49-F238E27FC236}">
                <a16:creationId xmlns:a16="http://schemas.microsoft.com/office/drawing/2014/main" id="{51BEF95C-CD90-0D40-BCEF-65D74D5EFB90}"/>
              </a:ext>
            </a:extLst>
          </p:cNvPr>
          <p:cNvCxnSpPr>
            <a:cxnSpLocks/>
          </p:cNvCxnSpPr>
          <p:nvPr/>
        </p:nvCxnSpPr>
        <p:spPr>
          <a:xfrm flipH="1">
            <a:off x="387517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5" name="Rectangle 10">
            <a:extLst>
              <a:ext uri="{FF2B5EF4-FFF2-40B4-BE49-F238E27FC236}">
                <a16:creationId xmlns:a16="http://schemas.microsoft.com/office/drawing/2014/main" id="{A6AA6391-ED00-9A40-A80C-0AC5DCDD2604}"/>
              </a:ext>
            </a:extLst>
          </p:cNvPr>
          <p:cNvSpPr txBox="1">
            <a:spLocks/>
          </p:cNvSpPr>
          <p:nvPr/>
        </p:nvSpPr>
        <p:spPr>
          <a:xfrm>
            <a:off x="412376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266" name="Straight Connector 27">
            <a:extLst>
              <a:ext uri="{FF2B5EF4-FFF2-40B4-BE49-F238E27FC236}">
                <a16:creationId xmlns:a16="http://schemas.microsoft.com/office/drawing/2014/main" id="{046CD086-1DB2-D340-93A7-ACFB2B37AADF}"/>
              </a:ext>
            </a:extLst>
          </p:cNvPr>
          <p:cNvCxnSpPr>
            <a:cxnSpLocks/>
          </p:cNvCxnSpPr>
          <p:nvPr/>
        </p:nvCxnSpPr>
        <p:spPr>
          <a:xfrm flipH="1">
            <a:off x="414503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7" name="Rectangle 10">
            <a:extLst>
              <a:ext uri="{FF2B5EF4-FFF2-40B4-BE49-F238E27FC236}">
                <a16:creationId xmlns:a16="http://schemas.microsoft.com/office/drawing/2014/main" id="{E4166D6E-6E90-C043-B753-8168D2E5B1A3}"/>
              </a:ext>
            </a:extLst>
          </p:cNvPr>
          <p:cNvSpPr txBox="1">
            <a:spLocks/>
          </p:cNvSpPr>
          <p:nvPr/>
        </p:nvSpPr>
        <p:spPr>
          <a:xfrm>
            <a:off x="439362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268" name="Straight Connector 30">
            <a:extLst>
              <a:ext uri="{FF2B5EF4-FFF2-40B4-BE49-F238E27FC236}">
                <a16:creationId xmlns:a16="http://schemas.microsoft.com/office/drawing/2014/main" id="{B73D408D-75C5-5043-8DBC-DA61FB7D2024}"/>
              </a:ext>
            </a:extLst>
          </p:cNvPr>
          <p:cNvCxnSpPr>
            <a:cxnSpLocks/>
          </p:cNvCxnSpPr>
          <p:nvPr/>
        </p:nvCxnSpPr>
        <p:spPr>
          <a:xfrm flipH="1">
            <a:off x="441490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69" name="Rectangle 10">
            <a:extLst>
              <a:ext uri="{FF2B5EF4-FFF2-40B4-BE49-F238E27FC236}">
                <a16:creationId xmlns:a16="http://schemas.microsoft.com/office/drawing/2014/main" id="{8D4E3ACD-61DE-834E-B92E-EDD38EB1A41C}"/>
              </a:ext>
            </a:extLst>
          </p:cNvPr>
          <p:cNvSpPr txBox="1">
            <a:spLocks/>
          </p:cNvSpPr>
          <p:nvPr/>
        </p:nvSpPr>
        <p:spPr>
          <a:xfrm>
            <a:off x="331416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70" name="Straight Connector 18">
            <a:extLst>
              <a:ext uri="{FF2B5EF4-FFF2-40B4-BE49-F238E27FC236}">
                <a16:creationId xmlns:a16="http://schemas.microsoft.com/office/drawing/2014/main" id="{BF6E1AB6-0B1B-2642-875F-63B6DE66D04D}"/>
              </a:ext>
            </a:extLst>
          </p:cNvPr>
          <p:cNvCxnSpPr>
            <a:cxnSpLocks/>
          </p:cNvCxnSpPr>
          <p:nvPr/>
        </p:nvCxnSpPr>
        <p:spPr>
          <a:xfrm flipH="1">
            <a:off x="333544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1" name="Rectangle 10">
            <a:extLst>
              <a:ext uri="{FF2B5EF4-FFF2-40B4-BE49-F238E27FC236}">
                <a16:creationId xmlns:a16="http://schemas.microsoft.com/office/drawing/2014/main" id="{35F96DF5-54EA-4642-B30D-75A364EEC3F2}"/>
              </a:ext>
            </a:extLst>
          </p:cNvPr>
          <p:cNvSpPr txBox="1">
            <a:spLocks/>
          </p:cNvSpPr>
          <p:nvPr/>
        </p:nvSpPr>
        <p:spPr>
          <a:xfrm>
            <a:off x="466349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272" name="Straight Connector 33">
            <a:extLst>
              <a:ext uri="{FF2B5EF4-FFF2-40B4-BE49-F238E27FC236}">
                <a16:creationId xmlns:a16="http://schemas.microsoft.com/office/drawing/2014/main" id="{ECD4E9C9-571F-2744-9369-DBA40C67AB29}"/>
              </a:ext>
            </a:extLst>
          </p:cNvPr>
          <p:cNvCxnSpPr>
            <a:cxnSpLocks/>
          </p:cNvCxnSpPr>
          <p:nvPr/>
        </p:nvCxnSpPr>
        <p:spPr>
          <a:xfrm flipH="1">
            <a:off x="468476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3" name="Rectangle 10">
            <a:extLst>
              <a:ext uri="{FF2B5EF4-FFF2-40B4-BE49-F238E27FC236}">
                <a16:creationId xmlns:a16="http://schemas.microsoft.com/office/drawing/2014/main" id="{5AC1227B-B667-A34E-8C71-5DC3DF11F686}"/>
              </a:ext>
            </a:extLst>
          </p:cNvPr>
          <p:cNvSpPr txBox="1">
            <a:spLocks/>
          </p:cNvSpPr>
          <p:nvPr/>
        </p:nvSpPr>
        <p:spPr>
          <a:xfrm>
            <a:off x="520322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274" name="Straight Connector 39">
            <a:extLst>
              <a:ext uri="{FF2B5EF4-FFF2-40B4-BE49-F238E27FC236}">
                <a16:creationId xmlns:a16="http://schemas.microsoft.com/office/drawing/2014/main" id="{EF561F7E-0004-464D-AA94-064109E818F2}"/>
              </a:ext>
            </a:extLst>
          </p:cNvPr>
          <p:cNvCxnSpPr>
            <a:cxnSpLocks/>
          </p:cNvCxnSpPr>
          <p:nvPr/>
        </p:nvCxnSpPr>
        <p:spPr>
          <a:xfrm flipH="1">
            <a:off x="522449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5" name="Rectangle 10">
            <a:extLst>
              <a:ext uri="{FF2B5EF4-FFF2-40B4-BE49-F238E27FC236}">
                <a16:creationId xmlns:a16="http://schemas.microsoft.com/office/drawing/2014/main" id="{055421DF-3102-D847-ABA9-8AE598F0ECFC}"/>
              </a:ext>
            </a:extLst>
          </p:cNvPr>
          <p:cNvSpPr txBox="1">
            <a:spLocks/>
          </p:cNvSpPr>
          <p:nvPr/>
        </p:nvSpPr>
        <p:spPr>
          <a:xfrm>
            <a:off x="547308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276" name="Straight Connector 42">
            <a:extLst>
              <a:ext uri="{FF2B5EF4-FFF2-40B4-BE49-F238E27FC236}">
                <a16:creationId xmlns:a16="http://schemas.microsoft.com/office/drawing/2014/main" id="{A5D52031-7E5D-5C46-AC01-C495883AF646}"/>
              </a:ext>
            </a:extLst>
          </p:cNvPr>
          <p:cNvCxnSpPr>
            <a:cxnSpLocks/>
          </p:cNvCxnSpPr>
          <p:nvPr/>
        </p:nvCxnSpPr>
        <p:spPr>
          <a:xfrm flipH="1">
            <a:off x="549435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7" name="Rectangle 10">
            <a:extLst>
              <a:ext uri="{FF2B5EF4-FFF2-40B4-BE49-F238E27FC236}">
                <a16:creationId xmlns:a16="http://schemas.microsoft.com/office/drawing/2014/main" id="{A2E271D4-5726-0847-A864-553F635B72EF}"/>
              </a:ext>
            </a:extLst>
          </p:cNvPr>
          <p:cNvSpPr txBox="1">
            <a:spLocks/>
          </p:cNvSpPr>
          <p:nvPr/>
        </p:nvSpPr>
        <p:spPr>
          <a:xfrm>
            <a:off x="574295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278" name="Straight Connector 45">
            <a:extLst>
              <a:ext uri="{FF2B5EF4-FFF2-40B4-BE49-F238E27FC236}">
                <a16:creationId xmlns:a16="http://schemas.microsoft.com/office/drawing/2014/main" id="{4196848A-6B3C-BD4C-8198-506A9ADD7B25}"/>
              </a:ext>
            </a:extLst>
          </p:cNvPr>
          <p:cNvCxnSpPr>
            <a:cxnSpLocks/>
          </p:cNvCxnSpPr>
          <p:nvPr/>
        </p:nvCxnSpPr>
        <p:spPr>
          <a:xfrm flipH="1">
            <a:off x="576422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79" name="Rectangle 10">
            <a:extLst>
              <a:ext uri="{FF2B5EF4-FFF2-40B4-BE49-F238E27FC236}">
                <a16:creationId xmlns:a16="http://schemas.microsoft.com/office/drawing/2014/main" id="{22BFB237-E46A-4743-A66C-5383EFD184C3}"/>
              </a:ext>
            </a:extLst>
          </p:cNvPr>
          <p:cNvSpPr txBox="1">
            <a:spLocks/>
          </p:cNvSpPr>
          <p:nvPr/>
        </p:nvSpPr>
        <p:spPr>
          <a:xfrm>
            <a:off x="601281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280" name="Straight Connector 48">
            <a:extLst>
              <a:ext uri="{FF2B5EF4-FFF2-40B4-BE49-F238E27FC236}">
                <a16:creationId xmlns:a16="http://schemas.microsoft.com/office/drawing/2014/main" id="{62183091-886F-AD41-9D2E-41E3A1EFD1A6}"/>
              </a:ext>
            </a:extLst>
          </p:cNvPr>
          <p:cNvCxnSpPr>
            <a:cxnSpLocks/>
          </p:cNvCxnSpPr>
          <p:nvPr/>
        </p:nvCxnSpPr>
        <p:spPr>
          <a:xfrm flipH="1">
            <a:off x="603408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1" name="Rectangle 10">
            <a:extLst>
              <a:ext uri="{FF2B5EF4-FFF2-40B4-BE49-F238E27FC236}">
                <a16:creationId xmlns:a16="http://schemas.microsoft.com/office/drawing/2014/main" id="{363C863C-9A00-0F4E-A6AA-5514D0C732C0}"/>
              </a:ext>
            </a:extLst>
          </p:cNvPr>
          <p:cNvSpPr txBox="1">
            <a:spLocks/>
          </p:cNvSpPr>
          <p:nvPr/>
        </p:nvSpPr>
        <p:spPr>
          <a:xfrm>
            <a:off x="6282682"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282" name="Straight Connector 51">
            <a:extLst>
              <a:ext uri="{FF2B5EF4-FFF2-40B4-BE49-F238E27FC236}">
                <a16:creationId xmlns:a16="http://schemas.microsoft.com/office/drawing/2014/main" id="{04CCB443-C228-8C41-88BA-0813318F8D63}"/>
              </a:ext>
            </a:extLst>
          </p:cNvPr>
          <p:cNvCxnSpPr>
            <a:cxnSpLocks/>
          </p:cNvCxnSpPr>
          <p:nvPr/>
        </p:nvCxnSpPr>
        <p:spPr>
          <a:xfrm flipH="1">
            <a:off x="6303953"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83" name="Rectangle 10">
            <a:extLst>
              <a:ext uri="{FF2B5EF4-FFF2-40B4-BE49-F238E27FC236}">
                <a16:creationId xmlns:a16="http://schemas.microsoft.com/office/drawing/2014/main" id="{2F4B82AD-857B-274A-813C-EF6A8AB66471}"/>
              </a:ext>
            </a:extLst>
          </p:cNvPr>
          <p:cNvSpPr txBox="1">
            <a:spLocks/>
          </p:cNvSpPr>
          <p:nvPr/>
        </p:nvSpPr>
        <p:spPr>
          <a:xfrm>
            <a:off x="655254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284" name="Straight Connector 54">
            <a:extLst>
              <a:ext uri="{FF2B5EF4-FFF2-40B4-BE49-F238E27FC236}">
                <a16:creationId xmlns:a16="http://schemas.microsoft.com/office/drawing/2014/main" id="{4E6EACFE-5BD5-2E48-AC56-31FF45248CF7}"/>
              </a:ext>
            </a:extLst>
          </p:cNvPr>
          <p:cNvCxnSpPr>
            <a:cxnSpLocks/>
          </p:cNvCxnSpPr>
          <p:nvPr/>
        </p:nvCxnSpPr>
        <p:spPr>
          <a:xfrm flipH="1">
            <a:off x="657381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3" name="Rectangle 10">
            <a:extLst>
              <a:ext uri="{FF2B5EF4-FFF2-40B4-BE49-F238E27FC236}">
                <a16:creationId xmlns:a16="http://schemas.microsoft.com/office/drawing/2014/main" id="{C5C79B83-C61E-F44D-868A-9923512DA340}"/>
              </a:ext>
            </a:extLst>
          </p:cNvPr>
          <p:cNvSpPr txBox="1">
            <a:spLocks/>
          </p:cNvSpPr>
          <p:nvPr/>
        </p:nvSpPr>
        <p:spPr>
          <a:xfrm>
            <a:off x="493335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94" name="Straight Connector 36">
            <a:extLst>
              <a:ext uri="{FF2B5EF4-FFF2-40B4-BE49-F238E27FC236}">
                <a16:creationId xmlns:a16="http://schemas.microsoft.com/office/drawing/2014/main" id="{A4056EA8-9CE8-B84A-9179-4EAAF23D8BE7}"/>
              </a:ext>
            </a:extLst>
          </p:cNvPr>
          <p:cNvCxnSpPr>
            <a:cxnSpLocks/>
          </p:cNvCxnSpPr>
          <p:nvPr/>
        </p:nvCxnSpPr>
        <p:spPr>
          <a:xfrm flipH="1">
            <a:off x="495462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95" name="Rectangle 10">
            <a:extLst>
              <a:ext uri="{FF2B5EF4-FFF2-40B4-BE49-F238E27FC236}">
                <a16:creationId xmlns:a16="http://schemas.microsoft.com/office/drawing/2014/main" id="{927EF8DD-9927-EA48-BEE8-24CBDB88AD3E}"/>
              </a:ext>
            </a:extLst>
          </p:cNvPr>
          <p:cNvSpPr txBox="1">
            <a:spLocks/>
          </p:cNvSpPr>
          <p:nvPr/>
        </p:nvSpPr>
        <p:spPr>
          <a:xfrm>
            <a:off x="4933358" y="1787798"/>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96" name="Straight Connector 74">
            <a:extLst>
              <a:ext uri="{FF2B5EF4-FFF2-40B4-BE49-F238E27FC236}">
                <a16:creationId xmlns:a16="http://schemas.microsoft.com/office/drawing/2014/main" id="{DC01B8FE-1E94-564B-B5F7-50B06B023506}"/>
              </a:ext>
            </a:extLst>
          </p:cNvPr>
          <p:cNvCxnSpPr>
            <a:cxnSpLocks/>
          </p:cNvCxnSpPr>
          <p:nvPr/>
        </p:nvCxnSpPr>
        <p:spPr>
          <a:xfrm flipH="1">
            <a:off x="4933359" y="2022083"/>
            <a:ext cx="18834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0" name="Rectangle 10">
            <a:extLst>
              <a:ext uri="{FF2B5EF4-FFF2-40B4-BE49-F238E27FC236}">
                <a16:creationId xmlns:a16="http://schemas.microsoft.com/office/drawing/2014/main" id="{82BB2C53-33B7-0143-804D-3D7AB3191121}"/>
              </a:ext>
            </a:extLst>
          </p:cNvPr>
          <p:cNvSpPr txBox="1">
            <a:spLocks/>
          </p:cNvSpPr>
          <p:nvPr/>
        </p:nvSpPr>
        <p:spPr>
          <a:xfrm>
            <a:off x="195751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181" name="Rectangle 10">
            <a:extLst>
              <a:ext uri="{FF2B5EF4-FFF2-40B4-BE49-F238E27FC236}">
                <a16:creationId xmlns:a16="http://schemas.microsoft.com/office/drawing/2014/main" id="{5E31B7D6-49E1-A54B-AEC1-0B354D540DFB}"/>
              </a:ext>
            </a:extLst>
          </p:cNvPr>
          <p:cNvSpPr txBox="1">
            <a:spLocks/>
          </p:cNvSpPr>
          <p:nvPr/>
        </p:nvSpPr>
        <p:spPr>
          <a:xfrm>
            <a:off x="222737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182" name="Rectangle 10">
            <a:extLst>
              <a:ext uri="{FF2B5EF4-FFF2-40B4-BE49-F238E27FC236}">
                <a16:creationId xmlns:a16="http://schemas.microsoft.com/office/drawing/2014/main" id="{A6AA6391-ED00-9A40-A80C-0AC5DCDD2604}"/>
              </a:ext>
            </a:extLst>
          </p:cNvPr>
          <p:cNvSpPr txBox="1">
            <a:spLocks/>
          </p:cNvSpPr>
          <p:nvPr/>
        </p:nvSpPr>
        <p:spPr>
          <a:xfrm>
            <a:off x="249724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183" name="Rectangle 10">
            <a:extLst>
              <a:ext uri="{FF2B5EF4-FFF2-40B4-BE49-F238E27FC236}">
                <a16:creationId xmlns:a16="http://schemas.microsoft.com/office/drawing/2014/main" id="{E4166D6E-6E90-C043-B753-8168D2E5B1A3}"/>
              </a:ext>
            </a:extLst>
          </p:cNvPr>
          <p:cNvSpPr txBox="1">
            <a:spLocks/>
          </p:cNvSpPr>
          <p:nvPr/>
        </p:nvSpPr>
        <p:spPr>
          <a:xfrm>
            <a:off x="276710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184" name="Rectangle 10">
            <a:extLst>
              <a:ext uri="{FF2B5EF4-FFF2-40B4-BE49-F238E27FC236}">
                <a16:creationId xmlns:a16="http://schemas.microsoft.com/office/drawing/2014/main" id="{8D4E3ACD-61DE-834E-B92E-EDD38EB1A41C}"/>
              </a:ext>
            </a:extLst>
          </p:cNvPr>
          <p:cNvSpPr txBox="1">
            <a:spLocks/>
          </p:cNvSpPr>
          <p:nvPr/>
        </p:nvSpPr>
        <p:spPr>
          <a:xfrm>
            <a:off x="168764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185" name="Rectangle 10">
            <a:extLst>
              <a:ext uri="{FF2B5EF4-FFF2-40B4-BE49-F238E27FC236}">
                <a16:creationId xmlns:a16="http://schemas.microsoft.com/office/drawing/2014/main" id="{35F96DF5-54EA-4642-B30D-75A364EEC3F2}"/>
              </a:ext>
            </a:extLst>
          </p:cNvPr>
          <p:cNvSpPr txBox="1">
            <a:spLocks/>
          </p:cNvSpPr>
          <p:nvPr/>
        </p:nvSpPr>
        <p:spPr>
          <a:xfrm>
            <a:off x="3036970"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99" name="Rectangle 10">
            <a:extLst>
              <a:ext uri="{FF2B5EF4-FFF2-40B4-BE49-F238E27FC236}">
                <a16:creationId xmlns:a16="http://schemas.microsoft.com/office/drawing/2014/main" id="{F16D6D59-881A-EC4A-8A9E-FB095101AFF9}"/>
              </a:ext>
            </a:extLst>
          </p:cNvPr>
          <p:cNvSpPr txBox="1">
            <a:spLocks/>
          </p:cNvSpPr>
          <p:nvPr/>
        </p:nvSpPr>
        <p:spPr>
          <a:xfrm>
            <a:off x="373129" y="1790222"/>
            <a:ext cx="1236389"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Milestones</a:t>
            </a:r>
          </a:p>
        </p:txBody>
      </p:sp>
      <p:sp>
        <p:nvSpPr>
          <p:cNvPr id="300" name="TextBox 299">
            <a:extLst>
              <a:ext uri="{FF2B5EF4-FFF2-40B4-BE49-F238E27FC236}">
                <a16:creationId xmlns:a16="http://schemas.microsoft.com/office/drawing/2014/main" id="{FAB683F0-53FD-C546-97E2-2458BA95FB75}"/>
              </a:ext>
            </a:extLst>
          </p:cNvPr>
          <p:cNvSpPr txBox="1">
            <a:spLocks/>
          </p:cNvSpPr>
          <p:nvPr/>
        </p:nvSpPr>
        <p:spPr>
          <a:xfrm>
            <a:off x="361321" y="2305920"/>
            <a:ext cx="1236389" cy="556150"/>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Requirements collection and analysis</a:t>
            </a:r>
          </a:p>
        </p:txBody>
      </p:sp>
      <p:sp>
        <p:nvSpPr>
          <p:cNvPr id="301" name="Rectangle 99">
            <a:extLst>
              <a:ext uri="{FF2B5EF4-FFF2-40B4-BE49-F238E27FC236}">
                <a16:creationId xmlns:a16="http://schemas.microsoft.com/office/drawing/2014/main" id="{875EF904-C7A4-7342-934E-91E35B7FFEEC}"/>
              </a:ext>
            </a:extLst>
          </p:cNvPr>
          <p:cNvSpPr>
            <a:spLocks/>
          </p:cNvSpPr>
          <p:nvPr/>
        </p:nvSpPr>
        <p:spPr>
          <a:xfrm>
            <a:off x="1660221" y="2508912"/>
            <a:ext cx="613654"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302" name="Straight Connector 98">
            <a:extLst>
              <a:ext uri="{FF2B5EF4-FFF2-40B4-BE49-F238E27FC236}">
                <a16:creationId xmlns:a16="http://schemas.microsoft.com/office/drawing/2014/main" id="{EA5D74FC-CC7F-B647-B132-AC06F0DFA043}"/>
              </a:ext>
            </a:extLst>
          </p:cNvPr>
          <p:cNvCxnSpPr>
            <a:cxnSpLocks/>
          </p:cNvCxnSpPr>
          <p:nvPr>
            <p:custDataLst>
              <p:tags r:id="rId1"/>
            </p:custDataLst>
          </p:nvPr>
        </p:nvCxnSpPr>
        <p:spPr bwMode="gray">
          <a:xfrm>
            <a:off x="373129" y="2024507"/>
            <a:ext cx="1236389"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303" name="Rectangle 99">
            <a:extLst>
              <a:ext uri="{FF2B5EF4-FFF2-40B4-BE49-F238E27FC236}">
                <a16:creationId xmlns:a16="http://schemas.microsoft.com/office/drawing/2014/main" id="{D6D2C861-7B41-9647-B1AA-DD447D0E3E2B}"/>
              </a:ext>
            </a:extLst>
          </p:cNvPr>
          <p:cNvSpPr>
            <a:spLocks/>
          </p:cNvSpPr>
          <p:nvPr/>
        </p:nvSpPr>
        <p:spPr>
          <a:xfrm>
            <a:off x="1663581" y="2550835"/>
            <a:ext cx="576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r">
              <a:defRPr/>
            </a:pPr>
            <a:r>
              <a:rPr lang="az-Latn-AZ" sz="900" b="1" dirty="0">
                <a:solidFill>
                  <a:prstClr val="white"/>
                </a:solidFill>
                <a:latin typeface="Arial"/>
              </a:rPr>
              <a:t>10</a:t>
            </a:r>
            <a:r>
              <a:rPr lang="en-US" sz="900" b="1" dirty="0">
                <a:solidFill>
                  <a:prstClr val="white"/>
                </a:solidFill>
                <a:latin typeface="Arial"/>
              </a:rPr>
              <a:t>0%</a:t>
            </a:r>
          </a:p>
        </p:txBody>
      </p:sp>
      <p:sp>
        <p:nvSpPr>
          <p:cNvPr id="304" name="TextBox 303">
            <a:extLst>
              <a:ext uri="{FF2B5EF4-FFF2-40B4-BE49-F238E27FC236}">
                <a16:creationId xmlns:a16="http://schemas.microsoft.com/office/drawing/2014/main" id="{53F47676-A43D-5F4C-92D4-3B66DAE2B272}"/>
              </a:ext>
            </a:extLst>
          </p:cNvPr>
          <p:cNvSpPr txBox="1">
            <a:spLocks/>
          </p:cNvSpPr>
          <p:nvPr/>
        </p:nvSpPr>
        <p:spPr>
          <a:xfrm>
            <a:off x="359978" y="2905872"/>
            <a:ext cx="1237732" cy="389933"/>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Development</a:t>
            </a:r>
            <a:r>
              <a:rPr kumimoji="0" lang="az-Latn-AZ" sz="1100" b="1" i="0" u="none" strike="noStrike" kern="1200" cap="none" spc="0" normalizeH="0" baseline="0" noProof="0" dirty="0">
                <a:ln>
                  <a:noFill/>
                </a:ln>
                <a:solidFill>
                  <a:srgbClr val="FFFFFF"/>
                </a:solidFill>
                <a:effectLst/>
                <a:uLnTx/>
                <a:uFillTx/>
                <a:latin typeface="Arial"/>
                <a:ea typeface="+mn-ea"/>
                <a:cs typeface="+mn-cs"/>
              </a:rPr>
              <a:t> Siron</a:t>
            </a:r>
            <a:r>
              <a:rPr kumimoji="0" lang="az-Latn-AZ" sz="1100" b="1" i="0" u="none" strike="noStrike" kern="1200" cap="none" spc="0" normalizeH="0" noProof="0" dirty="0">
                <a:ln>
                  <a:noFill/>
                </a:ln>
                <a:solidFill>
                  <a:srgbClr val="FFFFFF"/>
                </a:solidFill>
                <a:effectLst/>
                <a:uLnTx/>
                <a:uFillTx/>
                <a:latin typeface="Arial"/>
                <a:ea typeface="+mn-ea"/>
                <a:cs typeface="+mn-cs"/>
              </a:rPr>
              <a:t> KYC AML</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05" name="Rectangle 99">
            <a:extLst>
              <a:ext uri="{FF2B5EF4-FFF2-40B4-BE49-F238E27FC236}">
                <a16:creationId xmlns:a16="http://schemas.microsoft.com/office/drawing/2014/main" id="{FFF3F0F4-E438-8B43-9815-3513B57DBF5E}"/>
              </a:ext>
            </a:extLst>
          </p:cNvPr>
          <p:cNvSpPr>
            <a:spLocks/>
          </p:cNvSpPr>
          <p:nvPr/>
        </p:nvSpPr>
        <p:spPr>
          <a:xfrm>
            <a:off x="2258366" y="3369701"/>
            <a:ext cx="3636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6" name="Rectangle 99">
            <a:extLst>
              <a:ext uri="{FF2B5EF4-FFF2-40B4-BE49-F238E27FC236}">
                <a16:creationId xmlns:a16="http://schemas.microsoft.com/office/drawing/2014/main" id="{0596E707-B512-2142-BEA7-D9C9F5E056B9}"/>
              </a:ext>
            </a:extLst>
          </p:cNvPr>
          <p:cNvSpPr>
            <a:spLocks/>
          </p:cNvSpPr>
          <p:nvPr/>
        </p:nvSpPr>
        <p:spPr>
          <a:xfrm>
            <a:off x="2258366" y="3427968"/>
            <a:ext cx="234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en-US" sz="900" b="1" dirty="0">
                <a:solidFill>
                  <a:schemeClr val="bg1"/>
                </a:solidFill>
                <a:latin typeface="Arial"/>
              </a:rPr>
              <a:t>6</a:t>
            </a:r>
            <a:r>
              <a:rPr lang="az-Latn-AZ" sz="900" b="1" dirty="0">
                <a:solidFill>
                  <a:schemeClr val="bg1"/>
                </a:solidFill>
                <a:latin typeface="Arial"/>
              </a:rPr>
              <a:t>0</a:t>
            </a:r>
            <a:r>
              <a:rPr lang="en-US" sz="900" b="1" dirty="0">
                <a:solidFill>
                  <a:schemeClr val="bg1"/>
                </a:solidFill>
                <a:latin typeface="Arial"/>
              </a:rPr>
              <a:t>%</a:t>
            </a:r>
          </a:p>
        </p:txBody>
      </p:sp>
      <p:sp>
        <p:nvSpPr>
          <p:cNvPr id="307" name="TextBox 306">
            <a:extLst>
              <a:ext uri="{FF2B5EF4-FFF2-40B4-BE49-F238E27FC236}">
                <a16:creationId xmlns:a16="http://schemas.microsoft.com/office/drawing/2014/main" id="{2483E650-5135-334E-A9FD-5AFFA82B4A0E}"/>
              </a:ext>
            </a:extLst>
          </p:cNvPr>
          <p:cNvSpPr txBox="1">
            <a:spLocks/>
          </p:cNvSpPr>
          <p:nvPr/>
        </p:nvSpPr>
        <p:spPr>
          <a:xfrm>
            <a:off x="361918" y="4217599"/>
            <a:ext cx="1236389" cy="346709"/>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lang="az-Latn-AZ" sz="1100" dirty="0">
                <a:solidFill>
                  <a:srgbClr val="FFFFFF"/>
                </a:solidFill>
              </a:rPr>
              <a:t>FUİ Reports</a:t>
            </a:r>
            <a:endParaRPr kumimoji="0" lang="en-US" sz="1100" b="1" i="0" u="none" strike="noStrike" kern="1200" cap="none" spc="0" normalizeH="0" baseline="0" noProof="0" dirty="0">
              <a:ln>
                <a:noFill/>
              </a:ln>
              <a:solidFill>
                <a:srgbClr val="FFFFFF"/>
              </a:solidFill>
              <a:effectLst/>
              <a:uLnTx/>
              <a:uFillTx/>
            </a:endParaRPr>
          </a:p>
        </p:txBody>
      </p:sp>
      <p:sp>
        <p:nvSpPr>
          <p:cNvPr id="308" name="Rectangle 99">
            <a:extLst>
              <a:ext uri="{FF2B5EF4-FFF2-40B4-BE49-F238E27FC236}">
                <a16:creationId xmlns:a16="http://schemas.microsoft.com/office/drawing/2014/main" id="{B8AAB2CE-D37B-894E-B004-7FDA994B5E3D}"/>
              </a:ext>
            </a:extLst>
          </p:cNvPr>
          <p:cNvSpPr>
            <a:spLocks/>
          </p:cNvSpPr>
          <p:nvPr/>
        </p:nvSpPr>
        <p:spPr>
          <a:xfrm>
            <a:off x="5669936" y="4241821"/>
            <a:ext cx="1116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09" name="Rectangle 99">
            <a:extLst>
              <a:ext uri="{FF2B5EF4-FFF2-40B4-BE49-F238E27FC236}">
                <a16:creationId xmlns:a16="http://schemas.microsoft.com/office/drawing/2014/main" id="{1C8EBA9B-A9EE-2541-9EB2-D93B6A141884}"/>
              </a:ext>
            </a:extLst>
          </p:cNvPr>
          <p:cNvSpPr>
            <a:spLocks/>
          </p:cNvSpPr>
          <p:nvPr/>
        </p:nvSpPr>
        <p:spPr>
          <a:xfrm>
            <a:off x="5657744" y="4300088"/>
            <a:ext cx="360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dirty="0">
                <a:solidFill>
                  <a:schemeClr val="bg1"/>
                </a:solidFill>
                <a:latin typeface="Arial"/>
              </a:rPr>
              <a:t>0%</a:t>
            </a:r>
            <a:endParaRPr kumimoji="0" lang="en-US" sz="700" b="1" i="0" u="none" strike="noStrike" kern="1200" cap="none" spc="0" normalizeH="0" baseline="0" noProof="0" dirty="0">
              <a:ln>
                <a:noFill/>
              </a:ln>
              <a:solidFill>
                <a:schemeClr val="bg1"/>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53F47676-A43D-5F4C-92D4-3B66DAE2B272}"/>
              </a:ext>
            </a:extLst>
          </p:cNvPr>
          <p:cNvSpPr txBox="1">
            <a:spLocks/>
          </p:cNvSpPr>
          <p:nvPr/>
        </p:nvSpPr>
        <p:spPr>
          <a:xfrm>
            <a:off x="357878" y="3327415"/>
            <a:ext cx="1234800" cy="40987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Development</a:t>
            </a:r>
            <a:r>
              <a:rPr kumimoji="0" lang="az-Latn-AZ" sz="1100" b="1" i="0" u="none" strike="noStrike" kern="1200" cap="none" spc="0" normalizeH="0" baseline="0" noProof="0" dirty="0">
                <a:ln>
                  <a:noFill/>
                </a:ln>
                <a:solidFill>
                  <a:srgbClr val="FFFFFF"/>
                </a:solidFill>
                <a:effectLst/>
                <a:uLnTx/>
                <a:uFillTx/>
                <a:latin typeface="Arial"/>
                <a:ea typeface="+mn-ea"/>
                <a:cs typeface="+mn-cs"/>
              </a:rPr>
              <a:t> Siron Embargo</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8" name="TextBox 167">
            <a:extLst>
              <a:ext uri="{FF2B5EF4-FFF2-40B4-BE49-F238E27FC236}">
                <a16:creationId xmlns:a16="http://schemas.microsoft.com/office/drawing/2014/main" id="{53F47676-A43D-5F4C-92D4-3B66DAE2B272}"/>
              </a:ext>
            </a:extLst>
          </p:cNvPr>
          <p:cNvSpPr txBox="1">
            <a:spLocks/>
          </p:cNvSpPr>
          <p:nvPr/>
        </p:nvSpPr>
        <p:spPr>
          <a:xfrm>
            <a:off x="367532" y="3774486"/>
            <a:ext cx="1227640" cy="409871"/>
          </a:xfrm>
          <a:prstGeom prst="rect">
            <a:avLst/>
          </a:prstGeom>
          <a:solidFill>
            <a:srgbClr val="FF6011"/>
          </a:solidFill>
          <a:ln w="9525">
            <a:noFill/>
          </a:ln>
        </p:spPr>
        <p:txBody>
          <a:bodyPr vert="horz" wrap="square" lIns="72009" tIns="72009" rIns="72009" bIns="72009" rtlCol="0" anchor="ctr" anchorCtr="0">
            <a:noAutofit/>
          </a:bodyPr>
          <a:lstStyle>
            <a:defPPr>
              <a:defRPr lang="en-US"/>
            </a:defPPr>
            <a:lvl1pPr marL="0" marR="0" lvl="0" indent="0" defTabSz="1242752" eaLnBrk="1" latinLnBrk="0" hangingPunct="1">
              <a:lnSpc>
                <a:spcPct val="100000"/>
              </a:lnSpc>
              <a:buClr>
                <a:srgbClr val="002960"/>
              </a:buClr>
              <a:buSzPct val="100000"/>
              <a:buFontTx/>
              <a:buNone/>
              <a:tabLst/>
              <a:defRPr kumimoji="0" sz="1500" b="1" i="0" u="none" strike="noStrike" cap="none" spc="0" normalizeH="0" baseline="0">
                <a:ln>
                  <a:noFill/>
                </a:ln>
                <a:solidFill>
                  <a:srgbClr val="002960"/>
                </a:solidFill>
                <a:effectLst/>
                <a:uLnTx/>
                <a:uFillTx/>
                <a:latin typeface="Arial"/>
              </a:defRPr>
            </a:lvl1pPr>
            <a:lvl2pPr marL="195922" lvl="1" indent="-195922" defTabSz="1242752">
              <a:buClr>
                <a:schemeClr val="tx2"/>
              </a:buClr>
              <a:buSzPct val="125000"/>
              <a:buFont typeface="Arial" charset="0"/>
              <a:buChar char="▪"/>
              <a:defRPr sz="1632" baseline="0"/>
            </a:lvl2pPr>
            <a:lvl3pPr marL="466481" lvl="2" indent="-270559" defTabSz="1242752">
              <a:buClr>
                <a:schemeClr val="tx2"/>
              </a:buClr>
              <a:buSzPct val="120000"/>
              <a:buFont typeface="Arial" charset="0"/>
              <a:buChar char="–"/>
              <a:defRPr sz="1632" baseline="0"/>
            </a:lvl3pPr>
            <a:lvl4pPr marL="625085" lvl="3" indent="-158604" defTabSz="1242752">
              <a:buClr>
                <a:schemeClr val="tx2"/>
              </a:buClr>
              <a:buSzPct val="120000"/>
              <a:buFont typeface="Arial" charset="0"/>
              <a:buChar char="▫"/>
              <a:defRPr sz="1632" baseline="0"/>
            </a:lvl4pPr>
            <a:lvl5pPr marL="765029" lvl="4" indent="-130615" defTabSz="1242752">
              <a:buClr>
                <a:schemeClr val="tx2"/>
              </a:buClr>
              <a:buSzPct val="89000"/>
              <a:buFont typeface="Arial" charset="0"/>
              <a:buChar char="-"/>
              <a:defRPr sz="1632" baseline="0"/>
            </a:lvl5pPr>
            <a:lvl6pPr marL="1040737" indent="-180684" defTabSz="1242752" fontAlgn="base">
              <a:spcBef>
                <a:spcPct val="0"/>
              </a:spcBef>
              <a:spcAft>
                <a:spcPct val="0"/>
              </a:spcAft>
              <a:buClr>
                <a:schemeClr val="tx2"/>
              </a:buClr>
              <a:buSzPct val="89000"/>
              <a:buFont typeface="Arial" charset="0"/>
              <a:buChar char="-"/>
              <a:defRPr sz="2220" baseline="0"/>
            </a:lvl6pPr>
            <a:lvl7pPr marL="1040737" indent="-180684" defTabSz="1242752" fontAlgn="base">
              <a:spcBef>
                <a:spcPct val="0"/>
              </a:spcBef>
              <a:spcAft>
                <a:spcPct val="0"/>
              </a:spcAft>
              <a:buClr>
                <a:schemeClr val="tx2"/>
              </a:buClr>
              <a:buSzPct val="89000"/>
              <a:buFont typeface="Arial" charset="0"/>
              <a:buChar char="-"/>
              <a:defRPr sz="2220" baseline="0"/>
            </a:lvl7pPr>
            <a:lvl8pPr marL="1040737" indent="-180684" defTabSz="1242752" fontAlgn="base">
              <a:spcBef>
                <a:spcPct val="0"/>
              </a:spcBef>
              <a:spcAft>
                <a:spcPct val="0"/>
              </a:spcAft>
              <a:buClr>
                <a:schemeClr val="tx2"/>
              </a:buClr>
              <a:buSzPct val="89000"/>
              <a:buFont typeface="Arial" charset="0"/>
              <a:buChar char="-"/>
              <a:defRPr sz="2220" baseline="0"/>
            </a:lvl8pPr>
            <a:lvl9pPr marL="1040737" indent="-180684" defTabSz="1242752" fontAlgn="base">
              <a:spcBef>
                <a:spcPct val="0"/>
              </a:spcBef>
              <a:spcAft>
                <a:spcPct val="0"/>
              </a:spcAft>
              <a:buClr>
                <a:schemeClr val="tx2"/>
              </a:buClr>
              <a:buSzPct val="89000"/>
              <a:buFont typeface="Arial" charset="0"/>
              <a:buChar char="-"/>
              <a:defRPr sz="2220" baseline="0"/>
            </a:lvl9pPr>
          </a:lstStyle>
          <a:p>
            <a:pPr marL="0" marR="0" lvl="0" indent="0" algn="l" defTabSz="1242752" rtl="0" eaLnBrk="1" fontAlgn="base" latinLnBrk="0" hangingPunct="1">
              <a:lnSpc>
                <a:spcPct val="100000"/>
              </a:lnSpc>
              <a:spcBef>
                <a:spcPct val="0"/>
              </a:spcBef>
              <a:spcAft>
                <a:spcPct val="0"/>
              </a:spcAft>
              <a:buClr>
                <a:srgbClr val="FFFFFF"/>
              </a:buClr>
              <a:buSzPct val="100000"/>
              <a:buFontTx/>
              <a:buNone/>
              <a:tabLst/>
              <a:defRPr/>
            </a:pPr>
            <a:r>
              <a:rPr kumimoji="0" lang="az-Latn-AZ" sz="1100" b="1" i="0" u="none" strike="noStrike" kern="1200" cap="none" spc="0" normalizeH="0" baseline="0" noProof="0" dirty="0">
                <a:ln>
                  <a:noFill/>
                </a:ln>
                <a:solidFill>
                  <a:srgbClr val="FFFFFF"/>
                </a:solidFill>
                <a:effectLst/>
                <a:uLnTx/>
                <a:uFillTx/>
                <a:latin typeface="Arial"/>
                <a:ea typeface="+mn-ea"/>
                <a:cs typeface="+mn-cs"/>
              </a:rPr>
              <a:t>Training</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69" name="Rectangle 99">
            <a:extLst>
              <a:ext uri="{FF2B5EF4-FFF2-40B4-BE49-F238E27FC236}">
                <a16:creationId xmlns:a16="http://schemas.microsoft.com/office/drawing/2014/main" id="{FFF3F0F4-E438-8B43-9815-3513B57DBF5E}"/>
              </a:ext>
            </a:extLst>
          </p:cNvPr>
          <p:cNvSpPr>
            <a:spLocks/>
          </p:cNvSpPr>
          <p:nvPr/>
        </p:nvSpPr>
        <p:spPr>
          <a:xfrm>
            <a:off x="2128614" y="2943446"/>
            <a:ext cx="2268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0" name="Rectangle 99">
            <a:extLst>
              <a:ext uri="{FF2B5EF4-FFF2-40B4-BE49-F238E27FC236}">
                <a16:creationId xmlns:a16="http://schemas.microsoft.com/office/drawing/2014/main" id="{0596E707-B512-2142-BEA7-D9C9F5E056B9}"/>
              </a:ext>
            </a:extLst>
          </p:cNvPr>
          <p:cNvSpPr>
            <a:spLocks/>
          </p:cNvSpPr>
          <p:nvPr/>
        </p:nvSpPr>
        <p:spPr>
          <a:xfrm>
            <a:off x="2128614" y="3001713"/>
            <a:ext cx="2232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az-Latn-AZ" sz="900" b="1" dirty="0">
                <a:solidFill>
                  <a:schemeClr val="bg1"/>
                </a:solidFill>
                <a:latin typeface="Arial"/>
              </a:rPr>
              <a:t>100</a:t>
            </a:r>
            <a:r>
              <a:rPr lang="en-US" sz="900" b="1" dirty="0">
                <a:solidFill>
                  <a:schemeClr val="bg1"/>
                </a:solidFill>
                <a:latin typeface="Arial"/>
              </a:rPr>
              <a:t>%</a:t>
            </a:r>
          </a:p>
        </p:txBody>
      </p:sp>
      <p:sp>
        <p:nvSpPr>
          <p:cNvPr id="171" name="Rectangle 99">
            <a:extLst>
              <a:ext uri="{FF2B5EF4-FFF2-40B4-BE49-F238E27FC236}">
                <a16:creationId xmlns:a16="http://schemas.microsoft.com/office/drawing/2014/main" id="{FFF3F0F4-E438-8B43-9815-3513B57DBF5E}"/>
              </a:ext>
            </a:extLst>
          </p:cNvPr>
          <p:cNvSpPr>
            <a:spLocks/>
          </p:cNvSpPr>
          <p:nvPr/>
        </p:nvSpPr>
        <p:spPr>
          <a:xfrm>
            <a:off x="2120724" y="3835456"/>
            <a:ext cx="2304000" cy="23427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2" name="Rectangle 99">
            <a:extLst>
              <a:ext uri="{FF2B5EF4-FFF2-40B4-BE49-F238E27FC236}">
                <a16:creationId xmlns:a16="http://schemas.microsoft.com/office/drawing/2014/main" id="{0596E707-B512-2142-BEA7-D9C9F5E056B9}"/>
              </a:ext>
            </a:extLst>
          </p:cNvPr>
          <p:cNvSpPr>
            <a:spLocks/>
          </p:cNvSpPr>
          <p:nvPr/>
        </p:nvSpPr>
        <p:spPr>
          <a:xfrm>
            <a:off x="2142949" y="3901881"/>
            <a:ext cx="2232000" cy="122429"/>
          </a:xfrm>
          <a:prstGeom prst="rect">
            <a:avLst/>
          </a:prstGeom>
          <a:solidFill>
            <a:srgbClr val="FF60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defRPr/>
            </a:pPr>
            <a:r>
              <a:rPr lang="az-Latn-AZ" sz="900" b="1" dirty="0">
                <a:solidFill>
                  <a:schemeClr val="bg1"/>
                </a:solidFill>
                <a:latin typeface="Arial"/>
              </a:rPr>
              <a:t>100</a:t>
            </a:r>
            <a:r>
              <a:rPr lang="en-US" sz="900" b="1" dirty="0">
                <a:solidFill>
                  <a:schemeClr val="bg1"/>
                </a:solidFill>
                <a:latin typeface="Arial"/>
              </a:rPr>
              <a:t>%</a:t>
            </a:r>
          </a:p>
        </p:txBody>
      </p:sp>
      <p:cxnSp>
        <p:nvCxnSpPr>
          <p:cNvPr id="173" name="Straight Connector 77">
            <a:extLst>
              <a:ext uri="{FF2B5EF4-FFF2-40B4-BE49-F238E27FC236}">
                <a16:creationId xmlns:a16="http://schemas.microsoft.com/office/drawing/2014/main" id="{E85C9EE5-8DBF-BC40-86CE-1BAAB13EA5B5}"/>
              </a:ext>
            </a:extLst>
          </p:cNvPr>
          <p:cNvCxnSpPr>
            <a:cxnSpLocks/>
          </p:cNvCxnSpPr>
          <p:nvPr/>
        </p:nvCxnSpPr>
        <p:spPr>
          <a:xfrm>
            <a:off x="1660816" y="2282607"/>
            <a:ext cx="0" cy="23515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27" name="Rectangle 203">
            <a:extLst>
              <a:ext uri="{FF2B5EF4-FFF2-40B4-BE49-F238E27FC236}">
                <a16:creationId xmlns:a16="http://schemas.microsoft.com/office/drawing/2014/main" id="{EBE201A9-3480-884F-B005-59A13FADBD4C}"/>
              </a:ext>
            </a:extLst>
          </p:cNvPr>
          <p:cNvSpPr>
            <a:spLocks noChangeArrowheads="1"/>
          </p:cNvSpPr>
          <p:nvPr/>
        </p:nvSpPr>
        <p:spPr bwMode="auto">
          <a:xfrm>
            <a:off x="4289373" y="4736443"/>
            <a:ext cx="3758541" cy="1666751"/>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endParaRPr lang="en-US" sz="1100" dirty="0">
              <a:latin typeface="Arial" panose="020B0604020202020204" pitchFamily="34" charset="0"/>
              <a:cs typeface="Arial" panose="020B0604020202020204" pitchFamily="34" charset="0"/>
            </a:endParaRPr>
          </a:p>
        </p:txBody>
      </p:sp>
      <p:sp>
        <p:nvSpPr>
          <p:cNvPr id="328" name="Rectangle 112">
            <a:extLst>
              <a:ext uri="{FF2B5EF4-FFF2-40B4-BE49-F238E27FC236}">
                <a16:creationId xmlns:a16="http://schemas.microsoft.com/office/drawing/2014/main" id="{E45E197D-2C55-D642-842D-C0479E1329C2}"/>
              </a:ext>
            </a:extLst>
          </p:cNvPr>
          <p:cNvSpPr>
            <a:spLocks noChangeArrowheads="1"/>
          </p:cNvSpPr>
          <p:nvPr/>
        </p:nvSpPr>
        <p:spPr bwMode="auto">
          <a:xfrm>
            <a:off x="4289373" y="4736443"/>
            <a:ext cx="3758541"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Key Decisions</a:t>
            </a:r>
          </a:p>
        </p:txBody>
      </p:sp>
      <p:sp>
        <p:nvSpPr>
          <p:cNvPr id="333" name="Прямоугольник 332">
            <a:extLst>
              <a:ext uri="{FF2B5EF4-FFF2-40B4-BE49-F238E27FC236}">
                <a16:creationId xmlns:a16="http://schemas.microsoft.com/office/drawing/2014/main" id="{50650021-40A7-5542-A89B-EEE0D5978170}"/>
              </a:ext>
            </a:extLst>
          </p:cNvPr>
          <p:cNvSpPr/>
          <p:nvPr/>
        </p:nvSpPr>
        <p:spPr>
          <a:xfrm>
            <a:off x="10988992" y="87415"/>
            <a:ext cx="938077" cy="217880"/>
          </a:xfrm>
          <a:prstGeom prst="rect">
            <a:avLst/>
          </a:prstGeom>
        </p:spPr>
        <p:txBody>
          <a:bodyPr wrap="none">
            <a:spAutoFit/>
          </a:bodyPr>
          <a:lstStyle/>
          <a:p>
            <a:pPr lvl="0" defTabSz="932958" fontAlgn="base">
              <a:spcBef>
                <a:spcPct val="0"/>
              </a:spcBef>
              <a:spcAft>
                <a:spcPct val="0"/>
              </a:spcAft>
              <a:defRPr/>
            </a:pPr>
            <a:r>
              <a:rPr lang="en-US" sz="816" cap="all" dirty="0">
                <a:solidFill>
                  <a:srgbClr val="808080"/>
                </a:solidFill>
                <a:latin typeface="Arial"/>
              </a:rPr>
              <a:t>22 - Oct - 2020</a:t>
            </a:r>
          </a:p>
        </p:txBody>
      </p:sp>
      <p:sp>
        <p:nvSpPr>
          <p:cNvPr id="334" name="Rectangle 203">
            <a:extLst>
              <a:ext uri="{FF2B5EF4-FFF2-40B4-BE49-F238E27FC236}">
                <a16:creationId xmlns:a16="http://schemas.microsoft.com/office/drawing/2014/main" id="{530C32BE-1BEC-2F42-95CE-596F605CCD47}"/>
              </a:ext>
            </a:extLst>
          </p:cNvPr>
          <p:cNvSpPr>
            <a:spLocks noChangeArrowheads="1"/>
          </p:cNvSpPr>
          <p:nvPr/>
        </p:nvSpPr>
        <p:spPr bwMode="auto">
          <a:xfrm>
            <a:off x="2315897" y="4745507"/>
            <a:ext cx="1791689" cy="1649560"/>
          </a:xfrm>
          <a:prstGeom prst="rect">
            <a:avLst/>
          </a:prstGeom>
          <a:solidFill>
            <a:srgbClr val="FFFFFF">
              <a:lumMod val="95000"/>
            </a:srgbClr>
          </a:solidFill>
          <a:ln w="19050" cap="flat" cmpd="sng" algn="ctr">
            <a:noFill/>
            <a:prstDash val="solid"/>
          </a:ln>
          <a:effectLst/>
        </p:spPr>
        <p:txBody>
          <a:bodyPr lIns="93271" tIns="46635" rIns="93271" bIns="46635" rtlCol="0" anchor="ctr"/>
          <a:lstStyle/>
          <a:p>
            <a:pPr algn="ctr" fontAlgn="base">
              <a:spcBef>
                <a:spcPct val="0"/>
              </a:spcBef>
              <a:spcAft>
                <a:spcPct val="0"/>
              </a:spcAft>
              <a:defRPr/>
            </a:pPr>
            <a:endParaRPr lang="en-US" sz="1200" dirty="0">
              <a:solidFill>
                <a:schemeClr val="tx1">
                  <a:lumMod val="65000"/>
                  <a:lumOff val="35000"/>
                </a:schemeClr>
              </a:solidFill>
              <a:latin typeface="Calibri Light"/>
              <a:ea typeface="Times New Roman"/>
              <a:cs typeface="Times New Roman"/>
            </a:endParaRPr>
          </a:p>
        </p:txBody>
      </p:sp>
      <p:sp>
        <p:nvSpPr>
          <p:cNvPr id="335" name="Rectangle 112">
            <a:extLst>
              <a:ext uri="{FF2B5EF4-FFF2-40B4-BE49-F238E27FC236}">
                <a16:creationId xmlns:a16="http://schemas.microsoft.com/office/drawing/2014/main" id="{9C35DC58-56DB-B845-AC9C-5CD3596D14D0}"/>
              </a:ext>
            </a:extLst>
          </p:cNvPr>
          <p:cNvSpPr>
            <a:spLocks noChangeArrowheads="1"/>
          </p:cNvSpPr>
          <p:nvPr/>
        </p:nvSpPr>
        <p:spPr bwMode="auto">
          <a:xfrm>
            <a:off x="2315897" y="4745506"/>
            <a:ext cx="1791689"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Observations</a:t>
            </a:r>
          </a:p>
        </p:txBody>
      </p:sp>
      <p:sp>
        <p:nvSpPr>
          <p:cNvPr id="179" name="Freeform 103">
            <a:extLst>
              <a:ext uri="{FF2B5EF4-FFF2-40B4-BE49-F238E27FC236}">
                <a16:creationId xmlns:a16="http://schemas.microsoft.com/office/drawing/2014/main" id="{4267BFD9-590F-2445-94CF-169902A06CE8}"/>
              </a:ext>
            </a:extLst>
          </p:cNvPr>
          <p:cNvSpPr>
            <a:spLocks/>
          </p:cNvSpPr>
          <p:nvPr>
            <p:custDataLst>
              <p:tags r:id="rId2"/>
            </p:custDataLst>
          </p:nvPr>
        </p:nvSpPr>
        <p:spPr bwMode="gray">
          <a:xfrm>
            <a:off x="11627262" y="439202"/>
            <a:ext cx="110367" cy="114978"/>
          </a:xfrm>
          <a:custGeom>
            <a:avLst/>
            <a:gdLst>
              <a:gd name="T0" fmla="*/ 0 w 270"/>
              <a:gd name="T1" fmla="*/ 135 h 271"/>
              <a:gd name="T2" fmla="*/ 3 w 270"/>
              <a:gd name="T3" fmla="*/ 108 h 271"/>
              <a:gd name="T4" fmla="*/ 11 w 270"/>
              <a:gd name="T5" fmla="*/ 82 h 271"/>
              <a:gd name="T6" fmla="*/ 24 w 270"/>
              <a:gd name="T7" fmla="*/ 60 h 271"/>
              <a:gd name="T8" fmla="*/ 40 w 270"/>
              <a:gd name="T9" fmla="*/ 40 h 271"/>
              <a:gd name="T10" fmla="*/ 59 w 270"/>
              <a:gd name="T11" fmla="*/ 24 h 271"/>
              <a:gd name="T12" fmla="*/ 82 w 270"/>
              <a:gd name="T13" fmla="*/ 11 h 271"/>
              <a:gd name="T14" fmla="*/ 108 w 270"/>
              <a:gd name="T15" fmla="*/ 3 h 271"/>
              <a:gd name="T16" fmla="*/ 135 w 270"/>
              <a:gd name="T17" fmla="*/ 0 h 271"/>
              <a:gd name="T18" fmla="*/ 162 w 270"/>
              <a:gd name="T19" fmla="*/ 3 h 271"/>
              <a:gd name="T20" fmla="*/ 188 w 270"/>
              <a:gd name="T21" fmla="*/ 11 h 271"/>
              <a:gd name="T22" fmla="*/ 211 w 270"/>
              <a:gd name="T23" fmla="*/ 24 h 271"/>
              <a:gd name="T24" fmla="*/ 231 w 270"/>
              <a:gd name="T25" fmla="*/ 40 h 271"/>
              <a:gd name="T26" fmla="*/ 247 w 270"/>
              <a:gd name="T27" fmla="*/ 60 h 271"/>
              <a:gd name="T28" fmla="*/ 259 w 270"/>
              <a:gd name="T29" fmla="*/ 82 h 271"/>
              <a:gd name="T30" fmla="*/ 268 w 270"/>
              <a:gd name="T31" fmla="*/ 108 h 271"/>
              <a:gd name="T32" fmla="*/ 270 w 270"/>
              <a:gd name="T33" fmla="*/ 135 h 271"/>
              <a:gd name="T34" fmla="*/ 268 w 270"/>
              <a:gd name="T35" fmla="*/ 162 h 271"/>
              <a:gd name="T36" fmla="*/ 259 w 270"/>
              <a:gd name="T37" fmla="*/ 188 h 271"/>
              <a:gd name="T38" fmla="*/ 247 w 270"/>
              <a:gd name="T39" fmla="*/ 211 h 271"/>
              <a:gd name="T40" fmla="*/ 231 w 270"/>
              <a:gd name="T41" fmla="*/ 231 h 271"/>
              <a:gd name="T42" fmla="*/ 211 w 270"/>
              <a:gd name="T43" fmla="*/ 247 h 271"/>
              <a:gd name="T44" fmla="*/ 188 w 270"/>
              <a:gd name="T45" fmla="*/ 260 h 271"/>
              <a:gd name="T46" fmla="*/ 162 w 270"/>
              <a:gd name="T47" fmla="*/ 269 h 271"/>
              <a:gd name="T48" fmla="*/ 135 w 270"/>
              <a:gd name="T49" fmla="*/ 271 h 271"/>
              <a:gd name="T50" fmla="*/ 108 w 270"/>
              <a:gd name="T51" fmla="*/ 269 h 271"/>
              <a:gd name="T52" fmla="*/ 82 w 270"/>
              <a:gd name="T53" fmla="*/ 260 h 271"/>
              <a:gd name="T54" fmla="*/ 59 w 270"/>
              <a:gd name="T55" fmla="*/ 247 h 271"/>
              <a:gd name="T56" fmla="*/ 40 w 270"/>
              <a:gd name="T57" fmla="*/ 231 h 271"/>
              <a:gd name="T58" fmla="*/ 24 w 270"/>
              <a:gd name="T59" fmla="*/ 211 h 271"/>
              <a:gd name="T60" fmla="*/ 11 w 270"/>
              <a:gd name="T61" fmla="*/ 188 h 271"/>
              <a:gd name="T62" fmla="*/ 3 w 270"/>
              <a:gd name="T63" fmla="*/ 162 h 271"/>
              <a:gd name="T64" fmla="*/ 0 w 270"/>
              <a:gd name="T65"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271">
                <a:moveTo>
                  <a:pt x="0" y="135"/>
                </a:moveTo>
                <a:lnTo>
                  <a:pt x="3" y="108"/>
                </a:lnTo>
                <a:lnTo>
                  <a:pt x="11" y="82"/>
                </a:lnTo>
                <a:lnTo>
                  <a:pt x="24" y="60"/>
                </a:lnTo>
                <a:lnTo>
                  <a:pt x="40" y="40"/>
                </a:lnTo>
                <a:lnTo>
                  <a:pt x="59" y="24"/>
                </a:lnTo>
                <a:lnTo>
                  <a:pt x="82" y="11"/>
                </a:lnTo>
                <a:lnTo>
                  <a:pt x="108" y="3"/>
                </a:lnTo>
                <a:lnTo>
                  <a:pt x="135" y="0"/>
                </a:lnTo>
                <a:lnTo>
                  <a:pt x="162" y="3"/>
                </a:lnTo>
                <a:lnTo>
                  <a:pt x="188" y="11"/>
                </a:lnTo>
                <a:lnTo>
                  <a:pt x="211" y="24"/>
                </a:lnTo>
                <a:lnTo>
                  <a:pt x="231" y="40"/>
                </a:lnTo>
                <a:lnTo>
                  <a:pt x="247" y="60"/>
                </a:lnTo>
                <a:lnTo>
                  <a:pt x="259" y="82"/>
                </a:lnTo>
                <a:lnTo>
                  <a:pt x="268" y="108"/>
                </a:lnTo>
                <a:lnTo>
                  <a:pt x="270" y="135"/>
                </a:lnTo>
                <a:lnTo>
                  <a:pt x="268" y="162"/>
                </a:lnTo>
                <a:lnTo>
                  <a:pt x="259" y="188"/>
                </a:lnTo>
                <a:lnTo>
                  <a:pt x="247" y="211"/>
                </a:lnTo>
                <a:lnTo>
                  <a:pt x="231" y="231"/>
                </a:lnTo>
                <a:lnTo>
                  <a:pt x="211" y="247"/>
                </a:lnTo>
                <a:lnTo>
                  <a:pt x="188" y="260"/>
                </a:lnTo>
                <a:lnTo>
                  <a:pt x="162" y="269"/>
                </a:lnTo>
                <a:lnTo>
                  <a:pt x="135" y="271"/>
                </a:lnTo>
                <a:lnTo>
                  <a:pt x="108" y="269"/>
                </a:lnTo>
                <a:lnTo>
                  <a:pt x="82" y="260"/>
                </a:lnTo>
                <a:lnTo>
                  <a:pt x="59" y="247"/>
                </a:lnTo>
                <a:lnTo>
                  <a:pt x="40" y="231"/>
                </a:lnTo>
                <a:lnTo>
                  <a:pt x="24" y="211"/>
                </a:lnTo>
                <a:lnTo>
                  <a:pt x="11" y="188"/>
                </a:lnTo>
                <a:lnTo>
                  <a:pt x="3" y="162"/>
                </a:lnTo>
                <a:lnTo>
                  <a:pt x="0" y="135"/>
                </a:lnTo>
                <a:close/>
              </a:path>
            </a:pathLst>
          </a:custGeom>
          <a:solidFill>
            <a:srgbClr val="C00000"/>
          </a:solidFill>
          <a:ln>
            <a:noFill/>
          </a:ln>
        </p:spPr>
        <p:txBody>
          <a:bodyPr/>
          <a:lstStyle/>
          <a:p>
            <a:pPr defTabSz="932958">
              <a:defRPr/>
            </a:pPr>
            <a:endParaRPr lang="en-US" sz="714" dirty="0">
              <a:solidFill>
                <a:srgbClr val="000000"/>
              </a:solidFill>
              <a:latin typeface="Arial" panose="020B0604020202020204" pitchFamily="34" charset="0"/>
              <a:cs typeface="Arial" panose="020B0604020202020204" pitchFamily="34" charset="0"/>
            </a:endParaRPr>
          </a:p>
        </p:txBody>
      </p:sp>
      <p:sp>
        <p:nvSpPr>
          <p:cNvPr id="165" name="Rectangle 203">
            <a:extLst>
              <a:ext uri="{FF2B5EF4-FFF2-40B4-BE49-F238E27FC236}">
                <a16:creationId xmlns:a16="http://schemas.microsoft.com/office/drawing/2014/main" id="{5F8476C6-314E-374D-9ECE-AF6EAFF374D6}"/>
              </a:ext>
            </a:extLst>
          </p:cNvPr>
          <p:cNvSpPr>
            <a:spLocks noChangeArrowheads="1"/>
          </p:cNvSpPr>
          <p:nvPr/>
        </p:nvSpPr>
        <p:spPr bwMode="auto">
          <a:xfrm>
            <a:off x="8437654" y="2202525"/>
            <a:ext cx="3373179" cy="4200669"/>
          </a:xfrm>
          <a:prstGeom prst="rect">
            <a:avLst/>
          </a:prstGeom>
          <a:solidFill>
            <a:srgbClr val="FFFFFF">
              <a:lumMod val="95000"/>
            </a:srgbClr>
          </a:solidFill>
          <a:ln w="19050" cap="flat" cmpd="sng" algn="ctr">
            <a:noFill/>
            <a:prstDash val="solid"/>
          </a:ln>
          <a:effectLst/>
        </p:spPr>
        <p:txBody>
          <a:bodyPr lIns="93271" tIns="46635" rIns="93271" bIns="46635" numCol="1" rtlCol="0" anchor="t"/>
          <a:lstStyle/>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Embargo system has been integrated to SWIFT system. After automation internal processes, AZIPS will also be integrated to Embargo module.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Taking to account that systems have been successfully deployed, PM cannot close the project due to absence of FUI reports. Development of the reports should be done by internal IT resources, priority is necessary for pushing this topic forward</a:t>
            </a:r>
            <a:endParaRPr lang="en-US" sz="1100" kern="0" dirty="0">
              <a:solidFill>
                <a:srgbClr val="000000"/>
              </a:solidFill>
              <a:latin typeface="Arial"/>
              <a:cs typeface="Arial" panose="020B0604020202020204" pitchFamily="34" charset="0"/>
              <a:sym typeface="+mn-lt"/>
            </a:endParaRPr>
          </a:p>
          <a:p>
            <a:pPr marL="171450" indent="-171450">
              <a:buFont typeface="Arial" panose="020B0604020202020204" pitchFamily="34" charset="0"/>
              <a:buChar char="•"/>
            </a:pPr>
            <a:r>
              <a:rPr lang="az-Latn-AZ" sz="1100" dirty="0">
                <a:latin typeface="Arial" panose="020B0604020202020204" pitchFamily="34" charset="0"/>
                <a:cs typeface="Arial" panose="020B0604020202020204" pitchFamily="34" charset="0"/>
              </a:rPr>
              <a:t>MMX reports </a:t>
            </a:r>
            <a:r>
              <a:rPr lang="en-US" sz="1100" dirty="0">
                <a:latin typeface="Arial" panose="020B0604020202020204" pitchFamily="34" charset="0"/>
                <a:cs typeface="Arial" panose="020B0604020202020204" pitchFamily="34" charset="0"/>
              </a:rPr>
              <a:t>will be implemented with the help of Unibank IT Resources. </a:t>
            </a:r>
            <a:r>
              <a:rPr lang="az-Latn-AZ"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This task has not yet been prioritized. </a:t>
            </a:r>
          </a:p>
          <a:p>
            <a:endParaRPr lang="en-US" sz="1100" dirty="0">
              <a:latin typeface="Arial" panose="020B0604020202020204" pitchFamily="34" charset="0"/>
              <a:cs typeface="Arial" panose="020B0604020202020204" pitchFamily="34" charset="0"/>
            </a:endParaRPr>
          </a:p>
        </p:txBody>
      </p:sp>
      <p:sp>
        <p:nvSpPr>
          <p:cNvPr id="166" name="Rectangle 112">
            <a:extLst>
              <a:ext uri="{FF2B5EF4-FFF2-40B4-BE49-F238E27FC236}">
                <a16:creationId xmlns:a16="http://schemas.microsoft.com/office/drawing/2014/main" id="{0155BB56-B962-374D-BBE1-3D1BBED7AB4D}"/>
              </a:ext>
            </a:extLst>
          </p:cNvPr>
          <p:cNvSpPr>
            <a:spLocks noChangeArrowheads="1"/>
          </p:cNvSpPr>
          <p:nvPr/>
        </p:nvSpPr>
        <p:spPr bwMode="auto">
          <a:xfrm>
            <a:off x="8434706" y="1934022"/>
            <a:ext cx="3376127" cy="366610"/>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Notes</a:t>
            </a:r>
          </a:p>
        </p:txBody>
      </p:sp>
      <p:cxnSp>
        <p:nvCxnSpPr>
          <p:cNvPr id="188" name="Straight Connector 21">
            <a:extLst>
              <a:ext uri="{FF2B5EF4-FFF2-40B4-BE49-F238E27FC236}">
                <a16:creationId xmlns:a16="http://schemas.microsoft.com/office/drawing/2014/main" id="{DD67C0CC-EC72-4E4F-99C3-7378A1D8E045}"/>
              </a:ext>
            </a:extLst>
          </p:cNvPr>
          <p:cNvCxnSpPr>
            <a:cxnSpLocks/>
          </p:cNvCxnSpPr>
          <p:nvPr/>
        </p:nvCxnSpPr>
        <p:spPr>
          <a:xfrm flipH="1">
            <a:off x="195751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9" name="Straight Connector 24">
            <a:extLst>
              <a:ext uri="{FF2B5EF4-FFF2-40B4-BE49-F238E27FC236}">
                <a16:creationId xmlns:a16="http://schemas.microsoft.com/office/drawing/2014/main" id="{51BEF95C-CD90-0D40-BCEF-65D74D5EFB90}"/>
              </a:ext>
            </a:extLst>
          </p:cNvPr>
          <p:cNvCxnSpPr>
            <a:cxnSpLocks/>
          </p:cNvCxnSpPr>
          <p:nvPr/>
        </p:nvCxnSpPr>
        <p:spPr>
          <a:xfrm flipH="1">
            <a:off x="222737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0" name="Straight Connector 27">
            <a:extLst>
              <a:ext uri="{FF2B5EF4-FFF2-40B4-BE49-F238E27FC236}">
                <a16:creationId xmlns:a16="http://schemas.microsoft.com/office/drawing/2014/main" id="{046CD086-1DB2-D340-93A7-ACFB2B37AADF}"/>
              </a:ext>
            </a:extLst>
          </p:cNvPr>
          <p:cNvCxnSpPr>
            <a:cxnSpLocks/>
          </p:cNvCxnSpPr>
          <p:nvPr/>
        </p:nvCxnSpPr>
        <p:spPr>
          <a:xfrm flipH="1">
            <a:off x="249724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1" name="Straight Connector 30">
            <a:extLst>
              <a:ext uri="{FF2B5EF4-FFF2-40B4-BE49-F238E27FC236}">
                <a16:creationId xmlns:a16="http://schemas.microsoft.com/office/drawing/2014/main" id="{B73D408D-75C5-5043-8DBC-DA61FB7D2024}"/>
              </a:ext>
            </a:extLst>
          </p:cNvPr>
          <p:cNvCxnSpPr>
            <a:cxnSpLocks/>
          </p:cNvCxnSpPr>
          <p:nvPr/>
        </p:nvCxnSpPr>
        <p:spPr>
          <a:xfrm flipH="1">
            <a:off x="276710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2" name="Straight Connector 18">
            <a:extLst>
              <a:ext uri="{FF2B5EF4-FFF2-40B4-BE49-F238E27FC236}">
                <a16:creationId xmlns:a16="http://schemas.microsoft.com/office/drawing/2014/main" id="{BF6E1AB6-0B1B-2642-875F-63B6DE66D04D}"/>
              </a:ext>
            </a:extLst>
          </p:cNvPr>
          <p:cNvCxnSpPr>
            <a:cxnSpLocks/>
          </p:cNvCxnSpPr>
          <p:nvPr/>
        </p:nvCxnSpPr>
        <p:spPr>
          <a:xfrm flipH="1">
            <a:off x="168764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3" name="Straight Connector 33">
            <a:extLst>
              <a:ext uri="{FF2B5EF4-FFF2-40B4-BE49-F238E27FC236}">
                <a16:creationId xmlns:a16="http://schemas.microsoft.com/office/drawing/2014/main" id="{ECD4E9C9-571F-2744-9369-DBA40C67AB29}"/>
              </a:ext>
            </a:extLst>
          </p:cNvPr>
          <p:cNvCxnSpPr>
            <a:cxnSpLocks/>
          </p:cNvCxnSpPr>
          <p:nvPr/>
        </p:nvCxnSpPr>
        <p:spPr>
          <a:xfrm flipH="1">
            <a:off x="3036970"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27" name="Rectangle 116">
            <a:extLst>
              <a:ext uri="{FF2B5EF4-FFF2-40B4-BE49-F238E27FC236}">
                <a16:creationId xmlns:a16="http://schemas.microsoft.com/office/drawing/2014/main" id="{689D42A8-4FB7-8241-A370-F7C744E30520}"/>
              </a:ext>
            </a:extLst>
          </p:cNvPr>
          <p:cNvSpPr>
            <a:spLocks noChangeArrowheads="1"/>
          </p:cNvSpPr>
          <p:nvPr/>
        </p:nvSpPr>
        <p:spPr bwMode="auto">
          <a:xfrm>
            <a:off x="11218149" y="1038968"/>
            <a:ext cx="602375" cy="491298"/>
          </a:xfrm>
          <a:prstGeom prst="rect">
            <a:avLst/>
          </a:prstGeom>
          <a:solidFill>
            <a:srgbClr val="FFFFFF">
              <a:lumMod val="95000"/>
            </a:srgbClr>
          </a:solidFill>
          <a:ln w="19050" cap="rnd">
            <a:noFill/>
            <a:miter lim="800000"/>
            <a:headEnd/>
            <a:tailEnd/>
          </a:ln>
          <a:effectLst/>
        </p:spPr>
        <p:txBody>
          <a:bodyPr lIns="85286" tIns="42642" rIns="85286" bIns="42642" anchor="ctr" anchorCtr="0">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lang="en-US" sz="1300" kern="0" dirty="0">
                <a:solidFill>
                  <a:srgbClr val="000000"/>
                </a:solidFill>
                <a:latin typeface="Arial"/>
                <a:sym typeface="+mn-lt"/>
              </a:rPr>
              <a:t>70%</a:t>
            </a:r>
            <a:endParaRPr kumimoji="0" lang="en-US" sz="1300" b="0" i="0" u="none" strike="noStrike" kern="0" cap="none" spc="0" normalizeH="0" baseline="0" noProof="0" dirty="0">
              <a:ln>
                <a:noFill/>
              </a:ln>
              <a:solidFill>
                <a:srgbClr val="000000"/>
              </a:solidFill>
              <a:effectLst/>
              <a:uLnTx/>
              <a:uFillTx/>
              <a:latin typeface="Arial"/>
              <a:sym typeface="+mn-lt"/>
            </a:endParaRPr>
          </a:p>
        </p:txBody>
      </p:sp>
      <p:sp>
        <p:nvSpPr>
          <p:cNvPr id="128" name="Rectangle 116">
            <a:extLst>
              <a:ext uri="{FF2B5EF4-FFF2-40B4-BE49-F238E27FC236}">
                <a16:creationId xmlns:a16="http://schemas.microsoft.com/office/drawing/2014/main" id="{F699BDB7-6D32-5D44-A244-8139F718B470}"/>
              </a:ext>
            </a:extLst>
          </p:cNvPr>
          <p:cNvSpPr>
            <a:spLocks noChangeArrowheads="1"/>
          </p:cNvSpPr>
          <p:nvPr/>
        </p:nvSpPr>
        <p:spPr bwMode="auto">
          <a:xfrm>
            <a:off x="10039783" y="1032401"/>
            <a:ext cx="1176095" cy="491298"/>
          </a:xfrm>
          <a:prstGeom prst="rect">
            <a:avLst/>
          </a:prstGeom>
          <a:solidFill>
            <a:srgbClr val="FF6011"/>
          </a:solidFill>
          <a:ln w="19050" cap="rnd">
            <a:noFill/>
            <a:miter lim="800000"/>
            <a:headEnd/>
            <a:tailEnd/>
          </a:ln>
        </p:spPr>
        <p:txBody>
          <a:bodyPr lIns="85286" tIns="42642" rIns="85286" bIns="42642" anchor="ctr" anchorCtr="0">
            <a:noAutofit/>
          </a:bodyPr>
          <a:lstStyle/>
          <a:p>
            <a:pPr fontAlgn="base">
              <a:spcBef>
                <a:spcPct val="0"/>
              </a:spcBef>
              <a:spcAft>
                <a:spcPct val="0"/>
              </a:spcAft>
              <a:buClr>
                <a:srgbClr val="FFFFFF"/>
              </a:buClr>
            </a:pPr>
            <a:r>
              <a:rPr lang="en-US" sz="1300" b="1" dirty="0">
                <a:solidFill>
                  <a:srgbClr val="FFFFFF"/>
                </a:solidFill>
                <a:latin typeface="Arial"/>
                <a:sym typeface="+mn-lt"/>
              </a:rPr>
              <a:t>Completion Rate</a:t>
            </a:r>
          </a:p>
        </p:txBody>
      </p:sp>
      <p:cxnSp>
        <p:nvCxnSpPr>
          <p:cNvPr id="129" name="Straight Connector 91">
            <a:extLst>
              <a:ext uri="{FF2B5EF4-FFF2-40B4-BE49-F238E27FC236}">
                <a16:creationId xmlns:a16="http://schemas.microsoft.com/office/drawing/2014/main" id="{CB89638B-F0E0-A44D-911C-75B1AE3AA2D8}"/>
              </a:ext>
            </a:extLst>
          </p:cNvPr>
          <p:cNvCxnSpPr/>
          <p:nvPr/>
        </p:nvCxnSpPr>
        <p:spPr>
          <a:xfrm>
            <a:off x="7124937"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92">
            <a:extLst>
              <a:ext uri="{FF2B5EF4-FFF2-40B4-BE49-F238E27FC236}">
                <a16:creationId xmlns:a16="http://schemas.microsoft.com/office/drawing/2014/main" id="{DF97211A-1444-CF4E-9842-4995B1CA64F4}"/>
              </a:ext>
            </a:extLst>
          </p:cNvPr>
          <p:cNvCxnSpPr/>
          <p:nvPr/>
        </p:nvCxnSpPr>
        <p:spPr>
          <a:xfrm>
            <a:off x="7394802"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93">
            <a:extLst>
              <a:ext uri="{FF2B5EF4-FFF2-40B4-BE49-F238E27FC236}">
                <a16:creationId xmlns:a16="http://schemas.microsoft.com/office/drawing/2014/main" id="{AE9699F6-4D10-0543-BDD8-3EFEB7A1800A}"/>
              </a:ext>
            </a:extLst>
          </p:cNvPr>
          <p:cNvCxnSpPr/>
          <p:nvPr/>
        </p:nvCxnSpPr>
        <p:spPr>
          <a:xfrm>
            <a:off x="7637836" y="2282607"/>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94">
            <a:extLst>
              <a:ext uri="{FF2B5EF4-FFF2-40B4-BE49-F238E27FC236}">
                <a16:creationId xmlns:a16="http://schemas.microsoft.com/office/drawing/2014/main" id="{66248351-4915-F64F-9E80-8F52A052E588}"/>
              </a:ext>
            </a:extLst>
          </p:cNvPr>
          <p:cNvCxnSpPr/>
          <p:nvPr/>
        </p:nvCxnSpPr>
        <p:spPr>
          <a:xfrm>
            <a:off x="7934531"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95">
            <a:extLst>
              <a:ext uri="{FF2B5EF4-FFF2-40B4-BE49-F238E27FC236}">
                <a16:creationId xmlns:a16="http://schemas.microsoft.com/office/drawing/2014/main" id="{D330A917-7DD7-EF44-B5F9-89E741F94D77}"/>
              </a:ext>
            </a:extLst>
          </p:cNvPr>
          <p:cNvCxnSpPr/>
          <p:nvPr/>
        </p:nvCxnSpPr>
        <p:spPr>
          <a:xfrm>
            <a:off x="8204395" y="2288474"/>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4" name="Straight Connector 90">
            <a:extLst>
              <a:ext uri="{FF2B5EF4-FFF2-40B4-BE49-F238E27FC236}">
                <a16:creationId xmlns:a16="http://schemas.microsoft.com/office/drawing/2014/main" id="{780BB587-5770-AD48-A039-20D94FE18716}"/>
              </a:ext>
            </a:extLst>
          </p:cNvPr>
          <p:cNvCxnSpPr/>
          <p:nvPr/>
        </p:nvCxnSpPr>
        <p:spPr>
          <a:xfrm>
            <a:off x="6816852" y="2284965"/>
            <a:ext cx="0" cy="23508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5" name="Group 2">
            <a:extLst>
              <a:ext uri="{FF2B5EF4-FFF2-40B4-BE49-F238E27FC236}">
                <a16:creationId xmlns:a16="http://schemas.microsoft.com/office/drawing/2014/main" id="{4565CC50-0E8F-2B49-8C13-E1FD01D0A50B}"/>
              </a:ext>
            </a:extLst>
          </p:cNvPr>
          <p:cNvGrpSpPr/>
          <p:nvPr/>
        </p:nvGrpSpPr>
        <p:grpSpPr>
          <a:xfrm>
            <a:off x="1660816" y="1787798"/>
            <a:ext cx="6557953" cy="476986"/>
            <a:chOff x="1660816" y="1787798"/>
            <a:chExt cx="6557953" cy="476986"/>
          </a:xfrm>
        </p:grpSpPr>
        <p:sp>
          <p:nvSpPr>
            <p:cNvPr id="136" name="Rectangle 10">
              <a:extLst>
                <a:ext uri="{FF2B5EF4-FFF2-40B4-BE49-F238E27FC236}">
                  <a16:creationId xmlns:a16="http://schemas.microsoft.com/office/drawing/2014/main" id="{44952498-86D0-7A4F-98FE-4E002F7D25F1}"/>
                </a:ext>
              </a:extLst>
            </p:cNvPr>
            <p:cNvSpPr txBox="1">
              <a:spLocks/>
            </p:cNvSpPr>
            <p:nvPr/>
          </p:nvSpPr>
          <p:spPr>
            <a:xfrm>
              <a:off x="6881903"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137" name="Straight Connector 57">
              <a:extLst>
                <a:ext uri="{FF2B5EF4-FFF2-40B4-BE49-F238E27FC236}">
                  <a16:creationId xmlns:a16="http://schemas.microsoft.com/office/drawing/2014/main" id="{83E2A72C-7BEE-DA4C-8D85-732CD5464622}"/>
                </a:ext>
              </a:extLst>
            </p:cNvPr>
            <p:cNvCxnSpPr>
              <a:cxnSpLocks/>
            </p:cNvCxnSpPr>
            <p:nvPr/>
          </p:nvCxnSpPr>
          <p:spPr>
            <a:xfrm flipH="1">
              <a:off x="6881903"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38" name="Rectangle 10">
              <a:extLst>
                <a:ext uri="{FF2B5EF4-FFF2-40B4-BE49-F238E27FC236}">
                  <a16:creationId xmlns:a16="http://schemas.microsoft.com/office/drawing/2014/main" id="{80D66AE6-F68F-9740-BB2A-51817EAC12DF}"/>
                </a:ext>
              </a:extLst>
            </p:cNvPr>
            <p:cNvSpPr txBox="1">
              <a:spLocks/>
            </p:cNvSpPr>
            <p:nvPr/>
          </p:nvSpPr>
          <p:spPr>
            <a:xfrm>
              <a:off x="7151768"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139" name="Straight Connector 60">
              <a:extLst>
                <a:ext uri="{FF2B5EF4-FFF2-40B4-BE49-F238E27FC236}">
                  <a16:creationId xmlns:a16="http://schemas.microsoft.com/office/drawing/2014/main" id="{EA37B492-B5F6-E04D-8128-0ECF1FFC67BE}"/>
                </a:ext>
              </a:extLst>
            </p:cNvPr>
            <p:cNvCxnSpPr>
              <a:cxnSpLocks/>
            </p:cNvCxnSpPr>
            <p:nvPr/>
          </p:nvCxnSpPr>
          <p:spPr>
            <a:xfrm flipH="1">
              <a:off x="7151768"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0" name="Rectangle 10">
              <a:extLst>
                <a:ext uri="{FF2B5EF4-FFF2-40B4-BE49-F238E27FC236}">
                  <a16:creationId xmlns:a16="http://schemas.microsoft.com/office/drawing/2014/main" id="{C24DC1DD-D73C-DD4E-9A0B-924707A31AF1}"/>
                </a:ext>
              </a:extLst>
            </p:cNvPr>
            <p:cNvSpPr txBox="1">
              <a:spLocks/>
            </p:cNvSpPr>
            <p:nvPr/>
          </p:nvSpPr>
          <p:spPr>
            <a:xfrm>
              <a:off x="7421632"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141" name="Straight Connector 63">
              <a:extLst>
                <a:ext uri="{FF2B5EF4-FFF2-40B4-BE49-F238E27FC236}">
                  <a16:creationId xmlns:a16="http://schemas.microsoft.com/office/drawing/2014/main" id="{A0A31F89-6117-634A-B0A2-45B63EA0276B}"/>
                </a:ext>
              </a:extLst>
            </p:cNvPr>
            <p:cNvCxnSpPr>
              <a:cxnSpLocks/>
            </p:cNvCxnSpPr>
            <p:nvPr/>
          </p:nvCxnSpPr>
          <p:spPr>
            <a:xfrm flipH="1">
              <a:off x="7421632"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2" name="Rectangle 10">
              <a:extLst>
                <a:ext uri="{FF2B5EF4-FFF2-40B4-BE49-F238E27FC236}">
                  <a16:creationId xmlns:a16="http://schemas.microsoft.com/office/drawing/2014/main" id="{E8E22E60-3620-1E45-8198-0E4ACA3236F9}"/>
                </a:ext>
              </a:extLst>
            </p:cNvPr>
            <p:cNvSpPr txBox="1">
              <a:spLocks/>
            </p:cNvSpPr>
            <p:nvPr/>
          </p:nvSpPr>
          <p:spPr>
            <a:xfrm>
              <a:off x="7691497"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143" name="Straight Connector 66">
              <a:extLst>
                <a:ext uri="{FF2B5EF4-FFF2-40B4-BE49-F238E27FC236}">
                  <a16:creationId xmlns:a16="http://schemas.microsoft.com/office/drawing/2014/main" id="{437C24CB-5F03-114F-AFED-98E6059A0F0D}"/>
                </a:ext>
              </a:extLst>
            </p:cNvPr>
            <p:cNvCxnSpPr>
              <a:cxnSpLocks/>
            </p:cNvCxnSpPr>
            <p:nvPr/>
          </p:nvCxnSpPr>
          <p:spPr>
            <a:xfrm flipH="1">
              <a:off x="7691497"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4" name="Rectangle 10">
              <a:extLst>
                <a:ext uri="{FF2B5EF4-FFF2-40B4-BE49-F238E27FC236}">
                  <a16:creationId xmlns:a16="http://schemas.microsoft.com/office/drawing/2014/main" id="{EAF36D63-676F-C148-84EB-0D10593EC85A}"/>
                </a:ext>
              </a:extLst>
            </p:cNvPr>
            <p:cNvSpPr txBox="1">
              <a:spLocks/>
            </p:cNvSpPr>
            <p:nvPr/>
          </p:nvSpPr>
          <p:spPr>
            <a:xfrm>
              <a:off x="7961362" y="2030439"/>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145" name="Straight Connector 69">
              <a:extLst>
                <a:ext uri="{FF2B5EF4-FFF2-40B4-BE49-F238E27FC236}">
                  <a16:creationId xmlns:a16="http://schemas.microsoft.com/office/drawing/2014/main" id="{A6171E41-47D8-9343-B6C4-3991B3068DFE}"/>
                </a:ext>
              </a:extLst>
            </p:cNvPr>
            <p:cNvCxnSpPr>
              <a:cxnSpLocks/>
            </p:cNvCxnSpPr>
            <p:nvPr/>
          </p:nvCxnSpPr>
          <p:spPr>
            <a:xfrm flipH="1">
              <a:off x="7961362" y="226472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6" name="Rectangle 10">
              <a:extLst>
                <a:ext uri="{FF2B5EF4-FFF2-40B4-BE49-F238E27FC236}">
                  <a16:creationId xmlns:a16="http://schemas.microsoft.com/office/drawing/2014/main" id="{59195837-DB4D-5943-8F86-F94551026230}"/>
                </a:ext>
              </a:extLst>
            </p:cNvPr>
            <p:cNvSpPr txBox="1">
              <a:spLocks/>
            </p:cNvSpPr>
            <p:nvPr/>
          </p:nvSpPr>
          <p:spPr>
            <a:xfrm>
              <a:off x="1695665" y="1808776"/>
              <a:ext cx="1581310"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19</a:t>
              </a:r>
            </a:p>
          </p:txBody>
        </p:sp>
        <p:cxnSp>
          <p:nvCxnSpPr>
            <p:cNvPr id="147" name="Straight Connector 15">
              <a:extLst>
                <a:ext uri="{FF2B5EF4-FFF2-40B4-BE49-F238E27FC236}">
                  <a16:creationId xmlns:a16="http://schemas.microsoft.com/office/drawing/2014/main" id="{5E454D95-5A7A-D944-9B82-5848549913D5}"/>
                </a:ext>
              </a:extLst>
            </p:cNvPr>
            <p:cNvCxnSpPr>
              <a:cxnSpLocks/>
            </p:cNvCxnSpPr>
            <p:nvPr/>
          </p:nvCxnSpPr>
          <p:spPr>
            <a:xfrm flipH="1">
              <a:off x="1660816" y="2022083"/>
              <a:ext cx="32188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8" name="Rectangle 10">
              <a:extLst>
                <a:ext uri="{FF2B5EF4-FFF2-40B4-BE49-F238E27FC236}">
                  <a16:creationId xmlns:a16="http://schemas.microsoft.com/office/drawing/2014/main" id="{F8F1201D-11FC-9345-9FD7-39A63DD28929}"/>
                </a:ext>
              </a:extLst>
            </p:cNvPr>
            <p:cNvSpPr txBox="1">
              <a:spLocks/>
            </p:cNvSpPr>
            <p:nvPr/>
          </p:nvSpPr>
          <p:spPr>
            <a:xfrm>
              <a:off x="358403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8</a:t>
              </a:r>
            </a:p>
          </p:txBody>
        </p:sp>
        <p:cxnSp>
          <p:nvCxnSpPr>
            <p:cNvPr id="149" name="Straight Connector 21">
              <a:extLst>
                <a:ext uri="{FF2B5EF4-FFF2-40B4-BE49-F238E27FC236}">
                  <a16:creationId xmlns:a16="http://schemas.microsoft.com/office/drawing/2014/main" id="{7E9E6EE9-C7FE-2249-8A51-DD44145A1AA4}"/>
                </a:ext>
              </a:extLst>
            </p:cNvPr>
            <p:cNvCxnSpPr>
              <a:cxnSpLocks/>
            </p:cNvCxnSpPr>
            <p:nvPr/>
          </p:nvCxnSpPr>
          <p:spPr>
            <a:xfrm flipH="1">
              <a:off x="360530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0" name="Rectangle 10">
              <a:extLst>
                <a:ext uri="{FF2B5EF4-FFF2-40B4-BE49-F238E27FC236}">
                  <a16:creationId xmlns:a16="http://schemas.microsoft.com/office/drawing/2014/main" id="{C192E53D-7B29-1D49-B369-12D4324C13E4}"/>
                </a:ext>
              </a:extLst>
            </p:cNvPr>
            <p:cNvSpPr txBox="1">
              <a:spLocks/>
            </p:cNvSpPr>
            <p:nvPr/>
          </p:nvSpPr>
          <p:spPr>
            <a:xfrm>
              <a:off x="385389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9</a:t>
              </a:r>
            </a:p>
          </p:txBody>
        </p:sp>
        <p:cxnSp>
          <p:nvCxnSpPr>
            <p:cNvPr id="151" name="Straight Connector 24">
              <a:extLst>
                <a:ext uri="{FF2B5EF4-FFF2-40B4-BE49-F238E27FC236}">
                  <a16:creationId xmlns:a16="http://schemas.microsoft.com/office/drawing/2014/main" id="{ED556A47-7FBF-D841-937F-7A6DC6D2F5F0}"/>
                </a:ext>
              </a:extLst>
            </p:cNvPr>
            <p:cNvCxnSpPr>
              <a:cxnSpLocks/>
            </p:cNvCxnSpPr>
            <p:nvPr/>
          </p:nvCxnSpPr>
          <p:spPr>
            <a:xfrm flipH="1">
              <a:off x="387517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2" name="Rectangle 10">
              <a:extLst>
                <a:ext uri="{FF2B5EF4-FFF2-40B4-BE49-F238E27FC236}">
                  <a16:creationId xmlns:a16="http://schemas.microsoft.com/office/drawing/2014/main" id="{ACC22291-F0E1-EB4B-9658-8CCB821E57E8}"/>
                </a:ext>
              </a:extLst>
            </p:cNvPr>
            <p:cNvSpPr txBox="1">
              <a:spLocks/>
            </p:cNvSpPr>
            <p:nvPr/>
          </p:nvSpPr>
          <p:spPr>
            <a:xfrm>
              <a:off x="4123764"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0</a:t>
              </a:r>
            </a:p>
          </p:txBody>
        </p:sp>
        <p:cxnSp>
          <p:nvCxnSpPr>
            <p:cNvPr id="153" name="Straight Connector 27">
              <a:extLst>
                <a:ext uri="{FF2B5EF4-FFF2-40B4-BE49-F238E27FC236}">
                  <a16:creationId xmlns:a16="http://schemas.microsoft.com/office/drawing/2014/main" id="{68D40BA2-DD89-5C45-83FA-980DC6F09468}"/>
                </a:ext>
              </a:extLst>
            </p:cNvPr>
            <p:cNvCxnSpPr>
              <a:cxnSpLocks/>
            </p:cNvCxnSpPr>
            <p:nvPr/>
          </p:nvCxnSpPr>
          <p:spPr>
            <a:xfrm flipH="1">
              <a:off x="4145035"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4" name="Rectangle 10">
              <a:extLst>
                <a:ext uri="{FF2B5EF4-FFF2-40B4-BE49-F238E27FC236}">
                  <a16:creationId xmlns:a16="http://schemas.microsoft.com/office/drawing/2014/main" id="{1A1F3C58-617E-EE49-ACAF-EF61E12C38A8}"/>
                </a:ext>
              </a:extLst>
            </p:cNvPr>
            <p:cNvSpPr txBox="1">
              <a:spLocks/>
            </p:cNvSpPr>
            <p:nvPr/>
          </p:nvSpPr>
          <p:spPr>
            <a:xfrm>
              <a:off x="439362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1</a:t>
              </a:r>
            </a:p>
          </p:txBody>
        </p:sp>
        <p:cxnSp>
          <p:nvCxnSpPr>
            <p:cNvPr id="155" name="Straight Connector 30">
              <a:extLst>
                <a:ext uri="{FF2B5EF4-FFF2-40B4-BE49-F238E27FC236}">
                  <a16:creationId xmlns:a16="http://schemas.microsoft.com/office/drawing/2014/main" id="{C7F72453-78F8-954C-B1F6-1AB19937EFDF}"/>
                </a:ext>
              </a:extLst>
            </p:cNvPr>
            <p:cNvCxnSpPr>
              <a:cxnSpLocks/>
            </p:cNvCxnSpPr>
            <p:nvPr/>
          </p:nvCxnSpPr>
          <p:spPr>
            <a:xfrm flipH="1">
              <a:off x="441490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6" name="Rectangle 10">
              <a:extLst>
                <a:ext uri="{FF2B5EF4-FFF2-40B4-BE49-F238E27FC236}">
                  <a16:creationId xmlns:a16="http://schemas.microsoft.com/office/drawing/2014/main" id="{CF23FAC3-1E45-7C44-8424-B51DB57ACC65}"/>
                </a:ext>
              </a:extLst>
            </p:cNvPr>
            <p:cNvSpPr txBox="1">
              <a:spLocks/>
            </p:cNvSpPr>
            <p:nvPr/>
          </p:nvSpPr>
          <p:spPr>
            <a:xfrm>
              <a:off x="3314169"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157" name="Straight Connector 18">
              <a:extLst>
                <a:ext uri="{FF2B5EF4-FFF2-40B4-BE49-F238E27FC236}">
                  <a16:creationId xmlns:a16="http://schemas.microsoft.com/office/drawing/2014/main" id="{AF531E13-DD66-1B42-8F1B-1C55E7063512}"/>
                </a:ext>
              </a:extLst>
            </p:cNvPr>
            <p:cNvCxnSpPr>
              <a:cxnSpLocks/>
            </p:cNvCxnSpPr>
            <p:nvPr/>
          </p:nvCxnSpPr>
          <p:spPr>
            <a:xfrm flipH="1">
              <a:off x="3335440"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58" name="Rectangle 10">
              <a:extLst>
                <a:ext uri="{FF2B5EF4-FFF2-40B4-BE49-F238E27FC236}">
                  <a16:creationId xmlns:a16="http://schemas.microsoft.com/office/drawing/2014/main" id="{D78017D0-F09D-714C-AA78-B0B6330DF1CB}"/>
                </a:ext>
              </a:extLst>
            </p:cNvPr>
            <p:cNvSpPr txBox="1">
              <a:spLocks/>
            </p:cNvSpPr>
            <p:nvPr/>
          </p:nvSpPr>
          <p:spPr>
            <a:xfrm>
              <a:off x="466349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2</a:t>
              </a:r>
            </a:p>
          </p:txBody>
        </p:sp>
        <p:cxnSp>
          <p:nvCxnSpPr>
            <p:cNvPr id="159" name="Straight Connector 33">
              <a:extLst>
                <a:ext uri="{FF2B5EF4-FFF2-40B4-BE49-F238E27FC236}">
                  <a16:creationId xmlns:a16="http://schemas.microsoft.com/office/drawing/2014/main" id="{EE916DE8-256D-C445-8DCA-2129BC5B575E}"/>
                </a:ext>
              </a:extLst>
            </p:cNvPr>
            <p:cNvCxnSpPr>
              <a:cxnSpLocks/>
            </p:cNvCxnSpPr>
            <p:nvPr/>
          </p:nvCxnSpPr>
          <p:spPr>
            <a:xfrm flipH="1">
              <a:off x="468476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0" name="Rectangle 10">
              <a:extLst>
                <a:ext uri="{FF2B5EF4-FFF2-40B4-BE49-F238E27FC236}">
                  <a16:creationId xmlns:a16="http://schemas.microsoft.com/office/drawing/2014/main" id="{712CA57D-E535-4B4E-9458-A326B0C74CFA}"/>
                </a:ext>
              </a:extLst>
            </p:cNvPr>
            <p:cNvSpPr txBox="1">
              <a:spLocks/>
            </p:cNvSpPr>
            <p:nvPr/>
          </p:nvSpPr>
          <p:spPr>
            <a:xfrm>
              <a:off x="520322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p>
          </p:txBody>
        </p:sp>
        <p:cxnSp>
          <p:nvCxnSpPr>
            <p:cNvPr id="161" name="Straight Connector 39">
              <a:extLst>
                <a:ext uri="{FF2B5EF4-FFF2-40B4-BE49-F238E27FC236}">
                  <a16:creationId xmlns:a16="http://schemas.microsoft.com/office/drawing/2014/main" id="{D12C6990-18B4-DA4F-B68B-C901BEACCACF}"/>
                </a:ext>
              </a:extLst>
            </p:cNvPr>
            <p:cNvCxnSpPr>
              <a:cxnSpLocks/>
            </p:cNvCxnSpPr>
            <p:nvPr/>
          </p:nvCxnSpPr>
          <p:spPr>
            <a:xfrm flipH="1">
              <a:off x="522449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2" name="Rectangle 10">
              <a:extLst>
                <a:ext uri="{FF2B5EF4-FFF2-40B4-BE49-F238E27FC236}">
                  <a16:creationId xmlns:a16="http://schemas.microsoft.com/office/drawing/2014/main" id="{599FF7E7-27AB-1248-B75D-196C554E0C43}"/>
                </a:ext>
              </a:extLst>
            </p:cNvPr>
            <p:cNvSpPr txBox="1">
              <a:spLocks/>
            </p:cNvSpPr>
            <p:nvPr/>
          </p:nvSpPr>
          <p:spPr>
            <a:xfrm>
              <a:off x="547308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p>
          </p:txBody>
        </p:sp>
        <p:cxnSp>
          <p:nvCxnSpPr>
            <p:cNvPr id="163" name="Straight Connector 42">
              <a:extLst>
                <a:ext uri="{FF2B5EF4-FFF2-40B4-BE49-F238E27FC236}">
                  <a16:creationId xmlns:a16="http://schemas.microsoft.com/office/drawing/2014/main" id="{32B2E450-BAF4-8D42-A493-3164E46E3A18}"/>
                </a:ext>
              </a:extLst>
            </p:cNvPr>
            <p:cNvCxnSpPr>
              <a:cxnSpLocks/>
            </p:cNvCxnSpPr>
            <p:nvPr/>
          </p:nvCxnSpPr>
          <p:spPr>
            <a:xfrm flipH="1">
              <a:off x="549435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4" name="Rectangle 10">
              <a:extLst>
                <a:ext uri="{FF2B5EF4-FFF2-40B4-BE49-F238E27FC236}">
                  <a16:creationId xmlns:a16="http://schemas.microsoft.com/office/drawing/2014/main" id="{F69C92E5-33E7-CE44-992B-F3FFB8DC9168}"/>
                </a:ext>
              </a:extLst>
            </p:cNvPr>
            <p:cNvSpPr txBox="1">
              <a:spLocks/>
            </p:cNvSpPr>
            <p:nvPr/>
          </p:nvSpPr>
          <p:spPr>
            <a:xfrm>
              <a:off x="5742953"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p>
          </p:txBody>
        </p:sp>
        <p:cxnSp>
          <p:nvCxnSpPr>
            <p:cNvPr id="186" name="Straight Connector 45">
              <a:extLst>
                <a:ext uri="{FF2B5EF4-FFF2-40B4-BE49-F238E27FC236}">
                  <a16:creationId xmlns:a16="http://schemas.microsoft.com/office/drawing/2014/main" id="{6375AC4D-8909-3F42-9812-263B1ECFB9E3}"/>
                </a:ext>
              </a:extLst>
            </p:cNvPr>
            <p:cNvCxnSpPr>
              <a:cxnSpLocks/>
            </p:cNvCxnSpPr>
            <p:nvPr/>
          </p:nvCxnSpPr>
          <p:spPr>
            <a:xfrm flipH="1">
              <a:off x="5764224"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87" name="Rectangle 10">
              <a:extLst>
                <a:ext uri="{FF2B5EF4-FFF2-40B4-BE49-F238E27FC236}">
                  <a16:creationId xmlns:a16="http://schemas.microsoft.com/office/drawing/2014/main" id="{A4D7AFB2-AF3B-5540-B523-D1A055D7E23C}"/>
                </a:ext>
              </a:extLst>
            </p:cNvPr>
            <p:cNvSpPr txBox="1">
              <a:spLocks/>
            </p:cNvSpPr>
            <p:nvPr/>
          </p:nvSpPr>
          <p:spPr>
            <a:xfrm>
              <a:off x="601281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p>
          </p:txBody>
        </p:sp>
        <p:cxnSp>
          <p:nvCxnSpPr>
            <p:cNvPr id="194" name="Straight Connector 48">
              <a:extLst>
                <a:ext uri="{FF2B5EF4-FFF2-40B4-BE49-F238E27FC236}">
                  <a16:creationId xmlns:a16="http://schemas.microsoft.com/office/drawing/2014/main" id="{E48D120E-6B67-FA42-93AF-A0E152AB69F5}"/>
                </a:ext>
              </a:extLst>
            </p:cNvPr>
            <p:cNvCxnSpPr>
              <a:cxnSpLocks/>
            </p:cNvCxnSpPr>
            <p:nvPr/>
          </p:nvCxnSpPr>
          <p:spPr>
            <a:xfrm flipH="1">
              <a:off x="603408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5" name="Rectangle 10">
              <a:extLst>
                <a:ext uri="{FF2B5EF4-FFF2-40B4-BE49-F238E27FC236}">
                  <a16:creationId xmlns:a16="http://schemas.microsoft.com/office/drawing/2014/main" id="{2B85F074-55FE-7D49-AF5C-34F0BE38ABA9}"/>
                </a:ext>
              </a:extLst>
            </p:cNvPr>
            <p:cNvSpPr txBox="1">
              <a:spLocks/>
            </p:cNvSpPr>
            <p:nvPr/>
          </p:nvSpPr>
          <p:spPr>
            <a:xfrm>
              <a:off x="6282682"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p>
          </p:txBody>
        </p:sp>
        <p:cxnSp>
          <p:nvCxnSpPr>
            <p:cNvPr id="196" name="Straight Connector 51">
              <a:extLst>
                <a:ext uri="{FF2B5EF4-FFF2-40B4-BE49-F238E27FC236}">
                  <a16:creationId xmlns:a16="http://schemas.microsoft.com/office/drawing/2014/main" id="{A7FE183D-461F-3B4A-B81A-634EF12CE631}"/>
                </a:ext>
              </a:extLst>
            </p:cNvPr>
            <p:cNvCxnSpPr>
              <a:cxnSpLocks/>
            </p:cNvCxnSpPr>
            <p:nvPr/>
          </p:nvCxnSpPr>
          <p:spPr>
            <a:xfrm flipH="1">
              <a:off x="6303953"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7" name="Rectangle 10">
              <a:extLst>
                <a:ext uri="{FF2B5EF4-FFF2-40B4-BE49-F238E27FC236}">
                  <a16:creationId xmlns:a16="http://schemas.microsoft.com/office/drawing/2014/main" id="{3DA03428-D8B8-1544-B88A-00DD9025EED1}"/>
                </a:ext>
              </a:extLst>
            </p:cNvPr>
            <p:cNvSpPr txBox="1">
              <a:spLocks/>
            </p:cNvSpPr>
            <p:nvPr/>
          </p:nvSpPr>
          <p:spPr>
            <a:xfrm>
              <a:off x="6552547"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7</a:t>
              </a:r>
            </a:p>
          </p:txBody>
        </p:sp>
        <p:cxnSp>
          <p:nvCxnSpPr>
            <p:cNvPr id="198" name="Straight Connector 54">
              <a:extLst>
                <a:ext uri="{FF2B5EF4-FFF2-40B4-BE49-F238E27FC236}">
                  <a16:creationId xmlns:a16="http://schemas.microsoft.com/office/drawing/2014/main" id="{2481191D-B1AD-DE47-A69A-2C47D6C91414}"/>
                </a:ext>
              </a:extLst>
            </p:cNvPr>
            <p:cNvCxnSpPr>
              <a:cxnSpLocks/>
            </p:cNvCxnSpPr>
            <p:nvPr/>
          </p:nvCxnSpPr>
          <p:spPr>
            <a:xfrm flipH="1">
              <a:off x="6573818"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9" name="Rectangle 10">
              <a:extLst>
                <a:ext uri="{FF2B5EF4-FFF2-40B4-BE49-F238E27FC236}">
                  <a16:creationId xmlns:a16="http://schemas.microsoft.com/office/drawing/2014/main" id="{88CF41AB-D901-5043-9688-7974DE82C771}"/>
                </a:ext>
              </a:extLst>
            </p:cNvPr>
            <p:cNvSpPr txBox="1">
              <a:spLocks/>
            </p:cNvSpPr>
            <p:nvPr/>
          </p:nvSpPr>
          <p:spPr>
            <a:xfrm>
              <a:off x="4933358" y="2026930"/>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p>
          </p:txBody>
        </p:sp>
        <p:cxnSp>
          <p:nvCxnSpPr>
            <p:cNvPr id="200" name="Straight Connector 36">
              <a:extLst>
                <a:ext uri="{FF2B5EF4-FFF2-40B4-BE49-F238E27FC236}">
                  <a16:creationId xmlns:a16="http://schemas.microsoft.com/office/drawing/2014/main" id="{F29FF8F2-5921-4F45-9B7F-0864FE1DB89C}"/>
                </a:ext>
              </a:extLst>
            </p:cNvPr>
            <p:cNvCxnSpPr>
              <a:cxnSpLocks/>
            </p:cNvCxnSpPr>
            <p:nvPr/>
          </p:nvCxnSpPr>
          <p:spPr>
            <a:xfrm flipH="1">
              <a:off x="4954629" y="2261215"/>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01" name="Rectangle 10">
              <a:extLst>
                <a:ext uri="{FF2B5EF4-FFF2-40B4-BE49-F238E27FC236}">
                  <a16:creationId xmlns:a16="http://schemas.microsoft.com/office/drawing/2014/main" id="{8FF9808F-0BE6-DA49-87B8-905A31D0C23B}"/>
                </a:ext>
              </a:extLst>
            </p:cNvPr>
            <p:cNvSpPr txBox="1">
              <a:spLocks/>
            </p:cNvSpPr>
            <p:nvPr/>
          </p:nvSpPr>
          <p:spPr>
            <a:xfrm>
              <a:off x="4933358" y="1787798"/>
              <a:ext cx="3184717"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020</a:t>
              </a:r>
            </a:p>
          </p:txBody>
        </p:sp>
        <p:cxnSp>
          <p:nvCxnSpPr>
            <p:cNvPr id="202" name="Straight Connector 74">
              <a:extLst>
                <a:ext uri="{FF2B5EF4-FFF2-40B4-BE49-F238E27FC236}">
                  <a16:creationId xmlns:a16="http://schemas.microsoft.com/office/drawing/2014/main" id="{862CBF6E-D9FC-4A4A-9A8F-E8FC5CF6803C}"/>
                </a:ext>
              </a:extLst>
            </p:cNvPr>
            <p:cNvCxnSpPr>
              <a:cxnSpLocks/>
            </p:cNvCxnSpPr>
            <p:nvPr/>
          </p:nvCxnSpPr>
          <p:spPr>
            <a:xfrm flipH="1">
              <a:off x="4933360" y="2022083"/>
              <a:ext cx="32854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3" name="Rectangle 10">
              <a:extLst>
                <a:ext uri="{FF2B5EF4-FFF2-40B4-BE49-F238E27FC236}">
                  <a16:creationId xmlns:a16="http://schemas.microsoft.com/office/drawing/2014/main" id="{234C024C-D39F-9F42-8718-AD62B24E7953}"/>
                </a:ext>
              </a:extLst>
            </p:cNvPr>
            <p:cNvSpPr txBox="1">
              <a:spLocks/>
            </p:cNvSpPr>
            <p:nvPr/>
          </p:nvSpPr>
          <p:spPr>
            <a:xfrm>
              <a:off x="195751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2</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04" name="Rectangle 10">
              <a:extLst>
                <a:ext uri="{FF2B5EF4-FFF2-40B4-BE49-F238E27FC236}">
                  <a16:creationId xmlns:a16="http://schemas.microsoft.com/office/drawing/2014/main" id="{CF00E2F5-FA55-3F49-B102-8C0C58D6503A}"/>
                </a:ext>
              </a:extLst>
            </p:cNvPr>
            <p:cNvSpPr txBox="1">
              <a:spLocks/>
            </p:cNvSpPr>
            <p:nvPr/>
          </p:nvSpPr>
          <p:spPr>
            <a:xfrm>
              <a:off x="222737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3</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05" name="Rectangle 10">
              <a:extLst>
                <a:ext uri="{FF2B5EF4-FFF2-40B4-BE49-F238E27FC236}">
                  <a16:creationId xmlns:a16="http://schemas.microsoft.com/office/drawing/2014/main" id="{4C00BCFB-5799-EE4F-B936-71083D6A8C73}"/>
                </a:ext>
              </a:extLst>
            </p:cNvPr>
            <p:cNvSpPr txBox="1">
              <a:spLocks/>
            </p:cNvSpPr>
            <p:nvPr/>
          </p:nvSpPr>
          <p:spPr>
            <a:xfrm>
              <a:off x="2497241"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4</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06" name="Rectangle 10">
              <a:extLst>
                <a:ext uri="{FF2B5EF4-FFF2-40B4-BE49-F238E27FC236}">
                  <a16:creationId xmlns:a16="http://schemas.microsoft.com/office/drawing/2014/main" id="{BBA406E5-4300-A641-B449-C7DDBF7CE90F}"/>
                </a:ext>
              </a:extLst>
            </p:cNvPr>
            <p:cNvSpPr txBox="1">
              <a:spLocks/>
            </p:cNvSpPr>
            <p:nvPr/>
          </p:nvSpPr>
          <p:spPr>
            <a:xfrm>
              <a:off x="276710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5</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07" name="Rectangle 10">
              <a:extLst>
                <a:ext uri="{FF2B5EF4-FFF2-40B4-BE49-F238E27FC236}">
                  <a16:creationId xmlns:a16="http://schemas.microsoft.com/office/drawing/2014/main" id="{03BF6E5F-7FC1-A548-BE42-F44871EC84CB}"/>
                </a:ext>
              </a:extLst>
            </p:cNvPr>
            <p:cNvSpPr txBox="1">
              <a:spLocks/>
            </p:cNvSpPr>
            <p:nvPr/>
          </p:nvSpPr>
          <p:spPr>
            <a:xfrm>
              <a:off x="1687646"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1</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sp>
          <p:nvSpPr>
            <p:cNvPr id="208" name="Rectangle 10">
              <a:extLst>
                <a:ext uri="{FF2B5EF4-FFF2-40B4-BE49-F238E27FC236}">
                  <a16:creationId xmlns:a16="http://schemas.microsoft.com/office/drawing/2014/main" id="{16357C42-7554-D64C-84CA-7E66EA559F0F}"/>
                </a:ext>
              </a:extLst>
            </p:cNvPr>
            <p:cNvSpPr txBox="1">
              <a:spLocks/>
            </p:cNvSpPr>
            <p:nvPr/>
          </p:nvSpPr>
          <p:spPr>
            <a:xfrm>
              <a:off x="3036970" y="2024572"/>
              <a:ext cx="216204" cy="2342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659"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002960"/>
                </a:buClr>
                <a:buSzTx/>
                <a:buFontTx/>
                <a:buNone/>
                <a:tabLst/>
                <a:defRPr/>
              </a:pPr>
              <a:r>
                <a:rPr kumimoji="0" lang="az-Latn-AZ"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rPr>
                <a:t>6</a:t>
              </a:r>
              <a:endParaRPr kumimoji="0" lang="en-US" sz="1400" b="1" i="0" u="none" strike="noStrike" kern="1200" cap="none" spc="0" normalizeH="0" baseline="0" noProof="0" dirty="0">
                <a:ln>
                  <a:noFill/>
                </a:ln>
                <a:solidFill>
                  <a:srgbClr val="C00000"/>
                </a:solidFill>
                <a:effectLst/>
                <a:uLnTx/>
                <a:uFillTx/>
                <a:latin typeface="Arial"/>
                <a:ea typeface="ABBvoiceOffice" panose="020D0603020503020204" pitchFamily="34" charset="0"/>
                <a:cs typeface="Arial" panose="020B0604020202020204" pitchFamily="34" charset="0"/>
              </a:endParaRPr>
            </a:p>
          </p:txBody>
        </p:sp>
        <p:cxnSp>
          <p:nvCxnSpPr>
            <p:cNvPr id="209" name="Straight Connector 21">
              <a:extLst>
                <a:ext uri="{FF2B5EF4-FFF2-40B4-BE49-F238E27FC236}">
                  <a16:creationId xmlns:a16="http://schemas.microsoft.com/office/drawing/2014/main" id="{1BEE2511-2222-5F46-A35C-6BE21A8ECD31}"/>
                </a:ext>
              </a:extLst>
            </p:cNvPr>
            <p:cNvCxnSpPr>
              <a:cxnSpLocks/>
            </p:cNvCxnSpPr>
            <p:nvPr/>
          </p:nvCxnSpPr>
          <p:spPr>
            <a:xfrm flipH="1">
              <a:off x="195751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0" name="Straight Connector 24">
              <a:extLst>
                <a:ext uri="{FF2B5EF4-FFF2-40B4-BE49-F238E27FC236}">
                  <a16:creationId xmlns:a16="http://schemas.microsoft.com/office/drawing/2014/main" id="{FF4CF4D0-EA4B-724D-A36D-4313745D4147}"/>
                </a:ext>
              </a:extLst>
            </p:cNvPr>
            <p:cNvCxnSpPr>
              <a:cxnSpLocks/>
            </p:cNvCxnSpPr>
            <p:nvPr/>
          </p:nvCxnSpPr>
          <p:spPr>
            <a:xfrm flipH="1">
              <a:off x="222737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1" name="Straight Connector 27">
              <a:extLst>
                <a:ext uri="{FF2B5EF4-FFF2-40B4-BE49-F238E27FC236}">
                  <a16:creationId xmlns:a16="http://schemas.microsoft.com/office/drawing/2014/main" id="{45717472-A9D0-8141-8299-D6385151B736}"/>
                </a:ext>
              </a:extLst>
            </p:cNvPr>
            <p:cNvCxnSpPr>
              <a:cxnSpLocks/>
            </p:cNvCxnSpPr>
            <p:nvPr/>
          </p:nvCxnSpPr>
          <p:spPr>
            <a:xfrm flipH="1">
              <a:off x="2497241"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2" name="Straight Connector 30">
              <a:extLst>
                <a:ext uri="{FF2B5EF4-FFF2-40B4-BE49-F238E27FC236}">
                  <a16:creationId xmlns:a16="http://schemas.microsoft.com/office/drawing/2014/main" id="{7DF76BF1-F68E-014F-ACFA-F055B9D0942E}"/>
                </a:ext>
              </a:extLst>
            </p:cNvPr>
            <p:cNvCxnSpPr>
              <a:cxnSpLocks/>
            </p:cNvCxnSpPr>
            <p:nvPr/>
          </p:nvCxnSpPr>
          <p:spPr>
            <a:xfrm flipH="1">
              <a:off x="276710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3" name="Straight Connector 18">
              <a:extLst>
                <a:ext uri="{FF2B5EF4-FFF2-40B4-BE49-F238E27FC236}">
                  <a16:creationId xmlns:a16="http://schemas.microsoft.com/office/drawing/2014/main" id="{C85C80FE-E112-3B4E-963E-0AF07C16ED6E}"/>
                </a:ext>
              </a:extLst>
            </p:cNvPr>
            <p:cNvCxnSpPr>
              <a:cxnSpLocks/>
            </p:cNvCxnSpPr>
            <p:nvPr/>
          </p:nvCxnSpPr>
          <p:spPr>
            <a:xfrm flipH="1">
              <a:off x="1687646"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4" name="Straight Connector 33">
              <a:extLst>
                <a:ext uri="{FF2B5EF4-FFF2-40B4-BE49-F238E27FC236}">
                  <a16:creationId xmlns:a16="http://schemas.microsoft.com/office/drawing/2014/main" id="{417AE24C-EC3B-A14B-B467-9F176B3165DD}"/>
                </a:ext>
              </a:extLst>
            </p:cNvPr>
            <p:cNvCxnSpPr>
              <a:cxnSpLocks/>
            </p:cNvCxnSpPr>
            <p:nvPr/>
          </p:nvCxnSpPr>
          <p:spPr>
            <a:xfrm flipH="1">
              <a:off x="3036970" y="2264784"/>
              <a:ext cx="216204"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6864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BU.3iKJMI3KyDO7pib8WA"/>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NAME" val="Logo"/>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NAME" val="Tick2"/>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NAME" val="Tick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Tick2"/>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NAME" val="Tick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CustomIcon"/>
</p:tagLst>
</file>

<file path=ppt/tags/tag141.xml><?xml version="1.0" encoding="utf-8"?>
<p:tagLst xmlns:a="http://schemas.openxmlformats.org/drawingml/2006/main" xmlns:r="http://schemas.openxmlformats.org/officeDocument/2006/relationships" xmlns:p="http://schemas.openxmlformats.org/presentationml/2006/main">
  <p:tag name="NAME" val="CustomIcon"/>
</p:tagLst>
</file>

<file path=ppt/tags/tag142.xml><?xml version="1.0" encoding="utf-8"?>
<p:tagLst xmlns:a="http://schemas.openxmlformats.org/drawingml/2006/main" xmlns:r="http://schemas.openxmlformats.org/officeDocument/2006/relationships" xmlns:p="http://schemas.openxmlformats.org/presentationml/2006/main">
  <p:tag name="NAME" val="CustomIcon"/>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NAME" val="Tick2"/>
</p:tagLst>
</file>

<file path=ppt/tags/tag162.xml><?xml version="1.0" encoding="utf-8"?>
<p:tagLst xmlns:a="http://schemas.openxmlformats.org/drawingml/2006/main" xmlns:r="http://schemas.openxmlformats.org/officeDocument/2006/relationships" xmlns:p="http://schemas.openxmlformats.org/presentationml/2006/main">
  <p:tag name="NAME" val="CustomIcon"/>
</p:tagLst>
</file>

<file path=ppt/tags/tag163.xml><?xml version="1.0" encoding="utf-8"?>
<p:tagLst xmlns:a="http://schemas.openxmlformats.org/drawingml/2006/main" xmlns:r="http://schemas.openxmlformats.org/officeDocument/2006/relationships" xmlns:p="http://schemas.openxmlformats.org/presentationml/2006/main">
  <p:tag name="NAME" val="CustomIcon"/>
</p:tagLst>
</file>

<file path=ppt/tags/tag164.xml><?xml version="1.0" encoding="utf-8"?>
<p:tagLst xmlns:a="http://schemas.openxmlformats.org/drawingml/2006/main" xmlns:r="http://schemas.openxmlformats.org/officeDocument/2006/relationships" xmlns:p="http://schemas.openxmlformats.org/presentationml/2006/main">
  <p:tag name="NAME" val="CustomIcon"/>
</p:tagLst>
</file>

<file path=ppt/tags/tag165.xml><?xml version="1.0" encoding="utf-8"?>
<p:tagLst xmlns:a="http://schemas.openxmlformats.org/drawingml/2006/main" xmlns:r="http://schemas.openxmlformats.org/officeDocument/2006/relationships" xmlns:p="http://schemas.openxmlformats.org/presentationml/2006/main">
  <p:tag name="NAME" val="CustomIcon"/>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eInRZQJqpW4BKzwOJST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NUezO7oeomthFjJCWNvT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iSJB2bWAyd2PiwTtyro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64.xml><?xml version="1.0" encoding="utf-8"?>
<p:tagLst xmlns:a="http://schemas.openxmlformats.org/drawingml/2006/main" xmlns:r="http://schemas.openxmlformats.org/officeDocument/2006/relationships" xmlns:p="http://schemas.openxmlformats.org/presentationml/2006/main">
  <p:tag name="NAME" val="CustomIcon"/>
</p:tagLst>
</file>

<file path=ppt/tags/tag265.xml><?xml version="1.0" encoding="utf-8"?>
<p:tagLst xmlns:a="http://schemas.openxmlformats.org/drawingml/2006/main" xmlns:r="http://schemas.openxmlformats.org/officeDocument/2006/relationships" xmlns:p="http://schemas.openxmlformats.org/presentationml/2006/main">
  <p:tag name="NAME" val="Tick2"/>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NAME" val="CustomIcon"/>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TtG7xrI5bRS0NWkIrE0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OjliA6qRXbjNvO86JW0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bk3Ct9.SS9HXkj5eUdCtQ"/>
</p:tagLst>
</file>

<file path=ppt/tags/tag290.xml><?xml version="1.0" encoding="utf-8"?>
<p:tagLst xmlns:a="http://schemas.openxmlformats.org/drawingml/2006/main" xmlns:r="http://schemas.openxmlformats.org/officeDocument/2006/relationships" xmlns:p="http://schemas.openxmlformats.org/presentationml/2006/main">
  <p:tag name="NAME" val="CustomIcon"/>
</p:tagLst>
</file>

<file path=ppt/tags/tag291.xml><?xml version="1.0" encoding="utf-8"?>
<p:tagLst xmlns:a="http://schemas.openxmlformats.org/drawingml/2006/main" xmlns:r="http://schemas.openxmlformats.org/officeDocument/2006/relationships" xmlns:p="http://schemas.openxmlformats.org/presentationml/2006/main">
  <p:tag name="NAME" val="Tick2"/>
</p:tagLst>
</file>

<file path=ppt/tags/tag292.xml><?xml version="1.0" encoding="utf-8"?>
<p:tagLst xmlns:a="http://schemas.openxmlformats.org/drawingml/2006/main" xmlns:r="http://schemas.openxmlformats.org/officeDocument/2006/relationships" xmlns:p="http://schemas.openxmlformats.org/presentationml/2006/main">
  <p:tag name="NAME" val="CustomIcon"/>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09.xml><?xml version="1.0" encoding="utf-8"?>
<p:tagLst xmlns:a="http://schemas.openxmlformats.org/drawingml/2006/main" xmlns:r="http://schemas.openxmlformats.org/officeDocument/2006/relationships" xmlns:p="http://schemas.openxmlformats.org/presentationml/2006/main">
  <p:tag name="NAME" val="CustomIc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CHT0NnxTMjP8wEeMC3KZ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GHLstNmmFU2kRfd9WRkXNA"/>
</p:tagLst>
</file>

<file path=ppt/tags/tag311.xml><?xml version="1.0" encoding="utf-8"?>
<p:tagLst xmlns:a="http://schemas.openxmlformats.org/drawingml/2006/main" xmlns:r="http://schemas.openxmlformats.org/officeDocument/2006/relationships" xmlns:p="http://schemas.openxmlformats.org/presentationml/2006/main">
  <p:tag name="NAME" val="Tick2"/>
</p:tagLst>
</file>

<file path=ppt/tags/tag312.xml><?xml version="1.0" encoding="utf-8"?>
<p:tagLst xmlns:a="http://schemas.openxmlformats.org/drawingml/2006/main" xmlns:r="http://schemas.openxmlformats.org/officeDocument/2006/relationships" xmlns:p="http://schemas.openxmlformats.org/presentationml/2006/main">
  <p:tag name="NAME" val="Tick2"/>
</p:tagLst>
</file>

<file path=ppt/tags/tag313.xml><?xml version="1.0" encoding="utf-8"?>
<p:tagLst xmlns:a="http://schemas.openxmlformats.org/drawingml/2006/main" xmlns:r="http://schemas.openxmlformats.org/officeDocument/2006/relationships" xmlns:p="http://schemas.openxmlformats.org/presentationml/2006/main">
  <p:tag name="NAME" val="CustomIcon"/>
</p:tagLst>
</file>

<file path=ppt/tags/tag314.xml><?xml version="1.0" encoding="utf-8"?>
<p:tagLst xmlns:a="http://schemas.openxmlformats.org/drawingml/2006/main" xmlns:r="http://schemas.openxmlformats.org/officeDocument/2006/relationships" xmlns:p="http://schemas.openxmlformats.org/presentationml/2006/main">
  <p:tag name="NAME" val="CustomIcon"/>
</p:tagLst>
</file>

<file path=ppt/tags/tag315.xml><?xml version="1.0" encoding="utf-8"?>
<p:tagLst xmlns:a="http://schemas.openxmlformats.org/drawingml/2006/main" xmlns:r="http://schemas.openxmlformats.org/officeDocument/2006/relationships" xmlns:p="http://schemas.openxmlformats.org/presentationml/2006/main">
  <p:tag name="NAME" val="CustomIcon"/>
</p:tagLst>
</file>

<file path=ppt/tags/tag316.xml><?xml version="1.0" encoding="utf-8"?>
<p:tagLst xmlns:a="http://schemas.openxmlformats.org/drawingml/2006/main" xmlns:r="http://schemas.openxmlformats.org/officeDocument/2006/relationships" xmlns:p="http://schemas.openxmlformats.org/presentationml/2006/main">
  <p:tag name="NAME" val="CustomIcon"/>
</p:tagLst>
</file>

<file path=ppt/tags/tag317.xml><?xml version="1.0" encoding="utf-8"?>
<p:tagLst xmlns:a="http://schemas.openxmlformats.org/drawingml/2006/main" xmlns:r="http://schemas.openxmlformats.org/officeDocument/2006/relationships" xmlns:p="http://schemas.openxmlformats.org/presentationml/2006/main">
  <p:tag name="NAME" val="CustomIcon"/>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NAME" val="Tick2"/>
</p:tagLst>
</file>

<file path=ppt/tags/tag321.xml><?xml version="1.0" encoding="utf-8"?>
<p:tagLst xmlns:a="http://schemas.openxmlformats.org/drawingml/2006/main" xmlns:r="http://schemas.openxmlformats.org/officeDocument/2006/relationships" xmlns:p="http://schemas.openxmlformats.org/presentationml/2006/main">
  <p:tag name="NAME" val="Tick2"/>
</p:tagLst>
</file>

<file path=ppt/tags/tag322.xml><?xml version="1.0" encoding="utf-8"?>
<p:tagLst xmlns:a="http://schemas.openxmlformats.org/drawingml/2006/main" xmlns:r="http://schemas.openxmlformats.org/officeDocument/2006/relationships" xmlns:p="http://schemas.openxmlformats.org/presentationml/2006/main">
  <p:tag name="NAME" val="CustomIcon"/>
</p:tagLst>
</file>

<file path=ppt/tags/tag323.xml><?xml version="1.0" encoding="utf-8"?>
<p:tagLst xmlns:a="http://schemas.openxmlformats.org/drawingml/2006/main" xmlns:r="http://schemas.openxmlformats.org/officeDocument/2006/relationships" xmlns:p="http://schemas.openxmlformats.org/presentationml/2006/main">
  <p:tag name="NAME" val="CustomIcon"/>
</p:tagLst>
</file>

<file path=ppt/tags/tag324.xml><?xml version="1.0" encoding="utf-8"?>
<p:tagLst xmlns:a="http://schemas.openxmlformats.org/drawingml/2006/main" xmlns:r="http://schemas.openxmlformats.org/officeDocument/2006/relationships" xmlns:p="http://schemas.openxmlformats.org/presentationml/2006/main">
  <p:tag name="NAME" val="CustomIcon"/>
</p:tagLst>
</file>

<file path=ppt/tags/tag325.xml><?xml version="1.0" encoding="utf-8"?>
<p:tagLst xmlns:a="http://schemas.openxmlformats.org/drawingml/2006/main" xmlns:r="http://schemas.openxmlformats.org/officeDocument/2006/relationships" xmlns:p="http://schemas.openxmlformats.org/presentationml/2006/main">
  <p:tag name="NAME" val="CustomIcon"/>
</p:tagLst>
</file>

<file path=ppt/tags/tag326.xml><?xml version="1.0" encoding="utf-8"?>
<p:tagLst xmlns:a="http://schemas.openxmlformats.org/drawingml/2006/main" xmlns:r="http://schemas.openxmlformats.org/officeDocument/2006/relationships" xmlns:p="http://schemas.openxmlformats.org/presentationml/2006/main">
  <p:tag name="NAME" val="CustomIcon"/>
</p:tagLst>
</file>

<file path=ppt/tags/tag327.xml><?xml version="1.0" encoding="utf-8"?>
<p:tagLst xmlns:a="http://schemas.openxmlformats.org/drawingml/2006/main" xmlns:r="http://schemas.openxmlformats.org/officeDocument/2006/relationships" xmlns:p="http://schemas.openxmlformats.org/presentationml/2006/main">
  <p:tag name="NAME" val="CustomIcon"/>
</p:tagLst>
</file>

<file path=ppt/tags/tag328.xml><?xml version="1.0" encoding="utf-8"?>
<p:tagLst xmlns:a="http://schemas.openxmlformats.org/drawingml/2006/main" xmlns:r="http://schemas.openxmlformats.org/officeDocument/2006/relationships" xmlns:p="http://schemas.openxmlformats.org/presentationml/2006/main">
  <p:tag name="NAME" val="CustomIcon"/>
</p:tagLst>
</file>

<file path=ppt/tags/tag329.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uNL4qhX_wMMMGOH.z0_f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UFKM5WuWE2zYe.6jrxUV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9t0kTTIg9UeEtB_R42s02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5zYsQG6MUyKcD7lq7gOV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YWgum0bWEyGiCKOpR7ZS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wZKZW4y.U2s3LNRLUIEW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AB72d_444keHQVgHwHJi3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SurNdDD2kusp.7MqyEW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cirjvaPC0soDxWfzDyM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CyRtUHcAc8z6bONOFb1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kCzFAXCdNZoyCFmNbrs9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udGbQ_8lwrxvFF49lbB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zBTnX1cD8u4LR7kvGre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knqOv4KRd.1CqnJ.7RH4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BcMGNZ5QPGj2ZuH5Pav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u6HaODuSPeTWy_VjE3.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knqOv4KRd.1CqnJ.7RH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wTYOxLSL.M_UN.G9dq0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7sUAymzT1qJ5npx0CHk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kJnEcxoSJSif_GjZrmP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Sirh15.R2ixXf4du68U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ZCcCvV8RU.0AgSjQWsyiQ"/>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2ucKS1.PphCMfjKlKHVJ1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mmVIQauLp.1.QYydq1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z46g77wypC7zRjO.DHpj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se Template 13.068x7.35">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01NV_FFC.potx" id="{10F028A6-321B-49EB-AFC4-227E4004522C}" vid="{DE9A0255-892B-4859-A5B0-644AE448FCB4}"/>
    </a:ext>
  </a:ext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 screen.pptx" id="{3AE4910E-A5C7-4D98-AAD7-0895D129AEDB}" vid="{C22E0D04-1992-4698-AA08-3B3BD70718F9}"/>
    </a:ext>
  </a:extLst>
</a:theme>
</file>

<file path=ppt/theme/theme4.xml><?xml version="1.0" encoding="utf-8"?>
<a:theme xmlns:a="http://schemas.openxmlformats.org/drawingml/2006/main" name="Firm Format - template_Contrast">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87</TotalTime>
  <Words>3874</Words>
  <Application>Microsoft Macintosh PowerPoint</Application>
  <PresentationFormat>Широкоэкранный</PresentationFormat>
  <Paragraphs>1537</Paragraphs>
  <Slides>27</Slides>
  <Notes>25</Notes>
  <HiddenSlides>0</HiddenSlides>
  <MMClips>0</MMClips>
  <ScaleCrop>false</ScaleCrop>
  <HeadingPairs>
    <vt:vector size="8" baseType="variant">
      <vt:variant>
        <vt:lpstr>Использованные шрифты</vt:lpstr>
      </vt:variant>
      <vt:variant>
        <vt:i4>9</vt:i4>
      </vt:variant>
      <vt:variant>
        <vt:lpstr>Тема</vt:lpstr>
      </vt:variant>
      <vt:variant>
        <vt:i4>4</vt:i4>
      </vt:variant>
      <vt:variant>
        <vt:lpstr>Внедренные серверы OLE</vt:lpstr>
      </vt:variant>
      <vt:variant>
        <vt:i4>1</vt:i4>
      </vt:variant>
      <vt:variant>
        <vt:lpstr>Заголовки слайдов</vt:lpstr>
      </vt:variant>
      <vt:variant>
        <vt:i4>27</vt:i4>
      </vt:variant>
    </vt:vector>
  </HeadingPairs>
  <TitlesOfParts>
    <vt:vector size="41" baseType="lpstr">
      <vt:lpstr>Arial</vt:lpstr>
      <vt:lpstr>Bebas Neue</vt:lpstr>
      <vt:lpstr>Calibri</vt:lpstr>
      <vt:lpstr>Calibri Light</vt:lpstr>
      <vt:lpstr>Century Gothic</vt:lpstr>
      <vt:lpstr>EYInterstate</vt:lpstr>
      <vt:lpstr>EYInterstate Light</vt:lpstr>
      <vt:lpstr>Theinhardt Pan Light</vt:lpstr>
      <vt:lpstr>Wingdings</vt:lpstr>
      <vt:lpstr>Office Theme</vt:lpstr>
      <vt:lpstr>Base Template 13.068x7.35</vt:lpstr>
      <vt:lpstr>1_EY widescreen presentation 2015 v1</vt:lpstr>
      <vt:lpstr>Firm Format - template_Contrast</vt:lpstr>
      <vt:lpstr>think-cell Slide</vt:lpstr>
      <vt:lpstr>Project Dashboard</vt:lpstr>
      <vt:lpstr>Transformation Office</vt:lpstr>
      <vt:lpstr>Change Management Governance Transformation Office</vt:lpstr>
      <vt:lpstr>Overview Old Projects Portfolio (1/2)</vt:lpstr>
      <vt:lpstr>Overview Old Projects Portfolio (2/2)</vt:lpstr>
      <vt:lpstr>Overview New Projects Portfolio</vt:lpstr>
      <vt:lpstr>Project Delivery Calendar 2020</vt:lpstr>
      <vt:lpstr>Project Delivery Calendar 2021</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Prioritization Approach Strategic Projects</vt:lpstr>
      <vt:lpstr>Overview Strategic Projects</vt:lpstr>
      <vt:lpstr>Презентация PowerPoint</vt:lpstr>
      <vt:lpstr>Презентация PowerPoint</vt:lpstr>
      <vt:lpstr>Презентация PowerPoint</vt:lpstr>
      <vt:lpstr>Technology Status Revie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vda Z. Aliyeva</dc:creator>
  <cp:lastModifiedBy>Anar Jafarzade</cp:lastModifiedBy>
  <cp:revision>436</cp:revision>
  <dcterms:created xsi:type="dcterms:W3CDTF">2020-07-08T11:40:48Z</dcterms:created>
  <dcterms:modified xsi:type="dcterms:W3CDTF">2020-11-25T05:00:40Z</dcterms:modified>
</cp:coreProperties>
</file>